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4"/>
  </p:sldMasterIdLst>
  <p:notesMasterIdLst>
    <p:notesMasterId r:id="rId25"/>
  </p:notesMasterIdLst>
  <p:handoutMasterIdLst>
    <p:handoutMasterId r:id="rId26"/>
  </p:handoutMasterIdLst>
  <p:sldIdLst>
    <p:sldId id="415" r:id="rId5"/>
    <p:sldId id="428" r:id="rId6"/>
    <p:sldId id="366" r:id="rId7"/>
    <p:sldId id="313" r:id="rId8"/>
    <p:sldId id="2147482388" r:id="rId9"/>
    <p:sldId id="2147482387" r:id="rId10"/>
    <p:sldId id="2147482373" r:id="rId11"/>
    <p:sldId id="2147482375" r:id="rId12"/>
    <p:sldId id="2147482378" r:id="rId13"/>
    <p:sldId id="365" r:id="rId14"/>
    <p:sldId id="2147482377" r:id="rId15"/>
    <p:sldId id="266" r:id="rId16"/>
    <p:sldId id="364" r:id="rId17"/>
    <p:sldId id="2147482381" r:id="rId18"/>
    <p:sldId id="363" r:id="rId19"/>
    <p:sldId id="2147482374" r:id="rId20"/>
    <p:sldId id="2147482380" r:id="rId21"/>
    <p:sldId id="2147482385" r:id="rId22"/>
    <p:sldId id="362" r:id="rId23"/>
    <p:sldId id="2147482386" r:id="rId24"/>
  </p:sldIdLst>
  <p:sldSz cx="12192000" cy="6858000"/>
  <p:notesSz cx="6797675" cy="9926638"/>
  <p:custDataLst>
    <p:tags r:id="rId27"/>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pos="3613" userDrawn="1">
          <p15:clr>
            <a:srgbClr val="A4A3A4"/>
          </p15:clr>
        </p15:guide>
        <p15:guide id="2" orient="horz" pos="1434" userDrawn="1">
          <p15:clr>
            <a:srgbClr val="A4A3A4"/>
          </p15:clr>
        </p15:guide>
        <p15:guide id="3" pos="6970" userDrawn="1">
          <p15:clr>
            <a:srgbClr val="A4A3A4"/>
          </p15:clr>
        </p15:guide>
      </p15:sldGuideLst>
    </p:ext>
    <p:ext uri="{2D200454-40CA-4A62-9FC3-DE9A4176ACB9}">
      <p15:notesGuideLst xmlns:p15="http://schemas.microsoft.com/office/powerpoint/2012/main">
        <p15:guide id="1" orient="horz" pos="5687" userDrawn="1">
          <p15:clr>
            <a:srgbClr val="A4A3A4"/>
          </p15:clr>
        </p15:guide>
        <p15:guide id="2" orient="horz" pos="566" userDrawn="1">
          <p15:clr>
            <a:srgbClr val="A4A3A4"/>
          </p15:clr>
        </p15:guide>
        <p15:guide id="3" pos="297" userDrawn="1">
          <p15:clr>
            <a:srgbClr val="A4A3A4"/>
          </p15:clr>
        </p15:guide>
        <p15:guide id="4" pos="3985" userDrawn="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E90055"/>
    <a:srgbClr val="7FF0BF"/>
    <a:srgbClr val="48E9A3"/>
    <a:srgbClr val="0D6D44"/>
    <a:srgbClr val="FFD900"/>
    <a:srgbClr val="FFA000"/>
    <a:srgbClr val="707C9E"/>
    <a:srgbClr val="FF6300"/>
    <a:srgbClr val="BEEEF6"/>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5548132A-FF44-1823-C2C4-3AAE7186D43B}" v="40" dt="2025-06-03T04:47:14.488"/>
    <p1510:client id="{9091DD04-7316-5D5A-743C-B52C6EFCE252}" v="575" dt="2025-06-04T02:42:20.632"/>
  </p1510:revLst>
</p1510:revInfo>
</file>

<file path=ppt/tableStyles.xml><?xml version="1.0" encoding="utf-8"?>
<a:tblStyleLst xmlns:a="http://schemas.openxmlformats.org/drawingml/2006/main" def="{C6334807-E537-4099-9411-48B81318F7D4}">
  <a:tblStyle styleId="{C6334807-E537-4099-9411-48B81318F7D4}" styleName="EQS Table">
    <a:wholeTbl>
      <a:tcTxStyle>
        <a:fontRef idx="minor">
          <a:prstClr val="black"/>
        </a:fontRef>
        <a:schemeClr val="dk1"/>
      </a:tcTxStyle>
      <a:tcStyle>
        <a:tcBdr>
          <a:left>
            <a:ln>
              <a:noFill/>
            </a:ln>
          </a:left>
          <a:right>
            <a:ln>
              <a:noFill/>
            </a:ln>
          </a:right>
          <a:top>
            <a:ln>
              <a:noFill/>
            </a:ln>
          </a:top>
          <a:bottom>
            <a:ln w="12700" cmpd="sng">
              <a:solidFill>
                <a:schemeClr val="dk1"/>
              </a:solidFill>
            </a:ln>
          </a:bottom>
          <a:insideH>
            <a:ln w="6350" cmpd="sng">
              <a:solidFill>
                <a:srgbClr val="9BA4BF"/>
              </a:solidFill>
            </a:ln>
          </a:insideH>
          <a:insideV>
            <a:ln>
              <a:noFill/>
            </a:ln>
          </a:insideV>
        </a:tcBdr>
        <a:fill>
          <a:noFill/>
        </a:fill>
      </a:tcStyle>
    </a:wholeTbl>
    <a:band1H>
      <a:tcStyle>
        <a:tcBdr/>
        <a:fill>
          <a:noFill/>
        </a:fill>
      </a:tcStyle>
    </a:band1H>
    <a:band2H>
      <a:tcStyle>
        <a:tcBdr>
          <a:insideH>
            <a:ln w="6350" cmpd="sng">
              <a:solidFill>
                <a:srgbClr val="9BA4BF"/>
              </a:solidFill>
            </a:ln>
          </a:insideH>
        </a:tcBdr>
        <a:fill>
          <a:solidFill>
            <a:srgbClr val="ECEFF8"/>
          </a:solidFill>
        </a:fill>
      </a:tcStyle>
    </a:band2H>
    <a:band1V>
      <a:tcStyle>
        <a:tcBdr/>
      </a:tcStyle>
    </a:band1V>
    <a:band2V>
      <a:tcStyle>
        <a:tcBdr/>
        <a:fill>
          <a:solidFill>
            <a:srgbClr val="ECEFF8"/>
          </a:solidFill>
        </a:fill>
      </a:tcStyle>
    </a:band2V>
    <a:firstCol>
      <a:tcTxStyle/>
      <a:tcStyle>
        <a:tcBdr/>
      </a:tcStyle>
    </a:firstCol>
    <a:lastRow>
      <a:tcTxStyle>
        <a:fontRef idx="minor">
          <a:prstClr val="black"/>
        </a:fontRef>
        <a:schemeClr val="dk1"/>
      </a:tcTxStyle>
      <a:tcStyle>
        <a:tcBdr>
          <a:top>
            <a:ln w="12700" cmpd="sng">
              <a:solidFill>
                <a:schemeClr val="dk1"/>
              </a:solidFill>
            </a:ln>
          </a:top>
          <a:bottom>
            <a:ln w="12700" cmpd="sng">
              <a:solidFill>
                <a:schemeClr val="dk1"/>
              </a:solidFill>
            </a:ln>
          </a:bottom>
        </a:tcBdr>
      </a:tcStyle>
    </a:lastRow>
    <a:firstRow>
      <a:tcTxStyle b="on">
        <a:fontRef idx="minor">
          <a:prstClr val="black"/>
        </a:fontRef>
        <a:schemeClr val="dk1"/>
      </a:tcTxStyle>
      <a:tcStyle>
        <a:tcBdr>
          <a:bottom>
            <a:ln w="12700" cmpd="sng">
              <a:solidFill>
                <a:schemeClr val="dk1"/>
              </a:solidFill>
            </a:ln>
          </a:bottom>
        </a:tcBdr>
      </a:tcStyle>
    </a:firstRow>
  </a:tblStyle>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90" d="100"/>
          <a:sy n="90" d="100"/>
        </p:scale>
        <p:origin x="370" y="77"/>
      </p:cViewPr>
      <p:guideLst>
        <p:guide pos="3613"/>
        <p:guide orient="horz" pos="1434"/>
        <p:guide pos="6970"/>
      </p:guideLst>
    </p:cSldViewPr>
  </p:slideViewPr>
  <p:notesTextViewPr>
    <p:cViewPr>
      <p:scale>
        <a:sx n="1" d="1"/>
        <a:sy n="1" d="1"/>
      </p:scale>
      <p:origin x="0" y="0"/>
    </p:cViewPr>
  </p:notesTextViewPr>
  <p:notesViewPr>
    <p:cSldViewPr snapToGrid="0">
      <p:cViewPr>
        <p:scale>
          <a:sx n="1" d="2"/>
          <a:sy n="1" d="2"/>
        </p:scale>
        <p:origin x="0" y="0"/>
      </p:cViewPr>
      <p:guideLst>
        <p:guide orient="horz" pos="5687"/>
        <p:guide orient="horz" pos="566"/>
        <p:guide pos="297"/>
        <p:guide pos="3985"/>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handoutMaster" Target="handoutMasters/handoutMaster1.xml"/><Relationship Id="rId3" Type="http://schemas.openxmlformats.org/officeDocument/2006/relationships/customXml" Target="../customXml/item3.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notesMaster" Target="notesMasters/notesMaster1.xml"/><Relationship Id="rId33" Type="http://schemas.microsoft.com/office/2015/10/relationships/revisionInfo" Target="revisionInfo.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microsoft.com/office/2016/11/relationships/changesInfo" Target="changesInfos/changesInfo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presProps" Target="presProp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tags" Target="tags/tag1.xml"/><Relationship Id="rId30" Type="http://schemas.openxmlformats.org/officeDocument/2006/relationships/theme" Target="theme/theme1.xml"/><Relationship Id="rId8" Type="http://schemas.openxmlformats.org/officeDocument/2006/relationships/slide" Target="slides/slide4.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Annie Ziolek" userId="bcd9541d-06cb-4665-b7b5-319e11b0951e" providerId="ADAL" clId="{567FA434-4CFF-4998-BC3D-30D08A4EA081}"/>
    <pc:docChg chg="custSel addSld modSld">
      <pc:chgData name="Annie Ziolek" userId="bcd9541d-06cb-4665-b7b5-319e11b0951e" providerId="ADAL" clId="{567FA434-4CFF-4998-BC3D-30D08A4EA081}" dt="2025-06-02T16:20:22.806" v="495" actId="6549"/>
      <pc:docMkLst>
        <pc:docMk/>
      </pc:docMkLst>
      <pc:sldChg chg="addSp delSp modSp add mod">
        <pc:chgData name="Annie Ziolek" userId="bcd9541d-06cb-4665-b7b5-319e11b0951e" providerId="ADAL" clId="{567FA434-4CFF-4998-BC3D-30D08A4EA081}" dt="2025-06-02T16:20:22.806" v="495" actId="6549"/>
        <pc:sldMkLst>
          <pc:docMk/>
          <pc:sldMk cId="842355134" sldId="2147482388"/>
        </pc:sldMkLst>
        <pc:spChg chg="mod">
          <ac:chgData name="Annie Ziolek" userId="bcd9541d-06cb-4665-b7b5-319e11b0951e" providerId="ADAL" clId="{567FA434-4CFF-4998-BC3D-30D08A4EA081}" dt="2025-06-02T16:20:22.806" v="495" actId="6549"/>
          <ac:spMkLst>
            <pc:docMk/>
            <pc:sldMk cId="842355134" sldId="2147482388"/>
            <ac:spMk id="2" creationId="{884EA99E-49DD-F620-3BB2-0FA3EF10F9E4}"/>
          </ac:spMkLst>
        </pc:spChg>
        <pc:picChg chg="add mod">
          <ac:chgData name="Annie Ziolek" userId="bcd9541d-06cb-4665-b7b5-319e11b0951e" providerId="ADAL" clId="{567FA434-4CFF-4998-BC3D-30D08A4EA081}" dt="2025-06-02T16:19:40.630" v="476" actId="14100"/>
          <ac:picMkLst>
            <pc:docMk/>
            <pc:sldMk cId="842355134" sldId="2147482388"/>
            <ac:picMk id="7" creationId="{1652C4BA-298C-56D9-59C9-F4845DF78878}"/>
          </ac:picMkLst>
        </pc:picChg>
        <pc:picChg chg="del">
          <ac:chgData name="Annie Ziolek" userId="bcd9541d-06cb-4665-b7b5-319e11b0951e" providerId="ADAL" clId="{567FA434-4CFF-4998-BC3D-30D08A4EA081}" dt="2025-06-02T16:19:07.409" v="469" actId="478"/>
          <ac:picMkLst>
            <pc:docMk/>
            <pc:sldMk cId="842355134" sldId="2147482388"/>
            <ac:picMk id="8" creationId="{2E49BEF8-58F6-CC36-F906-0ADE9B7E43E1}"/>
          </ac:picMkLst>
        </pc:picChg>
      </pc:sldChg>
    </pc:docChg>
  </pc:docChgLst>
  <pc:docChgLst>
    <pc:chgData name="Afua Pokuaa-Adenle" userId="S::afua.pokuaa-adenle@eqs.com::e0a1f77c-d118-4d5f-afa4-193a01d40417" providerId="AD" clId="Web-{745970C4-8AD2-4075-CA06-3C7A772B0AD2}"/>
    <pc:docChg chg="modSld">
      <pc:chgData name="Afua Pokuaa-Adenle" userId="S::afua.pokuaa-adenle@eqs.com::e0a1f77c-d118-4d5f-afa4-193a01d40417" providerId="AD" clId="Web-{745970C4-8AD2-4075-CA06-3C7A772B0AD2}" dt="2025-05-23T16:02:52.436" v="11" actId="20577"/>
      <pc:docMkLst>
        <pc:docMk/>
      </pc:docMkLst>
      <pc:sldChg chg="modSp">
        <pc:chgData name="Afua Pokuaa-Adenle" userId="S::afua.pokuaa-adenle@eqs.com::e0a1f77c-d118-4d5f-afa4-193a01d40417" providerId="AD" clId="Web-{745970C4-8AD2-4075-CA06-3C7A772B0AD2}" dt="2025-05-23T16:02:52.436" v="11" actId="20577"/>
        <pc:sldMkLst>
          <pc:docMk/>
          <pc:sldMk cId="925996767" sldId="257"/>
        </pc:sldMkLst>
        <pc:spChg chg="mod">
          <ac:chgData name="Afua Pokuaa-Adenle" userId="S::afua.pokuaa-adenle@eqs.com::e0a1f77c-d118-4d5f-afa4-193a01d40417" providerId="AD" clId="Web-{745970C4-8AD2-4075-CA06-3C7A772B0AD2}" dt="2025-05-23T16:02:52.436" v="11" actId="20577"/>
          <ac:spMkLst>
            <pc:docMk/>
            <pc:sldMk cId="925996767" sldId="257"/>
            <ac:spMk id="2" creationId="{EF3E7C00-A73F-352D-A144-614B828BC858}"/>
          </ac:spMkLst>
        </pc:spChg>
      </pc:sldChg>
    </pc:docChg>
  </pc:docChgLst>
  <pc:docChgLst>
    <pc:chgData name="Afua Pokuaa-Adenle" userId="e0a1f77c-d118-4d5f-afa4-193a01d40417" providerId="ADAL" clId="{07F849EF-735F-473C-B6C2-3D8A316FC07B}"/>
    <pc:docChg chg="undo custSel addSld delSld modSld sldOrd">
      <pc:chgData name="Afua Pokuaa-Adenle" userId="e0a1f77c-d118-4d5f-afa4-193a01d40417" providerId="ADAL" clId="{07F849EF-735F-473C-B6C2-3D8A316FC07B}" dt="2025-05-23T11:16:16.280" v="870" actId="20577"/>
      <pc:docMkLst>
        <pc:docMk/>
      </pc:docMkLst>
      <pc:sldChg chg="modSp mod">
        <pc:chgData name="Afua Pokuaa-Adenle" userId="e0a1f77c-d118-4d5f-afa4-193a01d40417" providerId="ADAL" clId="{07F849EF-735F-473C-B6C2-3D8A316FC07B}" dt="2025-05-22T12:20:27.710" v="740" actId="113"/>
        <pc:sldMkLst>
          <pc:docMk/>
          <pc:sldMk cId="925996767" sldId="257"/>
        </pc:sldMkLst>
        <pc:spChg chg="mod">
          <ac:chgData name="Afua Pokuaa-Adenle" userId="e0a1f77c-d118-4d5f-afa4-193a01d40417" providerId="ADAL" clId="{07F849EF-735F-473C-B6C2-3D8A316FC07B}" dt="2025-05-22T12:20:27.710" v="740" actId="113"/>
          <ac:spMkLst>
            <pc:docMk/>
            <pc:sldMk cId="925996767" sldId="257"/>
            <ac:spMk id="3" creationId="{00000000-0000-0000-0000-000000000000}"/>
          </ac:spMkLst>
        </pc:spChg>
      </pc:sldChg>
      <pc:sldChg chg="modSp mod">
        <pc:chgData name="Afua Pokuaa-Adenle" userId="e0a1f77c-d118-4d5f-afa4-193a01d40417" providerId="ADAL" clId="{07F849EF-735F-473C-B6C2-3D8A316FC07B}" dt="2025-05-22T14:57:00.638" v="752" actId="27636"/>
        <pc:sldMkLst>
          <pc:docMk/>
          <pc:sldMk cId="2367236243" sldId="428"/>
        </pc:sldMkLst>
        <pc:spChg chg="mod">
          <ac:chgData name="Afua Pokuaa-Adenle" userId="e0a1f77c-d118-4d5f-afa4-193a01d40417" providerId="ADAL" clId="{07F849EF-735F-473C-B6C2-3D8A316FC07B}" dt="2025-05-22T11:46:20.374" v="65" actId="20577"/>
          <ac:spMkLst>
            <pc:docMk/>
            <pc:sldMk cId="2367236243" sldId="428"/>
            <ac:spMk id="2" creationId="{A51608D0-83B2-81F8-C46B-A9F9DFA0FD91}"/>
          </ac:spMkLst>
        </pc:spChg>
        <pc:spChg chg="mod">
          <ac:chgData name="Afua Pokuaa-Adenle" userId="e0a1f77c-d118-4d5f-afa4-193a01d40417" providerId="ADAL" clId="{07F849EF-735F-473C-B6C2-3D8A316FC07B}" dt="2025-05-22T14:57:00.638" v="752" actId="27636"/>
          <ac:spMkLst>
            <pc:docMk/>
            <pc:sldMk cId="2367236243" sldId="428"/>
            <ac:spMk id="5" creationId="{A7711D98-6544-1748-ACF7-C00B0C1C0A17}"/>
          </ac:spMkLst>
        </pc:spChg>
      </pc:sldChg>
      <pc:sldChg chg="modSp del mod">
        <pc:chgData name="Afua Pokuaa-Adenle" userId="e0a1f77c-d118-4d5f-afa4-193a01d40417" providerId="ADAL" clId="{07F849EF-735F-473C-B6C2-3D8A316FC07B}" dt="2025-05-22T12:20:35.729" v="741" actId="2696"/>
        <pc:sldMkLst>
          <pc:docMk/>
          <pc:sldMk cId="3105895735" sldId="2147482371"/>
        </pc:sldMkLst>
      </pc:sldChg>
      <pc:sldChg chg="addSp modSp del mod">
        <pc:chgData name="Afua Pokuaa-Adenle" userId="e0a1f77c-d118-4d5f-afa4-193a01d40417" providerId="ADAL" clId="{07F849EF-735F-473C-B6C2-3D8A316FC07B}" dt="2025-05-22T12:19:18.873" v="721" actId="2696"/>
        <pc:sldMkLst>
          <pc:docMk/>
          <pc:sldMk cId="4246969464" sldId="2147482372"/>
        </pc:sldMkLst>
      </pc:sldChg>
      <pc:sldChg chg="addSp delSp modSp add mod modClrScheme chgLayout">
        <pc:chgData name="Afua Pokuaa-Adenle" userId="e0a1f77c-d118-4d5f-afa4-193a01d40417" providerId="ADAL" clId="{07F849EF-735F-473C-B6C2-3D8A316FC07B}" dt="2025-05-22T11:57:52.197" v="427"/>
        <pc:sldMkLst>
          <pc:docMk/>
          <pc:sldMk cId="3589535537" sldId="2147482373"/>
        </pc:sldMkLst>
        <pc:spChg chg="mod">
          <ac:chgData name="Afua Pokuaa-Adenle" userId="e0a1f77c-d118-4d5f-afa4-193a01d40417" providerId="ADAL" clId="{07F849EF-735F-473C-B6C2-3D8A316FC07B}" dt="2025-05-22T11:53:17.752" v="388" actId="26606"/>
          <ac:spMkLst>
            <pc:docMk/>
            <pc:sldMk cId="3589535537" sldId="2147482373"/>
            <ac:spMk id="2" creationId="{6F739FE3-E07D-5B64-BFA9-EAC2FDC8CA3E}"/>
          </ac:spMkLst>
        </pc:spChg>
        <pc:spChg chg="mod">
          <ac:chgData name="Afua Pokuaa-Adenle" userId="e0a1f77c-d118-4d5f-afa4-193a01d40417" providerId="ADAL" clId="{07F849EF-735F-473C-B6C2-3D8A316FC07B}" dt="2025-05-22T11:53:17.752" v="388" actId="26606"/>
          <ac:spMkLst>
            <pc:docMk/>
            <pc:sldMk cId="3589535537" sldId="2147482373"/>
            <ac:spMk id="3" creationId="{9773E6EF-3C19-D5C3-1228-E8F57DB1E34B}"/>
          </ac:spMkLst>
        </pc:spChg>
        <pc:spChg chg="mod">
          <ac:chgData name="Afua Pokuaa-Adenle" userId="e0a1f77c-d118-4d5f-afa4-193a01d40417" providerId="ADAL" clId="{07F849EF-735F-473C-B6C2-3D8A316FC07B}" dt="2025-05-22T11:53:17.752" v="388" actId="26606"/>
          <ac:spMkLst>
            <pc:docMk/>
            <pc:sldMk cId="3589535537" sldId="2147482373"/>
            <ac:spMk id="6" creationId="{E4ED7FEF-6F00-7EDE-5669-AB30711A237E}"/>
          </ac:spMkLst>
        </pc:spChg>
        <pc:spChg chg="add mod">
          <ac:chgData name="Afua Pokuaa-Adenle" userId="e0a1f77c-d118-4d5f-afa4-193a01d40417" providerId="ADAL" clId="{07F849EF-735F-473C-B6C2-3D8A316FC07B}" dt="2025-05-22T11:57:52.197" v="427"/>
          <ac:spMkLst>
            <pc:docMk/>
            <pc:sldMk cId="3589535537" sldId="2147482373"/>
            <ac:spMk id="27" creationId="{F979ADCC-0AC0-ACD3-6639-1862DB9BAB31}"/>
          </ac:spMkLst>
        </pc:spChg>
        <pc:spChg chg="add mod">
          <ac:chgData name="Afua Pokuaa-Adenle" userId="e0a1f77c-d118-4d5f-afa4-193a01d40417" providerId="ADAL" clId="{07F849EF-735F-473C-B6C2-3D8A316FC07B}" dt="2025-05-22T11:53:17.752" v="388" actId="26606"/>
          <ac:spMkLst>
            <pc:docMk/>
            <pc:sldMk cId="3589535537" sldId="2147482373"/>
            <ac:spMk id="28" creationId="{16612C48-42F0-6A57-6D92-D24DFFA5C3CB}"/>
          </ac:spMkLst>
        </pc:spChg>
        <pc:picChg chg="add mod ord">
          <ac:chgData name="Afua Pokuaa-Adenle" userId="e0a1f77c-d118-4d5f-afa4-193a01d40417" providerId="ADAL" clId="{07F849EF-735F-473C-B6C2-3D8A316FC07B}" dt="2025-05-22T11:53:17.752" v="388" actId="26606"/>
          <ac:picMkLst>
            <pc:docMk/>
            <pc:sldMk cId="3589535537" sldId="2147482373"/>
            <ac:picMk id="7" creationId="{092CC6CA-4B3D-B8FC-68AB-8213A46DC124}"/>
          </ac:picMkLst>
        </pc:picChg>
      </pc:sldChg>
      <pc:sldChg chg="addSp delSp modSp add mod modClrScheme chgLayout">
        <pc:chgData name="Afua Pokuaa-Adenle" userId="e0a1f77c-d118-4d5f-afa4-193a01d40417" providerId="ADAL" clId="{07F849EF-735F-473C-B6C2-3D8A316FC07B}" dt="2025-05-22T12:11:50.323" v="593" actId="1076"/>
        <pc:sldMkLst>
          <pc:docMk/>
          <pc:sldMk cId="811934322" sldId="2147482374"/>
        </pc:sldMkLst>
        <pc:spChg chg="mod">
          <ac:chgData name="Afua Pokuaa-Adenle" userId="e0a1f77c-d118-4d5f-afa4-193a01d40417" providerId="ADAL" clId="{07F849EF-735F-473C-B6C2-3D8A316FC07B}" dt="2025-05-22T12:11:47.160" v="592" actId="26606"/>
          <ac:spMkLst>
            <pc:docMk/>
            <pc:sldMk cId="811934322" sldId="2147482374"/>
            <ac:spMk id="2" creationId="{454D194D-E40B-944D-0871-5A0F261A6F75}"/>
          </ac:spMkLst>
        </pc:spChg>
        <pc:spChg chg="mod">
          <ac:chgData name="Afua Pokuaa-Adenle" userId="e0a1f77c-d118-4d5f-afa4-193a01d40417" providerId="ADAL" clId="{07F849EF-735F-473C-B6C2-3D8A316FC07B}" dt="2025-05-22T12:11:47.160" v="592" actId="26606"/>
          <ac:spMkLst>
            <pc:docMk/>
            <pc:sldMk cId="811934322" sldId="2147482374"/>
            <ac:spMk id="3" creationId="{8435AEEF-462E-D31A-B4E6-6A6C4B14477D}"/>
          </ac:spMkLst>
        </pc:spChg>
        <pc:spChg chg="mod">
          <ac:chgData name="Afua Pokuaa-Adenle" userId="e0a1f77c-d118-4d5f-afa4-193a01d40417" providerId="ADAL" clId="{07F849EF-735F-473C-B6C2-3D8A316FC07B}" dt="2025-05-22T12:11:47.160" v="592" actId="26606"/>
          <ac:spMkLst>
            <pc:docMk/>
            <pc:sldMk cId="811934322" sldId="2147482374"/>
            <ac:spMk id="4" creationId="{E196A390-5CBB-439B-F3E9-72DB4EC0B727}"/>
          </ac:spMkLst>
        </pc:spChg>
        <pc:spChg chg="mod">
          <ac:chgData name="Afua Pokuaa-Adenle" userId="e0a1f77c-d118-4d5f-afa4-193a01d40417" providerId="ADAL" clId="{07F849EF-735F-473C-B6C2-3D8A316FC07B}" dt="2025-05-22T12:11:47.160" v="592" actId="26606"/>
          <ac:spMkLst>
            <pc:docMk/>
            <pc:sldMk cId="811934322" sldId="2147482374"/>
            <ac:spMk id="6" creationId="{E452D55A-9E17-8885-4C4E-DD6BEF976F0C}"/>
          </ac:spMkLst>
        </pc:spChg>
        <pc:spChg chg="add mod">
          <ac:chgData name="Afua Pokuaa-Adenle" userId="e0a1f77c-d118-4d5f-afa4-193a01d40417" providerId="ADAL" clId="{07F849EF-735F-473C-B6C2-3D8A316FC07B}" dt="2025-05-22T12:11:47.160" v="592" actId="26606"/>
          <ac:spMkLst>
            <pc:docMk/>
            <pc:sldMk cId="811934322" sldId="2147482374"/>
            <ac:spMk id="12" creationId="{3822D0FB-2A70-49F0-2C0D-B89067935313}"/>
          </ac:spMkLst>
        </pc:spChg>
        <pc:picChg chg="add mod ord">
          <ac:chgData name="Afua Pokuaa-Adenle" userId="e0a1f77c-d118-4d5f-afa4-193a01d40417" providerId="ADAL" clId="{07F849EF-735F-473C-B6C2-3D8A316FC07B}" dt="2025-05-22T12:11:50.323" v="593" actId="1076"/>
          <ac:picMkLst>
            <pc:docMk/>
            <pc:sldMk cId="811934322" sldId="2147482374"/>
            <ac:picMk id="7" creationId="{1184F538-314C-2004-1994-7197340D6A09}"/>
          </ac:picMkLst>
        </pc:picChg>
      </pc:sldChg>
      <pc:sldChg chg="addSp delSp modSp add mod">
        <pc:chgData name="Afua Pokuaa-Adenle" userId="e0a1f77c-d118-4d5f-afa4-193a01d40417" providerId="ADAL" clId="{07F849EF-735F-473C-B6C2-3D8A316FC07B}" dt="2025-05-22T11:57:54.805" v="428"/>
        <pc:sldMkLst>
          <pc:docMk/>
          <pc:sldMk cId="2897327243" sldId="2147482375"/>
        </pc:sldMkLst>
        <pc:spChg chg="mod">
          <ac:chgData name="Afua Pokuaa-Adenle" userId="e0a1f77c-d118-4d5f-afa4-193a01d40417" providerId="ADAL" clId="{07F849EF-735F-473C-B6C2-3D8A316FC07B}" dt="2025-05-22T11:57:54.805" v="428"/>
          <ac:spMkLst>
            <pc:docMk/>
            <pc:sldMk cId="2897327243" sldId="2147482375"/>
            <ac:spMk id="4" creationId="{0E50D80E-C048-0C04-C2D6-8012637946E7}"/>
          </ac:spMkLst>
        </pc:spChg>
        <pc:spChg chg="add mod">
          <ac:chgData name="Afua Pokuaa-Adenle" userId="e0a1f77c-d118-4d5f-afa4-193a01d40417" providerId="ADAL" clId="{07F849EF-735F-473C-B6C2-3D8A316FC07B}" dt="2025-05-22T11:53:50.837" v="391"/>
          <ac:spMkLst>
            <pc:docMk/>
            <pc:sldMk cId="2897327243" sldId="2147482375"/>
            <ac:spMk id="11" creationId="{C8BAD9F3-BD27-DFCE-D77F-A914671F470F}"/>
          </ac:spMkLst>
        </pc:spChg>
        <pc:graphicFrameChg chg="add mod">
          <ac:chgData name="Afua Pokuaa-Adenle" userId="e0a1f77c-d118-4d5f-afa4-193a01d40417" providerId="ADAL" clId="{07F849EF-735F-473C-B6C2-3D8A316FC07B}" dt="2025-05-22T11:56:31.962" v="397"/>
          <ac:graphicFrameMkLst>
            <pc:docMk/>
            <pc:sldMk cId="2897327243" sldId="2147482375"/>
            <ac:graphicFrameMk id="25" creationId="{3527D289-7030-9F0E-D279-DCEA4B49BDF5}"/>
          </ac:graphicFrameMkLst>
        </pc:graphicFrameChg>
      </pc:sldChg>
      <pc:sldChg chg="modSp add mod">
        <pc:chgData name="Afua Pokuaa-Adenle" userId="e0a1f77c-d118-4d5f-afa4-193a01d40417" providerId="ADAL" clId="{07F849EF-735F-473C-B6C2-3D8A316FC07B}" dt="2025-05-22T12:01:17.878" v="531" actId="27636"/>
        <pc:sldMkLst>
          <pc:docMk/>
          <pc:sldMk cId="2997418147" sldId="2147482376"/>
        </pc:sldMkLst>
        <pc:spChg chg="mod">
          <ac:chgData name="Afua Pokuaa-Adenle" userId="e0a1f77c-d118-4d5f-afa4-193a01d40417" providerId="ADAL" clId="{07F849EF-735F-473C-B6C2-3D8A316FC07B}" dt="2025-05-22T12:01:17.878" v="531" actId="27636"/>
          <ac:spMkLst>
            <pc:docMk/>
            <pc:sldMk cId="2997418147" sldId="2147482376"/>
            <ac:spMk id="2" creationId="{94B4A475-B2DF-C80A-7C7E-1C4C6553E480}"/>
          </ac:spMkLst>
        </pc:spChg>
        <pc:spChg chg="mod">
          <ac:chgData name="Afua Pokuaa-Adenle" userId="e0a1f77c-d118-4d5f-afa4-193a01d40417" providerId="ADAL" clId="{07F849EF-735F-473C-B6C2-3D8A316FC07B}" dt="2025-05-22T12:00:33.694" v="518" actId="20577"/>
          <ac:spMkLst>
            <pc:docMk/>
            <pc:sldMk cId="2997418147" sldId="2147482376"/>
            <ac:spMk id="4" creationId="{FACCD5CC-0D2D-3F98-84A1-E0F8D3C72A42}"/>
          </ac:spMkLst>
        </pc:spChg>
      </pc:sldChg>
      <pc:sldChg chg="addSp delSp modSp add mod modClrScheme chgLayout">
        <pc:chgData name="Afua Pokuaa-Adenle" userId="e0a1f77c-d118-4d5f-afa4-193a01d40417" providerId="ADAL" clId="{07F849EF-735F-473C-B6C2-3D8A316FC07B}" dt="2025-05-22T12:21:29.107" v="749" actId="1076"/>
        <pc:sldMkLst>
          <pc:docMk/>
          <pc:sldMk cId="199512536" sldId="2147482377"/>
        </pc:sldMkLst>
        <pc:spChg chg="mod ord">
          <ac:chgData name="Afua Pokuaa-Adenle" userId="e0a1f77c-d118-4d5f-afa4-193a01d40417" providerId="ADAL" clId="{07F849EF-735F-473C-B6C2-3D8A316FC07B}" dt="2025-05-22T11:59:18.078" v="475" actId="26606"/>
          <ac:spMkLst>
            <pc:docMk/>
            <pc:sldMk cId="199512536" sldId="2147482377"/>
            <ac:spMk id="2" creationId="{36950F08-B686-8ACF-295E-1AEBB7B44759}"/>
          </ac:spMkLst>
        </pc:spChg>
        <pc:spChg chg="mod">
          <ac:chgData name="Afua Pokuaa-Adenle" userId="e0a1f77c-d118-4d5f-afa4-193a01d40417" providerId="ADAL" clId="{07F849EF-735F-473C-B6C2-3D8A316FC07B}" dt="2025-05-22T11:59:18.078" v="475" actId="26606"/>
          <ac:spMkLst>
            <pc:docMk/>
            <pc:sldMk cId="199512536" sldId="2147482377"/>
            <ac:spMk id="3" creationId="{EF378E04-53F1-6017-7A6F-782880911889}"/>
          </ac:spMkLst>
        </pc:spChg>
        <pc:spChg chg="mod">
          <ac:chgData name="Afua Pokuaa-Adenle" userId="e0a1f77c-d118-4d5f-afa4-193a01d40417" providerId="ADAL" clId="{07F849EF-735F-473C-B6C2-3D8A316FC07B}" dt="2025-05-22T11:59:18.078" v="475" actId="26606"/>
          <ac:spMkLst>
            <pc:docMk/>
            <pc:sldMk cId="199512536" sldId="2147482377"/>
            <ac:spMk id="4" creationId="{917A7CAD-33DC-804A-7F53-B74D094752EA}"/>
          </ac:spMkLst>
        </pc:spChg>
        <pc:spChg chg="mod">
          <ac:chgData name="Afua Pokuaa-Adenle" userId="e0a1f77c-d118-4d5f-afa4-193a01d40417" providerId="ADAL" clId="{07F849EF-735F-473C-B6C2-3D8A316FC07B}" dt="2025-05-22T11:59:18.078" v="475" actId="26606"/>
          <ac:spMkLst>
            <pc:docMk/>
            <pc:sldMk cId="199512536" sldId="2147482377"/>
            <ac:spMk id="6" creationId="{7621343E-3E58-E545-79FD-A8E8C8F11FEC}"/>
          </ac:spMkLst>
        </pc:spChg>
        <pc:spChg chg="add mod">
          <ac:chgData name="Afua Pokuaa-Adenle" userId="e0a1f77c-d118-4d5f-afa4-193a01d40417" providerId="ADAL" clId="{07F849EF-735F-473C-B6C2-3D8A316FC07B}" dt="2025-05-22T11:59:18.078" v="475" actId="26606"/>
          <ac:spMkLst>
            <pc:docMk/>
            <pc:sldMk cId="199512536" sldId="2147482377"/>
            <ac:spMk id="29" creationId="{3EC7A4D5-87EE-A6E3-DE9A-1A1F0C7F7DEA}"/>
          </ac:spMkLst>
        </pc:spChg>
        <pc:picChg chg="add mod">
          <ac:chgData name="Afua Pokuaa-Adenle" userId="e0a1f77c-d118-4d5f-afa4-193a01d40417" providerId="ADAL" clId="{07F849EF-735F-473C-B6C2-3D8A316FC07B}" dt="2025-05-22T12:21:29.107" v="749" actId="1076"/>
          <ac:picMkLst>
            <pc:docMk/>
            <pc:sldMk cId="199512536" sldId="2147482377"/>
            <ac:picMk id="8" creationId="{21F6F914-8019-DA18-5CD9-9BC89BB03452}"/>
          </ac:picMkLst>
        </pc:picChg>
      </pc:sldChg>
      <pc:sldChg chg="addSp delSp modSp add mod modClrScheme chgLayout">
        <pc:chgData name="Afua Pokuaa-Adenle" userId="e0a1f77c-d118-4d5f-afa4-193a01d40417" providerId="ADAL" clId="{07F849EF-735F-473C-B6C2-3D8A316FC07B}" dt="2025-05-22T11:57:57.535" v="429"/>
        <pc:sldMkLst>
          <pc:docMk/>
          <pc:sldMk cId="1231641155" sldId="2147482378"/>
        </pc:sldMkLst>
        <pc:spChg chg="mod">
          <ac:chgData name="Afua Pokuaa-Adenle" userId="e0a1f77c-d118-4d5f-afa4-193a01d40417" providerId="ADAL" clId="{07F849EF-735F-473C-B6C2-3D8A316FC07B}" dt="2025-05-22T11:57:12.536" v="406" actId="26606"/>
          <ac:spMkLst>
            <pc:docMk/>
            <pc:sldMk cId="1231641155" sldId="2147482378"/>
            <ac:spMk id="2" creationId="{C523085D-3A0F-B8E6-4FC7-3C522792B9C0}"/>
          </ac:spMkLst>
        </pc:spChg>
        <pc:spChg chg="mod">
          <ac:chgData name="Afua Pokuaa-Adenle" userId="e0a1f77c-d118-4d5f-afa4-193a01d40417" providerId="ADAL" clId="{07F849EF-735F-473C-B6C2-3D8A316FC07B}" dt="2025-05-22T11:57:12.536" v="406" actId="26606"/>
          <ac:spMkLst>
            <pc:docMk/>
            <pc:sldMk cId="1231641155" sldId="2147482378"/>
            <ac:spMk id="3" creationId="{C6D3747D-B054-2288-BDAC-BF33D393DB3C}"/>
          </ac:spMkLst>
        </pc:spChg>
        <pc:spChg chg="mod">
          <ac:chgData name="Afua Pokuaa-Adenle" userId="e0a1f77c-d118-4d5f-afa4-193a01d40417" providerId="ADAL" clId="{07F849EF-735F-473C-B6C2-3D8A316FC07B}" dt="2025-05-22T11:57:12.536" v="406" actId="26606"/>
          <ac:spMkLst>
            <pc:docMk/>
            <pc:sldMk cId="1231641155" sldId="2147482378"/>
            <ac:spMk id="6" creationId="{8D16F57E-5853-0F92-F864-B7707CA89D08}"/>
          </ac:spMkLst>
        </pc:spChg>
        <pc:spChg chg="add mod">
          <ac:chgData name="Afua Pokuaa-Adenle" userId="e0a1f77c-d118-4d5f-afa4-193a01d40417" providerId="ADAL" clId="{07F849EF-735F-473C-B6C2-3D8A316FC07B}" dt="2025-05-22T11:57:57.535" v="429"/>
          <ac:spMkLst>
            <pc:docMk/>
            <pc:sldMk cId="1231641155" sldId="2147482378"/>
            <ac:spMk id="21" creationId="{6E25E2D6-F94C-D8D8-0EDE-66263AAA6C90}"/>
          </ac:spMkLst>
        </pc:spChg>
        <pc:spChg chg="add mod">
          <ac:chgData name="Afua Pokuaa-Adenle" userId="e0a1f77c-d118-4d5f-afa4-193a01d40417" providerId="ADAL" clId="{07F849EF-735F-473C-B6C2-3D8A316FC07B}" dt="2025-05-22T11:57:12.536" v="406" actId="26606"/>
          <ac:spMkLst>
            <pc:docMk/>
            <pc:sldMk cId="1231641155" sldId="2147482378"/>
            <ac:spMk id="22" creationId="{4C7B930B-9D55-C7BF-2BDD-BCF6999D700E}"/>
          </ac:spMkLst>
        </pc:spChg>
        <pc:picChg chg="add mod ord">
          <ac:chgData name="Afua Pokuaa-Adenle" userId="e0a1f77c-d118-4d5f-afa4-193a01d40417" providerId="ADAL" clId="{07F849EF-735F-473C-B6C2-3D8A316FC07B}" dt="2025-05-22T11:57:17.319" v="407" actId="14100"/>
          <ac:picMkLst>
            <pc:docMk/>
            <pc:sldMk cId="1231641155" sldId="2147482378"/>
            <ac:picMk id="7" creationId="{B2F3CA74-3A1C-03C1-BFD1-787A31B71AE1}"/>
          </ac:picMkLst>
        </pc:picChg>
      </pc:sldChg>
      <pc:sldChg chg="addSp delSp modSp add mod ord modClrScheme chgLayout">
        <pc:chgData name="Afua Pokuaa-Adenle" userId="e0a1f77c-d118-4d5f-afa4-193a01d40417" providerId="ADAL" clId="{07F849EF-735F-473C-B6C2-3D8A316FC07B}" dt="2025-05-23T11:16:16.280" v="870" actId="20577"/>
        <pc:sldMkLst>
          <pc:docMk/>
          <pc:sldMk cId="2953934388" sldId="2147482379"/>
        </pc:sldMkLst>
        <pc:spChg chg="mod">
          <ac:chgData name="Afua Pokuaa-Adenle" userId="e0a1f77c-d118-4d5f-afa4-193a01d40417" providerId="ADAL" clId="{07F849EF-735F-473C-B6C2-3D8A316FC07B}" dt="2025-05-22T12:19:10.489" v="720" actId="27636"/>
          <ac:spMkLst>
            <pc:docMk/>
            <pc:sldMk cId="2953934388" sldId="2147482379"/>
            <ac:spMk id="2" creationId="{EEF2890A-AD03-A0AA-831A-39622E427FEB}"/>
          </ac:spMkLst>
        </pc:spChg>
        <pc:spChg chg="mod">
          <ac:chgData name="Afua Pokuaa-Adenle" userId="e0a1f77c-d118-4d5f-afa4-193a01d40417" providerId="ADAL" clId="{07F849EF-735F-473C-B6C2-3D8A316FC07B}" dt="2025-05-22T11:51:05.751" v="349" actId="26606"/>
          <ac:spMkLst>
            <pc:docMk/>
            <pc:sldMk cId="2953934388" sldId="2147482379"/>
            <ac:spMk id="3" creationId="{3C56B34B-B768-A9DB-ED28-FD41C9D118EC}"/>
          </ac:spMkLst>
        </pc:spChg>
        <pc:spChg chg="mod">
          <ac:chgData name="Afua Pokuaa-Adenle" userId="e0a1f77c-d118-4d5f-afa4-193a01d40417" providerId="ADAL" clId="{07F849EF-735F-473C-B6C2-3D8A316FC07B}" dt="2025-05-23T11:16:16.280" v="870" actId="20577"/>
          <ac:spMkLst>
            <pc:docMk/>
            <pc:sldMk cId="2953934388" sldId="2147482379"/>
            <ac:spMk id="4" creationId="{950159CA-5D12-47B5-529A-7CB988A95D79}"/>
          </ac:spMkLst>
        </pc:spChg>
        <pc:spChg chg="mod">
          <ac:chgData name="Afua Pokuaa-Adenle" userId="e0a1f77c-d118-4d5f-afa4-193a01d40417" providerId="ADAL" clId="{07F849EF-735F-473C-B6C2-3D8A316FC07B}" dt="2025-05-22T11:51:05.751" v="349" actId="26606"/>
          <ac:spMkLst>
            <pc:docMk/>
            <pc:sldMk cId="2953934388" sldId="2147482379"/>
            <ac:spMk id="6" creationId="{1C62104A-E4A9-839A-DCDD-53E6124DE4C8}"/>
          </ac:spMkLst>
        </pc:spChg>
        <pc:spChg chg="add">
          <ac:chgData name="Afua Pokuaa-Adenle" userId="e0a1f77c-d118-4d5f-afa4-193a01d40417" providerId="ADAL" clId="{07F849EF-735F-473C-B6C2-3D8A316FC07B}" dt="2025-05-22T12:18:34.674" v="689" actId="26606"/>
          <ac:spMkLst>
            <pc:docMk/>
            <pc:sldMk cId="2953934388" sldId="2147482379"/>
            <ac:spMk id="17" creationId="{70E5BB37-53BE-5001-AA0A-59B1F9E50D22}"/>
          </ac:spMkLst>
        </pc:spChg>
        <pc:picChg chg="add mod ord">
          <ac:chgData name="Afua Pokuaa-Adenle" userId="e0a1f77c-d118-4d5f-afa4-193a01d40417" providerId="ADAL" clId="{07F849EF-735F-473C-B6C2-3D8A316FC07B}" dt="2025-05-22T12:18:34.674" v="689" actId="26606"/>
          <ac:picMkLst>
            <pc:docMk/>
            <pc:sldMk cId="2953934388" sldId="2147482379"/>
            <ac:picMk id="8" creationId="{AEC85DB8-9E1B-A3EE-A242-8B97B248109F}"/>
          </ac:picMkLst>
        </pc:picChg>
      </pc:sldChg>
      <pc:sldChg chg="addSp delSp modSp new mod modClrScheme chgLayout">
        <pc:chgData name="Afua Pokuaa-Adenle" userId="e0a1f77c-d118-4d5f-afa4-193a01d40417" providerId="ADAL" clId="{07F849EF-735F-473C-B6C2-3D8A316FC07B}" dt="2025-05-22T12:13:02.468" v="618" actId="20577"/>
        <pc:sldMkLst>
          <pc:docMk/>
          <pc:sldMk cId="2656228123" sldId="2147482380"/>
        </pc:sldMkLst>
        <pc:spChg chg="mod">
          <ac:chgData name="Afua Pokuaa-Adenle" userId="e0a1f77c-d118-4d5f-afa4-193a01d40417" providerId="ADAL" clId="{07F849EF-735F-473C-B6C2-3D8A316FC07B}" dt="2025-05-22T12:12:19.518" v="597" actId="33524"/>
          <ac:spMkLst>
            <pc:docMk/>
            <pc:sldMk cId="2656228123" sldId="2147482380"/>
            <ac:spMk id="2" creationId="{CCE59B23-3495-8262-DD4C-1E9BA6DBA7E3}"/>
          </ac:spMkLst>
        </pc:spChg>
        <pc:spChg chg="mod">
          <ac:chgData name="Afua Pokuaa-Adenle" userId="e0a1f77c-d118-4d5f-afa4-193a01d40417" providerId="ADAL" clId="{07F849EF-735F-473C-B6C2-3D8A316FC07B}" dt="2025-05-22T12:12:11.849" v="596" actId="26606"/>
          <ac:spMkLst>
            <pc:docMk/>
            <pc:sldMk cId="2656228123" sldId="2147482380"/>
            <ac:spMk id="3" creationId="{0FCA48E7-788F-4173-49A1-328D2511F065}"/>
          </ac:spMkLst>
        </pc:spChg>
        <pc:spChg chg="mod">
          <ac:chgData name="Afua Pokuaa-Adenle" userId="e0a1f77c-d118-4d5f-afa4-193a01d40417" providerId="ADAL" clId="{07F849EF-735F-473C-B6C2-3D8A316FC07B}" dt="2025-05-22T12:12:11.849" v="596" actId="26606"/>
          <ac:spMkLst>
            <pc:docMk/>
            <pc:sldMk cId="2656228123" sldId="2147482380"/>
            <ac:spMk id="6" creationId="{D7826439-9C91-A905-1600-B5FEF24E2F87}"/>
          </ac:spMkLst>
        </pc:spChg>
        <pc:spChg chg="add mod">
          <ac:chgData name="Afua Pokuaa-Adenle" userId="e0a1f77c-d118-4d5f-afa4-193a01d40417" providerId="ADAL" clId="{07F849EF-735F-473C-B6C2-3D8A316FC07B}" dt="2025-05-22T12:13:02.468" v="618" actId="20577"/>
          <ac:spMkLst>
            <pc:docMk/>
            <pc:sldMk cId="2656228123" sldId="2147482380"/>
            <ac:spMk id="12" creationId="{B44BC4CA-7316-C780-4DF6-582BFFFB1F76}"/>
          </ac:spMkLst>
        </pc:spChg>
        <pc:spChg chg="add mod">
          <ac:chgData name="Afua Pokuaa-Adenle" userId="e0a1f77c-d118-4d5f-afa4-193a01d40417" providerId="ADAL" clId="{07F849EF-735F-473C-B6C2-3D8A316FC07B}" dt="2025-05-22T12:12:11.849" v="596" actId="26606"/>
          <ac:spMkLst>
            <pc:docMk/>
            <pc:sldMk cId="2656228123" sldId="2147482380"/>
            <ac:spMk id="14" creationId="{172F14D0-3128-080C-A076-A16492912DD2}"/>
          </ac:spMkLst>
        </pc:spChg>
        <pc:picChg chg="add mod ord">
          <ac:chgData name="Afua Pokuaa-Adenle" userId="e0a1f77c-d118-4d5f-afa4-193a01d40417" providerId="ADAL" clId="{07F849EF-735F-473C-B6C2-3D8A316FC07B}" dt="2025-05-22T12:12:11.849" v="596" actId="26606"/>
          <ac:picMkLst>
            <pc:docMk/>
            <pc:sldMk cId="2656228123" sldId="2147482380"/>
            <ac:picMk id="7" creationId="{8DDD622F-9114-42FA-5657-BE10184B5B87}"/>
          </ac:picMkLst>
        </pc:picChg>
      </pc:sldChg>
      <pc:sldChg chg="addSp delSp modSp new mod ord modClrScheme chgLayout">
        <pc:chgData name="Afua Pokuaa-Adenle" userId="e0a1f77c-d118-4d5f-afa4-193a01d40417" providerId="ADAL" clId="{07F849EF-735F-473C-B6C2-3D8A316FC07B}" dt="2025-05-22T12:11:06.727" v="564"/>
        <pc:sldMkLst>
          <pc:docMk/>
          <pc:sldMk cId="1248373667" sldId="2147482381"/>
        </pc:sldMkLst>
        <pc:spChg chg="mod">
          <ac:chgData name="Afua Pokuaa-Adenle" userId="e0a1f77c-d118-4d5f-afa4-193a01d40417" providerId="ADAL" clId="{07F849EF-735F-473C-B6C2-3D8A316FC07B}" dt="2025-05-22T12:10:50.645" v="561" actId="26606"/>
          <ac:spMkLst>
            <pc:docMk/>
            <pc:sldMk cId="1248373667" sldId="2147482381"/>
            <ac:spMk id="2" creationId="{A77DE836-F544-A83F-669E-F5EB1249C610}"/>
          </ac:spMkLst>
        </pc:spChg>
        <pc:spChg chg="mod">
          <ac:chgData name="Afua Pokuaa-Adenle" userId="e0a1f77c-d118-4d5f-afa4-193a01d40417" providerId="ADAL" clId="{07F849EF-735F-473C-B6C2-3D8A316FC07B}" dt="2025-05-22T12:10:50.645" v="561" actId="26606"/>
          <ac:spMkLst>
            <pc:docMk/>
            <pc:sldMk cId="1248373667" sldId="2147482381"/>
            <ac:spMk id="3" creationId="{1D4F2D52-E842-03EF-D803-DE022F67FB15}"/>
          </ac:spMkLst>
        </pc:spChg>
        <pc:spChg chg="mod">
          <ac:chgData name="Afua Pokuaa-Adenle" userId="e0a1f77c-d118-4d5f-afa4-193a01d40417" providerId="ADAL" clId="{07F849EF-735F-473C-B6C2-3D8A316FC07B}" dt="2025-05-22T12:10:50.645" v="561" actId="26606"/>
          <ac:spMkLst>
            <pc:docMk/>
            <pc:sldMk cId="1248373667" sldId="2147482381"/>
            <ac:spMk id="4" creationId="{85B398C2-9277-DEFB-0757-622D618F32AB}"/>
          </ac:spMkLst>
        </pc:spChg>
        <pc:spChg chg="mod">
          <ac:chgData name="Afua Pokuaa-Adenle" userId="e0a1f77c-d118-4d5f-afa4-193a01d40417" providerId="ADAL" clId="{07F849EF-735F-473C-B6C2-3D8A316FC07B}" dt="2025-05-22T12:10:50.645" v="561" actId="26606"/>
          <ac:spMkLst>
            <pc:docMk/>
            <pc:sldMk cId="1248373667" sldId="2147482381"/>
            <ac:spMk id="6" creationId="{03D0AE94-4E23-63B2-7B7E-75251B39825F}"/>
          </ac:spMkLst>
        </pc:spChg>
        <pc:spChg chg="add mod">
          <ac:chgData name="Afua Pokuaa-Adenle" userId="e0a1f77c-d118-4d5f-afa4-193a01d40417" providerId="ADAL" clId="{07F849EF-735F-473C-B6C2-3D8A316FC07B}" dt="2025-05-22T12:10:50.645" v="561" actId="26606"/>
          <ac:spMkLst>
            <pc:docMk/>
            <pc:sldMk cId="1248373667" sldId="2147482381"/>
            <ac:spMk id="16" creationId="{404E1B58-CFEF-065C-5211-E31286A14990}"/>
          </ac:spMkLst>
        </pc:spChg>
        <pc:picChg chg="add mod ord">
          <ac:chgData name="Afua Pokuaa-Adenle" userId="e0a1f77c-d118-4d5f-afa4-193a01d40417" providerId="ADAL" clId="{07F849EF-735F-473C-B6C2-3D8A316FC07B}" dt="2025-05-22T12:10:55.446" v="562" actId="1076"/>
          <ac:picMkLst>
            <pc:docMk/>
            <pc:sldMk cId="1248373667" sldId="2147482381"/>
            <ac:picMk id="7" creationId="{BADFC1D1-C3FF-4D12-4F09-1C881DE8E8DE}"/>
          </ac:picMkLst>
        </pc:picChg>
      </pc:sldChg>
      <pc:sldChg chg="modSp new del mod">
        <pc:chgData name="Afua Pokuaa-Adenle" userId="e0a1f77c-d118-4d5f-afa4-193a01d40417" providerId="ADAL" clId="{07F849EF-735F-473C-B6C2-3D8A316FC07B}" dt="2025-05-22T12:13:51.762" v="645" actId="2696"/>
        <pc:sldMkLst>
          <pc:docMk/>
          <pc:sldMk cId="1169151999" sldId="2147482382"/>
        </pc:sldMkLst>
      </pc:sldChg>
      <pc:sldChg chg="modSp new del mod">
        <pc:chgData name="Afua Pokuaa-Adenle" userId="e0a1f77c-d118-4d5f-afa4-193a01d40417" providerId="ADAL" clId="{07F849EF-735F-473C-B6C2-3D8A316FC07B}" dt="2025-05-22T12:14:36.171" v="676" actId="2696"/>
        <pc:sldMkLst>
          <pc:docMk/>
          <pc:sldMk cId="27091083" sldId="2147482383"/>
        </pc:sldMkLst>
      </pc:sldChg>
      <pc:sldChg chg="new del">
        <pc:chgData name="Afua Pokuaa-Adenle" userId="e0a1f77c-d118-4d5f-afa4-193a01d40417" providerId="ADAL" clId="{07F849EF-735F-473C-B6C2-3D8A316FC07B}" dt="2025-05-22T12:14:18.271" v="666" actId="2696"/>
        <pc:sldMkLst>
          <pc:docMk/>
          <pc:sldMk cId="2451337985" sldId="2147482384"/>
        </pc:sldMkLst>
      </pc:sldChg>
      <pc:sldChg chg="addSp delSp modSp new mod ord modClrScheme chgLayout">
        <pc:chgData name="Afua Pokuaa-Adenle" userId="e0a1f77c-d118-4d5f-afa4-193a01d40417" providerId="ADAL" clId="{07F849EF-735F-473C-B6C2-3D8A316FC07B}" dt="2025-05-22T12:14:10.853" v="665" actId="26606"/>
        <pc:sldMkLst>
          <pc:docMk/>
          <pc:sldMk cId="61585005" sldId="2147482385"/>
        </pc:sldMkLst>
        <pc:spChg chg="mod">
          <ac:chgData name="Afua Pokuaa-Adenle" userId="e0a1f77c-d118-4d5f-afa4-193a01d40417" providerId="ADAL" clId="{07F849EF-735F-473C-B6C2-3D8A316FC07B}" dt="2025-05-22T12:14:10.853" v="665" actId="26606"/>
          <ac:spMkLst>
            <pc:docMk/>
            <pc:sldMk cId="61585005" sldId="2147482385"/>
            <ac:spMk id="2" creationId="{7A09283C-F48E-9FBA-70E0-B49A2B54325D}"/>
          </ac:spMkLst>
        </pc:spChg>
        <pc:spChg chg="mod">
          <ac:chgData name="Afua Pokuaa-Adenle" userId="e0a1f77c-d118-4d5f-afa4-193a01d40417" providerId="ADAL" clId="{07F849EF-735F-473C-B6C2-3D8A316FC07B}" dt="2025-05-22T12:14:10.853" v="665" actId="26606"/>
          <ac:spMkLst>
            <pc:docMk/>
            <pc:sldMk cId="61585005" sldId="2147482385"/>
            <ac:spMk id="3" creationId="{A7CD8967-4D00-8276-CA70-DC204FFABD87}"/>
          </ac:spMkLst>
        </pc:spChg>
        <pc:spChg chg="mod">
          <ac:chgData name="Afua Pokuaa-Adenle" userId="e0a1f77c-d118-4d5f-afa4-193a01d40417" providerId="ADAL" clId="{07F849EF-735F-473C-B6C2-3D8A316FC07B}" dt="2025-05-22T12:14:10.853" v="665" actId="26606"/>
          <ac:spMkLst>
            <pc:docMk/>
            <pc:sldMk cId="61585005" sldId="2147482385"/>
            <ac:spMk id="4" creationId="{6E2126CF-7E58-E910-F88C-1BD54E3427AF}"/>
          </ac:spMkLst>
        </pc:spChg>
        <pc:spChg chg="mod">
          <ac:chgData name="Afua Pokuaa-Adenle" userId="e0a1f77c-d118-4d5f-afa4-193a01d40417" providerId="ADAL" clId="{07F849EF-735F-473C-B6C2-3D8A316FC07B}" dt="2025-05-22T12:14:10.853" v="665" actId="26606"/>
          <ac:spMkLst>
            <pc:docMk/>
            <pc:sldMk cId="61585005" sldId="2147482385"/>
            <ac:spMk id="6" creationId="{B0E37D47-9AB9-6D4C-3251-24774E102B15}"/>
          </ac:spMkLst>
        </pc:spChg>
        <pc:spChg chg="add mod">
          <ac:chgData name="Afua Pokuaa-Adenle" userId="e0a1f77c-d118-4d5f-afa4-193a01d40417" providerId="ADAL" clId="{07F849EF-735F-473C-B6C2-3D8A316FC07B}" dt="2025-05-22T12:14:10.853" v="665" actId="26606"/>
          <ac:spMkLst>
            <pc:docMk/>
            <pc:sldMk cId="61585005" sldId="2147482385"/>
            <ac:spMk id="12" creationId="{3C00C16C-C907-C6F3-7D5B-57845AC72253}"/>
          </ac:spMkLst>
        </pc:spChg>
        <pc:picChg chg="add mod ord">
          <ac:chgData name="Afua Pokuaa-Adenle" userId="e0a1f77c-d118-4d5f-afa4-193a01d40417" providerId="ADAL" clId="{07F849EF-735F-473C-B6C2-3D8A316FC07B}" dt="2025-05-22T12:14:10.853" v="665" actId="26606"/>
          <ac:picMkLst>
            <pc:docMk/>
            <pc:sldMk cId="61585005" sldId="2147482385"/>
            <ac:picMk id="7" creationId="{13ECBEF0-D1DD-4E9C-7A79-BEB7021E714B}"/>
          </ac:picMkLst>
        </pc:picChg>
      </pc:sldChg>
      <pc:sldChg chg="addSp delSp modSp new mod ord modClrScheme chgLayout">
        <pc:chgData name="Afua Pokuaa-Adenle" userId="e0a1f77c-d118-4d5f-afa4-193a01d40417" providerId="ADAL" clId="{07F849EF-735F-473C-B6C2-3D8A316FC07B}" dt="2025-05-22T12:14:57.312" v="686" actId="26606"/>
        <pc:sldMkLst>
          <pc:docMk/>
          <pc:sldMk cId="179696370" sldId="2147482386"/>
        </pc:sldMkLst>
        <pc:spChg chg="mod">
          <ac:chgData name="Afua Pokuaa-Adenle" userId="e0a1f77c-d118-4d5f-afa4-193a01d40417" providerId="ADAL" clId="{07F849EF-735F-473C-B6C2-3D8A316FC07B}" dt="2025-05-22T12:14:57.312" v="686" actId="26606"/>
          <ac:spMkLst>
            <pc:docMk/>
            <pc:sldMk cId="179696370" sldId="2147482386"/>
            <ac:spMk id="2" creationId="{87D5E07E-EAF6-3751-8B3B-7A61B5E34D5A}"/>
          </ac:spMkLst>
        </pc:spChg>
        <pc:spChg chg="mod">
          <ac:chgData name="Afua Pokuaa-Adenle" userId="e0a1f77c-d118-4d5f-afa4-193a01d40417" providerId="ADAL" clId="{07F849EF-735F-473C-B6C2-3D8A316FC07B}" dt="2025-05-22T12:14:57.312" v="686" actId="26606"/>
          <ac:spMkLst>
            <pc:docMk/>
            <pc:sldMk cId="179696370" sldId="2147482386"/>
            <ac:spMk id="3" creationId="{59DB6E6C-9420-6D4F-80B0-9E3743EC1987}"/>
          </ac:spMkLst>
        </pc:spChg>
        <pc:spChg chg="mod">
          <ac:chgData name="Afua Pokuaa-Adenle" userId="e0a1f77c-d118-4d5f-afa4-193a01d40417" providerId="ADAL" clId="{07F849EF-735F-473C-B6C2-3D8A316FC07B}" dt="2025-05-22T12:14:57.312" v="686" actId="26606"/>
          <ac:spMkLst>
            <pc:docMk/>
            <pc:sldMk cId="179696370" sldId="2147482386"/>
            <ac:spMk id="4" creationId="{D3C85248-A032-6F09-D36F-3ED8DE3DE017}"/>
          </ac:spMkLst>
        </pc:spChg>
        <pc:spChg chg="mod">
          <ac:chgData name="Afua Pokuaa-Adenle" userId="e0a1f77c-d118-4d5f-afa4-193a01d40417" providerId="ADAL" clId="{07F849EF-735F-473C-B6C2-3D8A316FC07B}" dt="2025-05-22T12:14:57.312" v="686" actId="26606"/>
          <ac:spMkLst>
            <pc:docMk/>
            <pc:sldMk cId="179696370" sldId="2147482386"/>
            <ac:spMk id="6" creationId="{7574F924-FFB4-6F98-4BBB-F39AA708071A}"/>
          </ac:spMkLst>
        </pc:spChg>
        <pc:spChg chg="add mod">
          <ac:chgData name="Afua Pokuaa-Adenle" userId="e0a1f77c-d118-4d5f-afa4-193a01d40417" providerId="ADAL" clId="{07F849EF-735F-473C-B6C2-3D8A316FC07B}" dt="2025-05-22T12:14:57.312" v="686" actId="26606"/>
          <ac:spMkLst>
            <pc:docMk/>
            <pc:sldMk cId="179696370" sldId="2147482386"/>
            <ac:spMk id="12" creationId="{72BA18BB-1D13-A9D8-7AC2-A0C1E98823AD}"/>
          </ac:spMkLst>
        </pc:spChg>
        <pc:picChg chg="add mod ord">
          <ac:chgData name="Afua Pokuaa-Adenle" userId="e0a1f77c-d118-4d5f-afa4-193a01d40417" providerId="ADAL" clId="{07F849EF-735F-473C-B6C2-3D8A316FC07B}" dt="2025-05-22T12:14:57.312" v="686" actId="26606"/>
          <ac:picMkLst>
            <pc:docMk/>
            <pc:sldMk cId="179696370" sldId="2147482386"/>
            <ac:picMk id="7" creationId="{CB356E32-F8AC-F464-5045-2B70C5D82A3A}"/>
          </ac:picMkLst>
        </pc:picChg>
      </pc:sldChg>
      <pc:sldChg chg="addSp delSp modSp new mod">
        <pc:chgData name="Afua Pokuaa-Adenle" userId="e0a1f77c-d118-4d5f-afa4-193a01d40417" providerId="ADAL" clId="{07F849EF-735F-473C-B6C2-3D8A316FC07B}" dt="2025-05-22T15:00:46.103" v="832" actId="20577"/>
        <pc:sldMkLst>
          <pc:docMk/>
          <pc:sldMk cId="3679418423" sldId="2147482387"/>
        </pc:sldMkLst>
        <pc:spChg chg="mod">
          <ac:chgData name="Afua Pokuaa-Adenle" userId="e0a1f77c-d118-4d5f-afa4-193a01d40417" providerId="ADAL" clId="{07F849EF-735F-473C-B6C2-3D8A316FC07B}" dt="2025-05-22T15:00:46.103" v="832" actId="20577"/>
          <ac:spMkLst>
            <pc:docMk/>
            <pc:sldMk cId="3679418423" sldId="2147482387"/>
            <ac:spMk id="2" creationId="{8370ECDB-693C-65AB-7B9C-F6C8AB1A48B5}"/>
          </ac:spMkLst>
        </pc:spChg>
        <pc:spChg chg="mod">
          <ac:chgData name="Afua Pokuaa-Adenle" userId="e0a1f77c-d118-4d5f-afa4-193a01d40417" providerId="ADAL" clId="{07F849EF-735F-473C-B6C2-3D8A316FC07B}" dt="2025-05-22T14:58:16.789" v="772" actId="26606"/>
          <ac:spMkLst>
            <pc:docMk/>
            <pc:sldMk cId="3679418423" sldId="2147482387"/>
            <ac:spMk id="4" creationId="{E4B96A51-730F-DF12-A7F5-0710B6C23306}"/>
          </ac:spMkLst>
        </pc:spChg>
        <pc:spChg chg="mod">
          <ac:chgData name="Afua Pokuaa-Adenle" userId="e0a1f77c-d118-4d5f-afa4-193a01d40417" providerId="ADAL" clId="{07F849EF-735F-473C-B6C2-3D8A316FC07B}" dt="2025-05-22T14:58:16.789" v="772" actId="26606"/>
          <ac:spMkLst>
            <pc:docMk/>
            <pc:sldMk cId="3679418423" sldId="2147482387"/>
            <ac:spMk id="7" creationId="{256CC554-B9DD-3EC6-FA4B-F9BDEFAA8E6C}"/>
          </ac:spMkLst>
        </pc:spChg>
        <pc:spChg chg="add mod">
          <ac:chgData name="Afua Pokuaa-Adenle" userId="e0a1f77c-d118-4d5f-afa4-193a01d40417" providerId="ADAL" clId="{07F849EF-735F-473C-B6C2-3D8A316FC07B}" dt="2025-05-22T14:58:31.233" v="788" actId="20577"/>
          <ac:spMkLst>
            <pc:docMk/>
            <pc:sldMk cId="3679418423" sldId="2147482387"/>
            <ac:spMk id="2055" creationId="{2180BA6C-853F-0E10-EC77-1765E7D75FEB}"/>
          </ac:spMkLst>
        </pc:spChg>
        <pc:spChg chg="add">
          <ac:chgData name="Afua Pokuaa-Adenle" userId="e0a1f77c-d118-4d5f-afa4-193a01d40417" providerId="ADAL" clId="{07F849EF-735F-473C-B6C2-3D8A316FC07B}" dt="2025-05-22T14:58:16.789" v="772" actId="26606"/>
          <ac:spMkLst>
            <pc:docMk/>
            <pc:sldMk cId="3679418423" sldId="2147482387"/>
            <ac:spMk id="2057" creationId="{1964A378-A72B-1C1D-3ACF-742653EE2946}"/>
          </ac:spMkLst>
        </pc:spChg>
        <pc:picChg chg="add mod ord">
          <ac:chgData name="Afua Pokuaa-Adenle" userId="e0a1f77c-d118-4d5f-afa4-193a01d40417" providerId="ADAL" clId="{07F849EF-735F-473C-B6C2-3D8A316FC07B}" dt="2025-05-22T14:58:23.671" v="773" actId="1076"/>
          <ac:picMkLst>
            <pc:docMk/>
            <pc:sldMk cId="3679418423" sldId="2147482387"/>
            <ac:picMk id="2050" creationId="{AE05B44C-6C33-D791-9284-4EB043D7233B}"/>
          </ac:picMkLst>
        </pc:picChg>
      </pc:sldChg>
    </pc:docChg>
  </pc:docChgLst>
  <pc:docChgLst>
    <pc:chgData name="Molly Brand" userId="S::molly.brand@eqs.com::b8940fc0-24ea-4b2e-98aa-d86e6a17f272" providerId="AD" clId="Web-{44CEF13A-9563-3752-A7BD-5D848E4165E5}"/>
    <pc:docChg chg="modSld">
      <pc:chgData name="Molly Brand" userId="S::molly.brand@eqs.com::b8940fc0-24ea-4b2e-98aa-d86e6a17f272" providerId="AD" clId="Web-{44CEF13A-9563-3752-A7BD-5D848E4165E5}" dt="2025-05-23T20:10:29.594" v="2" actId="20577"/>
      <pc:docMkLst>
        <pc:docMk/>
      </pc:docMkLst>
      <pc:sldChg chg="modSp">
        <pc:chgData name="Molly Brand" userId="S::molly.brand@eqs.com::b8940fc0-24ea-4b2e-98aa-d86e6a17f272" providerId="AD" clId="Web-{44CEF13A-9563-3752-A7BD-5D848E4165E5}" dt="2025-05-23T20:09:59.999" v="1" actId="14100"/>
        <pc:sldMkLst>
          <pc:docMk/>
          <pc:sldMk cId="199512536" sldId="2147482377"/>
        </pc:sldMkLst>
        <pc:spChg chg="mod">
          <ac:chgData name="Molly Brand" userId="S::molly.brand@eqs.com::b8940fc0-24ea-4b2e-98aa-d86e6a17f272" providerId="AD" clId="Web-{44CEF13A-9563-3752-A7BD-5D848E4165E5}" dt="2025-05-23T20:09:59.999" v="1" actId="14100"/>
          <ac:spMkLst>
            <pc:docMk/>
            <pc:sldMk cId="199512536" sldId="2147482377"/>
            <ac:spMk id="2" creationId="{36950F08-B686-8ACF-295E-1AEBB7B44759}"/>
          </ac:spMkLst>
        </pc:spChg>
      </pc:sldChg>
      <pc:sldChg chg="modSp">
        <pc:chgData name="Molly Brand" userId="S::molly.brand@eqs.com::b8940fc0-24ea-4b2e-98aa-d86e6a17f272" providerId="AD" clId="Web-{44CEF13A-9563-3752-A7BD-5D848E4165E5}" dt="2025-05-23T20:09:52.358" v="0" actId="20577"/>
        <pc:sldMkLst>
          <pc:docMk/>
          <pc:sldMk cId="1231641155" sldId="2147482378"/>
        </pc:sldMkLst>
        <pc:spChg chg="mod">
          <ac:chgData name="Molly Brand" userId="S::molly.brand@eqs.com::b8940fc0-24ea-4b2e-98aa-d86e6a17f272" providerId="AD" clId="Web-{44CEF13A-9563-3752-A7BD-5D848E4165E5}" dt="2025-05-23T20:09:52.358" v="0" actId="20577"/>
          <ac:spMkLst>
            <pc:docMk/>
            <pc:sldMk cId="1231641155" sldId="2147482378"/>
            <ac:spMk id="2" creationId="{C523085D-3A0F-B8E6-4FC7-3C522792B9C0}"/>
          </ac:spMkLst>
        </pc:spChg>
      </pc:sldChg>
      <pc:sldChg chg="modSp">
        <pc:chgData name="Molly Brand" userId="S::molly.brand@eqs.com::b8940fc0-24ea-4b2e-98aa-d86e6a17f272" providerId="AD" clId="Web-{44CEF13A-9563-3752-A7BD-5D848E4165E5}" dt="2025-05-23T20:10:29.594" v="2" actId="20577"/>
        <pc:sldMkLst>
          <pc:docMk/>
          <pc:sldMk cId="2656228123" sldId="2147482380"/>
        </pc:sldMkLst>
        <pc:spChg chg="mod">
          <ac:chgData name="Molly Brand" userId="S::molly.brand@eqs.com::b8940fc0-24ea-4b2e-98aa-d86e6a17f272" providerId="AD" clId="Web-{44CEF13A-9563-3752-A7BD-5D848E4165E5}" dt="2025-05-23T20:10:29.594" v="2" actId="20577"/>
          <ac:spMkLst>
            <pc:docMk/>
            <pc:sldMk cId="2656228123" sldId="2147482380"/>
            <ac:spMk id="2" creationId="{CCE59B23-3495-8262-DD4C-1E9BA6DBA7E3}"/>
          </ac:spMkLst>
        </pc:spChg>
      </pc:sldChg>
    </pc:docChg>
  </pc:docChgLst>
  <pc:docChgLst>
    <pc:chgData name="Rachael Chagnon" userId="S::rachael.chagnon@eqs.com::871bcc3d-b11c-46b6-b535-e388c92a0813" providerId="AD" clId="Web-{9091DD04-7316-5D5A-743C-B52C6EFCE252}"/>
    <pc:docChg chg="addSld delSld modSld">
      <pc:chgData name="Rachael Chagnon" userId="S::rachael.chagnon@eqs.com::871bcc3d-b11c-46b6-b535-e388c92a0813" providerId="AD" clId="Web-{9091DD04-7316-5D5A-743C-B52C6EFCE252}" dt="2025-06-04T02:42:20.148" v="552" actId="20577"/>
      <pc:docMkLst>
        <pc:docMk/>
      </pc:docMkLst>
      <pc:sldChg chg="modSp del">
        <pc:chgData name="Rachael Chagnon" userId="S::rachael.chagnon@eqs.com::871bcc3d-b11c-46b6-b535-e388c92a0813" providerId="AD" clId="Web-{9091DD04-7316-5D5A-743C-B52C6EFCE252}" dt="2025-06-04T02:41:56.052" v="546"/>
        <pc:sldMkLst>
          <pc:docMk/>
          <pc:sldMk cId="925996767" sldId="257"/>
        </pc:sldMkLst>
        <pc:picChg chg="mod">
          <ac:chgData name="Rachael Chagnon" userId="S::rachael.chagnon@eqs.com::871bcc3d-b11c-46b6-b535-e388c92a0813" providerId="AD" clId="Web-{9091DD04-7316-5D5A-743C-B52C6EFCE252}" dt="2025-06-04T02:39:44.309" v="463"/>
          <ac:picMkLst>
            <pc:docMk/>
            <pc:sldMk cId="925996767" sldId="257"/>
            <ac:picMk id="15" creationId="{ED7FE652-3C90-98E3-616B-97990244ED2C}"/>
          </ac:picMkLst>
        </pc:picChg>
      </pc:sldChg>
      <pc:sldChg chg="addSp delSp modSp add">
        <pc:chgData name="Rachael Chagnon" userId="S::rachael.chagnon@eqs.com::871bcc3d-b11c-46b6-b535-e388c92a0813" providerId="AD" clId="Web-{9091DD04-7316-5D5A-743C-B52C6EFCE252}" dt="2025-06-04T02:18:03.927" v="352" actId="20577"/>
        <pc:sldMkLst>
          <pc:docMk/>
          <pc:sldMk cId="3763710424" sldId="266"/>
        </pc:sldMkLst>
        <pc:spChg chg="mod">
          <ac:chgData name="Rachael Chagnon" userId="S::rachael.chagnon@eqs.com::871bcc3d-b11c-46b6-b535-e388c92a0813" providerId="AD" clId="Web-{9091DD04-7316-5D5A-743C-B52C6EFCE252}" dt="2025-06-04T02:01:09.189" v="275" actId="20577"/>
          <ac:spMkLst>
            <pc:docMk/>
            <pc:sldMk cId="3763710424" sldId="266"/>
            <ac:spMk id="2" creationId="{00000000-0000-0000-0000-000000000000}"/>
          </ac:spMkLst>
        </pc:spChg>
        <pc:spChg chg="mod">
          <ac:chgData name="Rachael Chagnon" userId="S::rachael.chagnon@eqs.com::871bcc3d-b11c-46b6-b535-e388c92a0813" providerId="AD" clId="Web-{9091DD04-7316-5D5A-743C-B52C6EFCE252}" dt="2025-06-04T02:18:03.927" v="352" actId="20577"/>
          <ac:spMkLst>
            <pc:docMk/>
            <pc:sldMk cId="3763710424" sldId="266"/>
            <ac:spMk id="3" creationId="{00000000-0000-0000-0000-000000000000}"/>
          </ac:spMkLst>
        </pc:spChg>
        <pc:spChg chg="add mod">
          <ac:chgData name="Rachael Chagnon" userId="S::rachael.chagnon@eqs.com::871bcc3d-b11c-46b6-b535-e388c92a0813" providerId="AD" clId="Web-{9091DD04-7316-5D5A-743C-B52C6EFCE252}" dt="2025-06-04T02:17:40.348" v="343" actId="20577"/>
          <ac:spMkLst>
            <pc:docMk/>
            <pc:sldMk cId="3763710424" sldId="266"/>
            <ac:spMk id="5" creationId="{3EEFABF3-2C3F-D600-01CB-AFD5B9C6408F}"/>
          </ac:spMkLst>
        </pc:spChg>
        <pc:spChg chg="del">
          <ac:chgData name="Rachael Chagnon" userId="S::rachael.chagnon@eqs.com::871bcc3d-b11c-46b6-b535-e388c92a0813" providerId="AD" clId="Web-{9091DD04-7316-5D5A-743C-B52C6EFCE252}" dt="2025-06-04T02:02:23.350" v="300"/>
          <ac:spMkLst>
            <pc:docMk/>
            <pc:sldMk cId="3763710424" sldId="266"/>
            <ac:spMk id="6" creationId="{E7F62376-FA8C-A0BA-9D66-6A193F0B5289}"/>
          </ac:spMkLst>
        </pc:spChg>
      </pc:sldChg>
      <pc:sldChg chg="addSp delSp modSp add">
        <pc:chgData name="Rachael Chagnon" userId="S::rachael.chagnon@eqs.com::871bcc3d-b11c-46b6-b535-e388c92a0813" providerId="AD" clId="Web-{9091DD04-7316-5D5A-743C-B52C6EFCE252}" dt="2025-06-04T02:22:03.881" v="377" actId="20577"/>
        <pc:sldMkLst>
          <pc:docMk/>
          <pc:sldMk cId="1317054284" sldId="313"/>
        </pc:sldMkLst>
        <pc:spChg chg="mod">
          <ac:chgData name="Rachael Chagnon" userId="S::rachael.chagnon@eqs.com::871bcc3d-b11c-46b6-b535-e388c92a0813" providerId="AD" clId="Web-{9091DD04-7316-5D5A-743C-B52C6EFCE252}" dt="2025-06-04T01:36:59.094" v="173" actId="20577"/>
          <ac:spMkLst>
            <pc:docMk/>
            <pc:sldMk cId="1317054284" sldId="313"/>
            <ac:spMk id="2" creationId="{00000000-0000-0000-0000-000000000000}"/>
          </ac:spMkLst>
        </pc:spChg>
        <pc:spChg chg="del">
          <ac:chgData name="Rachael Chagnon" userId="S::rachael.chagnon@eqs.com::871bcc3d-b11c-46b6-b535-e388c92a0813" providerId="AD" clId="Web-{9091DD04-7316-5D5A-743C-B52C6EFCE252}" dt="2025-06-04T01:35:13.478" v="57"/>
          <ac:spMkLst>
            <pc:docMk/>
            <pc:sldMk cId="1317054284" sldId="313"/>
            <ac:spMk id="3" creationId="{124477D7-664B-1880-5964-47DFED1B807F}"/>
          </ac:spMkLst>
        </pc:spChg>
        <pc:spChg chg="mod">
          <ac:chgData name="Rachael Chagnon" userId="S::rachael.chagnon@eqs.com::871bcc3d-b11c-46b6-b535-e388c92a0813" providerId="AD" clId="Web-{9091DD04-7316-5D5A-743C-B52C6EFCE252}" dt="2025-06-04T02:22:03.881" v="377" actId="20577"/>
          <ac:spMkLst>
            <pc:docMk/>
            <pc:sldMk cId="1317054284" sldId="313"/>
            <ac:spMk id="6" creationId="{00000000-0000-0000-0000-000000000000}"/>
          </ac:spMkLst>
        </pc:spChg>
        <pc:spChg chg="add del mod">
          <ac:chgData name="Rachael Chagnon" userId="S::rachael.chagnon@eqs.com::871bcc3d-b11c-46b6-b535-e388c92a0813" providerId="AD" clId="Web-{9091DD04-7316-5D5A-743C-B52C6EFCE252}" dt="2025-06-04T01:37:00.954" v="174"/>
          <ac:spMkLst>
            <pc:docMk/>
            <pc:sldMk cId="1317054284" sldId="313"/>
            <ac:spMk id="9" creationId="{2DD5433D-EFA3-2A0A-9170-99B1F4695156}"/>
          </ac:spMkLst>
        </pc:spChg>
        <pc:spChg chg="del">
          <ac:chgData name="Rachael Chagnon" userId="S::rachael.chagnon@eqs.com::871bcc3d-b11c-46b6-b535-e388c92a0813" providerId="AD" clId="Web-{9091DD04-7316-5D5A-743C-B52C6EFCE252}" dt="2025-06-04T01:36:52.797" v="172"/>
          <ac:spMkLst>
            <pc:docMk/>
            <pc:sldMk cId="1317054284" sldId="313"/>
            <ac:spMk id="15" creationId="{4CA40139-1365-2D72-54E6-2EA0AD8A624C}"/>
          </ac:spMkLst>
        </pc:spChg>
        <pc:picChg chg="add mod">
          <ac:chgData name="Rachael Chagnon" userId="S::rachael.chagnon@eqs.com::871bcc3d-b11c-46b6-b535-e388c92a0813" providerId="AD" clId="Web-{9091DD04-7316-5D5A-743C-B52C6EFCE252}" dt="2025-06-04T01:36:33.124" v="169" actId="1076"/>
          <ac:picMkLst>
            <pc:docMk/>
            <pc:sldMk cId="1317054284" sldId="313"/>
            <ac:picMk id="7" creationId="{652859DB-D0BB-CED2-7C38-75320ABE0FC1}"/>
          </ac:picMkLst>
        </pc:picChg>
      </pc:sldChg>
      <pc:sldChg chg="delSp modSp add">
        <pc:chgData name="Rachael Chagnon" userId="S::rachael.chagnon@eqs.com::871bcc3d-b11c-46b6-b535-e388c92a0813" providerId="AD" clId="Web-{9091DD04-7316-5D5A-743C-B52C6EFCE252}" dt="2025-06-04T02:36:18.577" v="451" actId="20577"/>
        <pc:sldMkLst>
          <pc:docMk/>
          <pc:sldMk cId="3954732236" sldId="362"/>
        </pc:sldMkLst>
        <pc:spChg chg="del">
          <ac:chgData name="Rachael Chagnon" userId="S::rachael.chagnon@eqs.com::871bcc3d-b11c-46b6-b535-e388c92a0813" providerId="AD" clId="Web-{9091DD04-7316-5D5A-743C-B52C6EFCE252}" dt="2025-06-04T02:34:47.931" v="429"/>
          <ac:spMkLst>
            <pc:docMk/>
            <pc:sldMk cId="3954732236" sldId="362"/>
            <ac:spMk id="2" creationId="{1F1C1DB8-331F-C510-3A20-A129676FB9DD}"/>
          </ac:spMkLst>
        </pc:spChg>
        <pc:spChg chg="mod">
          <ac:chgData name="Rachael Chagnon" userId="S::rachael.chagnon@eqs.com::871bcc3d-b11c-46b6-b535-e388c92a0813" providerId="AD" clId="Web-{9091DD04-7316-5D5A-743C-B52C6EFCE252}" dt="2025-06-04T02:36:18.577" v="451" actId="20577"/>
          <ac:spMkLst>
            <pc:docMk/>
            <pc:sldMk cId="3954732236" sldId="362"/>
            <ac:spMk id="3" creationId="{00000000-0000-0000-0000-000000000000}"/>
          </ac:spMkLst>
        </pc:spChg>
        <pc:spChg chg="mod">
          <ac:chgData name="Rachael Chagnon" userId="S::rachael.chagnon@eqs.com::871bcc3d-b11c-46b6-b535-e388c92a0813" providerId="AD" clId="Web-{9091DD04-7316-5D5A-743C-B52C6EFCE252}" dt="2025-06-04T02:34:49.962" v="430" actId="20577"/>
          <ac:spMkLst>
            <pc:docMk/>
            <pc:sldMk cId="3954732236" sldId="362"/>
            <ac:spMk id="16" creationId="{DC9E300B-8212-1D3E-D812-4DA0049EAF51}"/>
          </ac:spMkLst>
        </pc:spChg>
      </pc:sldChg>
      <pc:sldChg chg="delSp modSp add">
        <pc:chgData name="Rachael Chagnon" userId="S::rachael.chagnon@eqs.com::871bcc3d-b11c-46b6-b535-e388c92a0813" providerId="AD" clId="Web-{9091DD04-7316-5D5A-743C-B52C6EFCE252}" dt="2025-06-04T02:33:47.286" v="420" actId="20577"/>
        <pc:sldMkLst>
          <pc:docMk/>
          <pc:sldMk cId="356351022" sldId="363"/>
        </pc:sldMkLst>
        <pc:spChg chg="del">
          <ac:chgData name="Rachael Chagnon" userId="S::rachael.chagnon@eqs.com::871bcc3d-b11c-46b6-b535-e388c92a0813" providerId="AD" clId="Web-{9091DD04-7316-5D5A-743C-B52C6EFCE252}" dt="2025-06-04T02:25:34.754" v="418"/>
          <ac:spMkLst>
            <pc:docMk/>
            <pc:sldMk cId="356351022" sldId="363"/>
            <ac:spMk id="2" creationId="{1F1C1DB8-331F-C510-3A20-A129676FB9DD}"/>
          </ac:spMkLst>
        </pc:spChg>
        <pc:spChg chg="mod">
          <ac:chgData name="Rachael Chagnon" userId="S::rachael.chagnon@eqs.com::871bcc3d-b11c-46b6-b535-e388c92a0813" providerId="AD" clId="Web-{9091DD04-7316-5D5A-743C-B52C6EFCE252}" dt="2025-06-04T02:33:47.286" v="420" actId="20577"/>
          <ac:spMkLst>
            <pc:docMk/>
            <pc:sldMk cId="356351022" sldId="363"/>
            <ac:spMk id="3" creationId="{00000000-0000-0000-0000-000000000000}"/>
          </ac:spMkLst>
        </pc:spChg>
        <pc:spChg chg="mod">
          <ac:chgData name="Rachael Chagnon" userId="S::rachael.chagnon@eqs.com::871bcc3d-b11c-46b6-b535-e388c92a0813" providerId="AD" clId="Web-{9091DD04-7316-5D5A-743C-B52C6EFCE252}" dt="2025-06-04T02:25:37.332" v="419" actId="20577"/>
          <ac:spMkLst>
            <pc:docMk/>
            <pc:sldMk cId="356351022" sldId="363"/>
            <ac:spMk id="19" creationId="{5D975691-755F-A5B1-9C67-54C2B5EF581F}"/>
          </ac:spMkLst>
        </pc:spChg>
      </pc:sldChg>
      <pc:sldChg chg="delSp modSp add">
        <pc:chgData name="Rachael Chagnon" userId="S::rachael.chagnon@eqs.com::871bcc3d-b11c-46b6-b535-e388c92a0813" providerId="AD" clId="Web-{9091DD04-7316-5D5A-743C-B52C6EFCE252}" dt="2025-06-04T02:24:42.282" v="404" actId="20577"/>
        <pc:sldMkLst>
          <pc:docMk/>
          <pc:sldMk cId="295639421" sldId="364"/>
        </pc:sldMkLst>
        <pc:spChg chg="del">
          <ac:chgData name="Rachael Chagnon" userId="S::rachael.chagnon@eqs.com::871bcc3d-b11c-46b6-b535-e388c92a0813" providerId="AD" clId="Web-{9091DD04-7316-5D5A-743C-B52C6EFCE252}" dt="2025-06-04T02:24:10.514" v="399"/>
          <ac:spMkLst>
            <pc:docMk/>
            <pc:sldMk cId="295639421" sldId="364"/>
            <ac:spMk id="2" creationId="{1F1C1DB8-331F-C510-3A20-A129676FB9DD}"/>
          </ac:spMkLst>
        </pc:spChg>
        <pc:spChg chg="mod">
          <ac:chgData name="Rachael Chagnon" userId="S::rachael.chagnon@eqs.com::871bcc3d-b11c-46b6-b535-e388c92a0813" providerId="AD" clId="Web-{9091DD04-7316-5D5A-743C-B52C6EFCE252}" dt="2025-06-04T02:24:42.282" v="404" actId="20577"/>
          <ac:spMkLst>
            <pc:docMk/>
            <pc:sldMk cId="295639421" sldId="364"/>
            <ac:spMk id="3" creationId="{00000000-0000-0000-0000-000000000000}"/>
          </ac:spMkLst>
        </pc:spChg>
        <pc:spChg chg="mod">
          <ac:chgData name="Rachael Chagnon" userId="S::rachael.chagnon@eqs.com::871bcc3d-b11c-46b6-b535-e388c92a0813" providerId="AD" clId="Web-{9091DD04-7316-5D5A-743C-B52C6EFCE252}" dt="2025-06-04T02:24:07.217" v="398" actId="20577"/>
          <ac:spMkLst>
            <pc:docMk/>
            <pc:sldMk cId="295639421" sldId="364"/>
            <ac:spMk id="16" creationId="{C8495B02-88B1-AD4A-26A3-9AD2E829FD96}"/>
          </ac:spMkLst>
        </pc:spChg>
      </pc:sldChg>
      <pc:sldChg chg="delSp modSp add">
        <pc:chgData name="Rachael Chagnon" userId="S::rachael.chagnon@eqs.com::871bcc3d-b11c-46b6-b535-e388c92a0813" providerId="AD" clId="Web-{9091DD04-7316-5D5A-743C-B52C6EFCE252}" dt="2025-06-04T01:57:12.970" v="240" actId="20577"/>
        <pc:sldMkLst>
          <pc:docMk/>
          <pc:sldMk cId="4116852243" sldId="365"/>
        </pc:sldMkLst>
        <pc:spChg chg="del">
          <ac:chgData name="Rachael Chagnon" userId="S::rachael.chagnon@eqs.com::871bcc3d-b11c-46b6-b535-e388c92a0813" providerId="AD" clId="Web-{9091DD04-7316-5D5A-743C-B52C6EFCE252}" dt="2025-06-04T01:43:21.666" v="238"/>
          <ac:spMkLst>
            <pc:docMk/>
            <pc:sldMk cId="4116852243" sldId="365"/>
            <ac:spMk id="2" creationId="{1F1C1DB8-331F-C510-3A20-A129676FB9DD}"/>
          </ac:spMkLst>
        </pc:spChg>
        <pc:spChg chg="mod">
          <ac:chgData name="Rachael Chagnon" userId="S::rachael.chagnon@eqs.com::871bcc3d-b11c-46b6-b535-e388c92a0813" providerId="AD" clId="Web-{9091DD04-7316-5D5A-743C-B52C6EFCE252}" dt="2025-06-04T01:57:12.970" v="240" actId="20577"/>
          <ac:spMkLst>
            <pc:docMk/>
            <pc:sldMk cId="4116852243" sldId="365"/>
            <ac:spMk id="3" creationId="{00000000-0000-0000-0000-000000000000}"/>
          </ac:spMkLst>
        </pc:spChg>
        <pc:spChg chg="mod">
          <ac:chgData name="Rachael Chagnon" userId="S::rachael.chagnon@eqs.com::871bcc3d-b11c-46b6-b535-e388c92a0813" providerId="AD" clId="Web-{9091DD04-7316-5D5A-743C-B52C6EFCE252}" dt="2025-06-04T01:43:24.307" v="239" actId="20577"/>
          <ac:spMkLst>
            <pc:docMk/>
            <pc:sldMk cId="4116852243" sldId="365"/>
            <ac:spMk id="16" creationId="{0F93E38A-BA03-472A-46BA-4B5A7573BBA9}"/>
          </ac:spMkLst>
        </pc:spChg>
      </pc:sldChg>
      <pc:sldChg chg="delSp modSp add">
        <pc:chgData name="Rachael Chagnon" userId="S::rachael.chagnon@eqs.com::871bcc3d-b11c-46b6-b535-e388c92a0813" providerId="AD" clId="Web-{9091DD04-7316-5D5A-743C-B52C6EFCE252}" dt="2025-06-04T01:34:14.286" v="46"/>
        <pc:sldMkLst>
          <pc:docMk/>
          <pc:sldMk cId="368439124" sldId="366"/>
        </pc:sldMkLst>
        <pc:spChg chg="del">
          <ac:chgData name="Rachael Chagnon" userId="S::rachael.chagnon@eqs.com::871bcc3d-b11c-46b6-b535-e388c92a0813" providerId="AD" clId="Web-{9091DD04-7316-5D5A-743C-B52C6EFCE252}" dt="2025-06-04T01:34:14.286" v="46"/>
          <ac:spMkLst>
            <pc:docMk/>
            <pc:sldMk cId="368439124" sldId="366"/>
            <ac:spMk id="2" creationId="{1F1C1DB8-331F-C510-3A20-A129676FB9DD}"/>
          </ac:spMkLst>
        </pc:spChg>
        <pc:spChg chg="mod">
          <ac:chgData name="Rachael Chagnon" userId="S::rachael.chagnon@eqs.com::871bcc3d-b11c-46b6-b535-e388c92a0813" providerId="AD" clId="Web-{9091DD04-7316-5D5A-743C-B52C6EFCE252}" dt="2025-06-04T01:34:08.786" v="45" actId="20577"/>
          <ac:spMkLst>
            <pc:docMk/>
            <pc:sldMk cId="368439124" sldId="366"/>
            <ac:spMk id="3" creationId="{00000000-0000-0000-0000-000000000000}"/>
          </ac:spMkLst>
        </pc:spChg>
      </pc:sldChg>
      <pc:sldChg chg="addSp delSp modSp add">
        <pc:chgData name="Rachael Chagnon" userId="S::rachael.chagnon@eqs.com::871bcc3d-b11c-46b6-b535-e388c92a0813" providerId="AD" clId="Web-{9091DD04-7316-5D5A-743C-B52C6EFCE252}" dt="2025-06-04T02:42:20.148" v="552" actId="20577"/>
        <pc:sldMkLst>
          <pc:docMk/>
          <pc:sldMk cId="1026528292" sldId="415"/>
        </pc:sldMkLst>
        <pc:spChg chg="mod">
          <ac:chgData name="Rachael Chagnon" userId="S::rachael.chagnon@eqs.com::871bcc3d-b11c-46b6-b535-e388c92a0813" providerId="AD" clId="Web-{9091DD04-7316-5D5A-743C-B52C6EFCE252}" dt="2025-06-04T02:41:38.770" v="523" actId="20577"/>
          <ac:spMkLst>
            <pc:docMk/>
            <pc:sldMk cId="1026528292" sldId="415"/>
            <ac:spMk id="3" creationId="{4380B636-EC4E-BA6D-9AEC-E5CD5D2472A2}"/>
          </ac:spMkLst>
        </pc:spChg>
        <pc:spChg chg="add del mod">
          <ac:chgData name="Rachael Chagnon" userId="S::rachael.chagnon@eqs.com::871bcc3d-b11c-46b6-b535-e388c92a0813" providerId="AD" clId="Web-{9091DD04-7316-5D5A-743C-B52C6EFCE252}" dt="2025-06-04T02:42:20.148" v="552" actId="20577"/>
          <ac:spMkLst>
            <pc:docMk/>
            <pc:sldMk cId="1026528292" sldId="415"/>
            <ac:spMk id="4" creationId="{AC0EB57E-ECA0-F051-1B19-D09C1FC03912}"/>
          </ac:spMkLst>
        </pc:spChg>
      </pc:sldChg>
      <pc:sldChg chg="addSp delSp modSp">
        <pc:chgData name="Rachael Chagnon" userId="S::rachael.chagnon@eqs.com::871bcc3d-b11c-46b6-b535-e388c92a0813" providerId="AD" clId="Web-{9091DD04-7316-5D5A-743C-B52C6EFCE252}" dt="2025-06-04T01:39:48.683" v="220" actId="1076"/>
        <pc:sldMkLst>
          <pc:docMk/>
          <pc:sldMk cId="3589535537" sldId="2147482373"/>
        </pc:sldMkLst>
        <pc:spChg chg="del mod">
          <ac:chgData name="Rachael Chagnon" userId="S::rachael.chagnon@eqs.com::871bcc3d-b11c-46b6-b535-e388c92a0813" providerId="AD" clId="Web-{9091DD04-7316-5D5A-743C-B52C6EFCE252}" dt="2025-06-04T01:39:31.588" v="217"/>
          <ac:spMkLst>
            <pc:docMk/>
            <pc:sldMk cId="3589535537" sldId="2147482373"/>
            <ac:spMk id="2" creationId="{6F739FE3-E07D-5B64-BFA9-EAC2FDC8CA3E}"/>
          </ac:spMkLst>
        </pc:spChg>
        <pc:spChg chg="del">
          <ac:chgData name="Rachael Chagnon" userId="S::rachael.chagnon@eqs.com::871bcc3d-b11c-46b6-b535-e388c92a0813" providerId="AD" clId="Web-{9091DD04-7316-5D5A-743C-B52C6EFCE252}" dt="2025-06-04T01:39:09.853" v="210"/>
          <ac:spMkLst>
            <pc:docMk/>
            <pc:sldMk cId="3589535537" sldId="2147482373"/>
            <ac:spMk id="3" creationId="{9773E6EF-3C19-D5C3-1228-E8F57DB1E34B}"/>
          </ac:spMkLst>
        </pc:spChg>
        <pc:spChg chg="add del">
          <ac:chgData name="Rachael Chagnon" userId="S::rachael.chagnon@eqs.com::871bcc3d-b11c-46b6-b535-e388c92a0813" providerId="AD" clId="Web-{9091DD04-7316-5D5A-743C-B52C6EFCE252}" dt="2025-06-04T01:39:17.478" v="212"/>
          <ac:spMkLst>
            <pc:docMk/>
            <pc:sldMk cId="3589535537" sldId="2147482373"/>
            <ac:spMk id="5" creationId="{797333FF-155B-8582-E8FC-2253FDCCDE67}"/>
          </ac:spMkLst>
        </pc:spChg>
        <pc:spChg chg="add mod">
          <ac:chgData name="Rachael Chagnon" userId="S::rachael.chagnon@eqs.com::871bcc3d-b11c-46b6-b535-e388c92a0813" providerId="AD" clId="Web-{9091DD04-7316-5D5A-743C-B52C6EFCE252}" dt="2025-06-04T01:39:28.745" v="216" actId="20577"/>
          <ac:spMkLst>
            <pc:docMk/>
            <pc:sldMk cId="3589535537" sldId="2147482373"/>
            <ac:spMk id="9" creationId="{3E0CA3AF-3212-1C2A-3381-4576CB897B56}"/>
          </ac:spMkLst>
        </pc:spChg>
        <pc:spChg chg="add del mod">
          <ac:chgData name="Rachael Chagnon" userId="S::rachael.chagnon@eqs.com::871bcc3d-b11c-46b6-b535-e388c92a0813" providerId="AD" clId="Web-{9091DD04-7316-5D5A-743C-B52C6EFCE252}" dt="2025-06-04T01:39:33.526" v="218"/>
          <ac:spMkLst>
            <pc:docMk/>
            <pc:sldMk cId="3589535537" sldId="2147482373"/>
            <ac:spMk id="11" creationId="{E6A78263-45DF-EB26-83CF-9AF9022A66AF}"/>
          </ac:spMkLst>
        </pc:spChg>
        <pc:spChg chg="del">
          <ac:chgData name="Rachael Chagnon" userId="S::rachael.chagnon@eqs.com::871bcc3d-b11c-46b6-b535-e388c92a0813" providerId="AD" clId="Web-{9091DD04-7316-5D5A-743C-B52C6EFCE252}" dt="2025-06-04T01:31:14.025" v="13"/>
          <ac:spMkLst>
            <pc:docMk/>
            <pc:sldMk cId="3589535537" sldId="2147482373"/>
            <ac:spMk id="28" creationId="{16612C48-42F0-6A57-6D92-D24DFFA5C3CB}"/>
          </ac:spMkLst>
        </pc:spChg>
        <pc:picChg chg="mod">
          <ac:chgData name="Rachael Chagnon" userId="S::rachael.chagnon@eqs.com::871bcc3d-b11c-46b6-b535-e388c92a0813" providerId="AD" clId="Web-{9091DD04-7316-5D5A-743C-B52C6EFCE252}" dt="2025-06-04T01:39:48.683" v="220" actId="1076"/>
          <ac:picMkLst>
            <pc:docMk/>
            <pc:sldMk cId="3589535537" sldId="2147482373"/>
            <ac:picMk id="7" creationId="{092CC6CA-4B3D-B8FC-68AB-8213A46DC124}"/>
          </ac:picMkLst>
        </pc:picChg>
      </pc:sldChg>
      <pc:sldChg chg="addSp delSp modSp">
        <pc:chgData name="Rachael Chagnon" userId="S::rachael.chagnon@eqs.com::871bcc3d-b11c-46b6-b535-e388c92a0813" providerId="AD" clId="Web-{9091DD04-7316-5D5A-743C-B52C6EFCE252}" dt="2025-06-04T02:33:57.271" v="422" actId="20577"/>
        <pc:sldMkLst>
          <pc:docMk/>
          <pc:sldMk cId="811934322" sldId="2147482374"/>
        </pc:sldMkLst>
        <pc:spChg chg="del mod">
          <ac:chgData name="Rachael Chagnon" userId="S::rachael.chagnon@eqs.com::871bcc3d-b11c-46b6-b535-e388c92a0813" providerId="AD" clId="Web-{9091DD04-7316-5D5A-743C-B52C6EFCE252}" dt="2025-06-04T02:23:21.917" v="381"/>
          <ac:spMkLst>
            <pc:docMk/>
            <pc:sldMk cId="811934322" sldId="2147482374"/>
            <ac:spMk id="2" creationId="{454D194D-E40B-944D-0871-5A0F261A6F75}"/>
          </ac:spMkLst>
        </pc:spChg>
        <pc:spChg chg="del">
          <ac:chgData name="Rachael Chagnon" userId="S::rachael.chagnon@eqs.com::871bcc3d-b11c-46b6-b535-e388c92a0813" providerId="AD" clId="Web-{9091DD04-7316-5D5A-743C-B52C6EFCE252}" dt="2025-06-04T02:18:59.212" v="359"/>
          <ac:spMkLst>
            <pc:docMk/>
            <pc:sldMk cId="811934322" sldId="2147482374"/>
            <ac:spMk id="3" creationId="{8435AEEF-462E-D31A-B4E6-6A6C4B14477D}"/>
          </ac:spMkLst>
        </pc:spChg>
        <pc:spChg chg="add mod">
          <ac:chgData name="Rachael Chagnon" userId="S::rachael.chagnon@eqs.com::871bcc3d-b11c-46b6-b535-e388c92a0813" providerId="AD" clId="Web-{9091DD04-7316-5D5A-743C-B52C6EFCE252}" dt="2025-06-04T02:33:57.271" v="422" actId="20577"/>
          <ac:spMkLst>
            <pc:docMk/>
            <pc:sldMk cId="811934322" sldId="2147482374"/>
            <ac:spMk id="8" creationId="{BC404002-FA5A-F8E1-C6B7-2DCF2CFC5889}"/>
          </ac:spMkLst>
        </pc:spChg>
        <pc:spChg chg="add del mod">
          <ac:chgData name="Rachael Chagnon" userId="S::rachael.chagnon@eqs.com::871bcc3d-b11c-46b6-b535-e388c92a0813" providerId="AD" clId="Web-{9091DD04-7316-5D5A-743C-B52C6EFCE252}" dt="2025-06-04T02:23:27.152" v="382"/>
          <ac:spMkLst>
            <pc:docMk/>
            <pc:sldMk cId="811934322" sldId="2147482374"/>
            <ac:spMk id="10" creationId="{475EB905-04C7-1063-0FF9-F886F5605B37}"/>
          </ac:spMkLst>
        </pc:spChg>
        <pc:spChg chg="del">
          <ac:chgData name="Rachael Chagnon" userId="S::rachael.chagnon@eqs.com::871bcc3d-b11c-46b6-b535-e388c92a0813" providerId="AD" clId="Web-{9091DD04-7316-5D5A-743C-B52C6EFCE252}" dt="2025-06-04T01:31:31.838" v="19"/>
          <ac:spMkLst>
            <pc:docMk/>
            <pc:sldMk cId="811934322" sldId="2147482374"/>
            <ac:spMk id="12" creationId="{3822D0FB-2A70-49F0-2C0D-B89067935313}"/>
          </ac:spMkLst>
        </pc:spChg>
      </pc:sldChg>
      <pc:sldChg chg="delSp modSp">
        <pc:chgData name="Rachael Chagnon" userId="S::rachael.chagnon@eqs.com::871bcc3d-b11c-46b6-b535-e388c92a0813" providerId="AD" clId="Web-{9091DD04-7316-5D5A-743C-B52C6EFCE252}" dt="2025-06-04T01:57:49.176" v="244" actId="1076"/>
        <pc:sldMkLst>
          <pc:docMk/>
          <pc:sldMk cId="2897327243" sldId="2147482375"/>
        </pc:sldMkLst>
        <pc:spChg chg="del">
          <ac:chgData name="Rachael Chagnon" userId="S::rachael.chagnon@eqs.com::871bcc3d-b11c-46b6-b535-e388c92a0813" providerId="AD" clId="Web-{9091DD04-7316-5D5A-743C-B52C6EFCE252}" dt="2025-06-04T01:57:23.221" v="241"/>
          <ac:spMkLst>
            <pc:docMk/>
            <pc:sldMk cId="2897327243" sldId="2147482375"/>
            <ac:spMk id="3" creationId="{F053DCBB-66E6-FA97-341F-CC8F58339708}"/>
          </ac:spMkLst>
        </pc:spChg>
        <pc:spChg chg="del">
          <ac:chgData name="Rachael Chagnon" userId="S::rachael.chagnon@eqs.com::871bcc3d-b11c-46b6-b535-e388c92a0813" providerId="AD" clId="Web-{9091DD04-7316-5D5A-743C-B52C6EFCE252}" dt="2025-06-04T01:31:16.869" v="14"/>
          <ac:spMkLst>
            <pc:docMk/>
            <pc:sldMk cId="2897327243" sldId="2147482375"/>
            <ac:spMk id="5" creationId="{E9FEF73E-A20E-9A8A-E36C-8285AE3D56D2}"/>
          </ac:spMkLst>
        </pc:spChg>
        <pc:graphicFrameChg chg="mod modGraphic">
          <ac:chgData name="Rachael Chagnon" userId="S::rachael.chagnon@eqs.com::871bcc3d-b11c-46b6-b535-e388c92a0813" providerId="AD" clId="Web-{9091DD04-7316-5D5A-743C-B52C6EFCE252}" dt="2025-06-04T01:57:49.176" v="244" actId="1076"/>
          <ac:graphicFrameMkLst>
            <pc:docMk/>
            <pc:sldMk cId="2897327243" sldId="2147482375"/>
            <ac:graphicFrameMk id="25" creationId="{3527D289-7030-9F0E-D279-DCEA4B49BDF5}"/>
          </ac:graphicFrameMkLst>
        </pc:graphicFrameChg>
      </pc:sldChg>
      <pc:sldChg chg="delSp del">
        <pc:chgData name="Rachael Chagnon" userId="S::rachael.chagnon@eqs.com::871bcc3d-b11c-46b6-b535-e388c92a0813" providerId="AD" clId="Web-{9091DD04-7316-5D5A-743C-B52C6EFCE252}" dt="2025-06-04T02:18:39.992" v="353"/>
        <pc:sldMkLst>
          <pc:docMk/>
          <pc:sldMk cId="2997418147" sldId="2147482376"/>
        </pc:sldMkLst>
        <pc:spChg chg="del">
          <ac:chgData name="Rachael Chagnon" userId="S::rachael.chagnon@eqs.com::871bcc3d-b11c-46b6-b535-e388c92a0813" providerId="AD" clId="Web-{9091DD04-7316-5D5A-743C-B52C6EFCE252}" dt="2025-06-04T01:31:26.104" v="17"/>
          <ac:spMkLst>
            <pc:docMk/>
            <pc:sldMk cId="2997418147" sldId="2147482376"/>
            <ac:spMk id="5" creationId="{61AF13F1-C23C-8DED-2C5B-9919A7D623FB}"/>
          </ac:spMkLst>
        </pc:spChg>
      </pc:sldChg>
      <pc:sldChg chg="addSp delSp modSp">
        <pc:chgData name="Rachael Chagnon" userId="S::rachael.chagnon@eqs.com::871bcc3d-b11c-46b6-b535-e388c92a0813" providerId="AD" clId="Web-{9091DD04-7316-5D5A-743C-B52C6EFCE252}" dt="2025-06-04T01:59:59.872" v="272" actId="1076"/>
        <pc:sldMkLst>
          <pc:docMk/>
          <pc:sldMk cId="199512536" sldId="2147482377"/>
        </pc:sldMkLst>
        <pc:spChg chg="del mod">
          <ac:chgData name="Rachael Chagnon" userId="S::rachael.chagnon@eqs.com::871bcc3d-b11c-46b6-b535-e388c92a0813" providerId="AD" clId="Web-{9091DD04-7316-5D5A-743C-B52C6EFCE252}" dt="2025-06-04T01:59:42.527" v="268"/>
          <ac:spMkLst>
            <pc:docMk/>
            <pc:sldMk cId="199512536" sldId="2147482377"/>
            <ac:spMk id="2" creationId="{36950F08-B686-8ACF-295E-1AEBB7B44759}"/>
          </ac:spMkLst>
        </pc:spChg>
        <pc:spChg chg="del">
          <ac:chgData name="Rachael Chagnon" userId="S::rachael.chagnon@eqs.com::871bcc3d-b11c-46b6-b535-e388c92a0813" providerId="AD" clId="Web-{9091DD04-7316-5D5A-743C-B52C6EFCE252}" dt="2025-06-04T01:59:20.713" v="261"/>
          <ac:spMkLst>
            <pc:docMk/>
            <pc:sldMk cId="199512536" sldId="2147482377"/>
            <ac:spMk id="3" creationId="{EF378E04-53F1-6017-7A6F-782880911889}"/>
          </ac:spMkLst>
        </pc:spChg>
        <pc:spChg chg="add del">
          <ac:chgData name="Rachael Chagnon" userId="S::rachael.chagnon@eqs.com::871bcc3d-b11c-46b6-b535-e388c92a0813" providerId="AD" clId="Web-{9091DD04-7316-5D5A-743C-B52C6EFCE252}" dt="2025-06-04T01:59:15.650" v="259"/>
          <ac:spMkLst>
            <pc:docMk/>
            <pc:sldMk cId="199512536" sldId="2147482377"/>
            <ac:spMk id="7" creationId="{BBFB6244-E027-472B-DEB4-16BC5DE89F2B}"/>
          </ac:spMkLst>
        </pc:spChg>
        <pc:spChg chg="add mod">
          <ac:chgData name="Rachael Chagnon" userId="S::rachael.chagnon@eqs.com::871bcc3d-b11c-46b6-b535-e388c92a0813" providerId="AD" clId="Web-{9091DD04-7316-5D5A-743C-B52C6EFCE252}" dt="2025-06-04T01:59:40.215" v="267" actId="20577"/>
          <ac:spMkLst>
            <pc:docMk/>
            <pc:sldMk cId="199512536" sldId="2147482377"/>
            <ac:spMk id="10" creationId="{AD92B3B5-0EBA-AD64-08D0-8AC2AD7799C3}"/>
          </ac:spMkLst>
        </pc:spChg>
        <pc:spChg chg="add del mod">
          <ac:chgData name="Rachael Chagnon" userId="S::rachael.chagnon@eqs.com::871bcc3d-b11c-46b6-b535-e388c92a0813" providerId="AD" clId="Web-{9091DD04-7316-5D5A-743C-B52C6EFCE252}" dt="2025-06-04T01:59:45.527" v="269"/>
          <ac:spMkLst>
            <pc:docMk/>
            <pc:sldMk cId="199512536" sldId="2147482377"/>
            <ac:spMk id="12" creationId="{2E407170-F73E-A0A8-EE4A-89EC5A861635}"/>
          </ac:spMkLst>
        </pc:spChg>
        <pc:spChg chg="del">
          <ac:chgData name="Rachael Chagnon" userId="S::rachael.chagnon@eqs.com::871bcc3d-b11c-46b6-b535-e388c92a0813" providerId="AD" clId="Web-{9091DD04-7316-5D5A-743C-B52C6EFCE252}" dt="2025-06-04T01:31:21.900" v="16"/>
          <ac:spMkLst>
            <pc:docMk/>
            <pc:sldMk cId="199512536" sldId="2147482377"/>
            <ac:spMk id="29" creationId="{3EC7A4D5-87EE-A6E3-DE9A-1A1F0C7F7DEA}"/>
          </ac:spMkLst>
        </pc:spChg>
        <pc:picChg chg="mod">
          <ac:chgData name="Rachael Chagnon" userId="S::rachael.chagnon@eqs.com::871bcc3d-b11c-46b6-b535-e388c92a0813" providerId="AD" clId="Web-{9091DD04-7316-5D5A-743C-B52C6EFCE252}" dt="2025-06-04T01:59:59.872" v="272" actId="1076"/>
          <ac:picMkLst>
            <pc:docMk/>
            <pc:sldMk cId="199512536" sldId="2147482377"/>
            <ac:picMk id="8" creationId="{21F6F914-8019-DA18-5CD9-9BC89BB03452}"/>
          </ac:picMkLst>
        </pc:picChg>
      </pc:sldChg>
      <pc:sldChg chg="addSp delSp modSp">
        <pc:chgData name="Rachael Chagnon" userId="S::rachael.chagnon@eqs.com::871bcc3d-b11c-46b6-b535-e388c92a0813" providerId="AD" clId="Web-{9091DD04-7316-5D5A-743C-B52C6EFCE252}" dt="2025-06-04T01:58:46.648" v="255" actId="1076"/>
        <pc:sldMkLst>
          <pc:docMk/>
          <pc:sldMk cId="1231641155" sldId="2147482378"/>
        </pc:sldMkLst>
        <pc:spChg chg="del mod">
          <ac:chgData name="Rachael Chagnon" userId="S::rachael.chagnon@eqs.com::871bcc3d-b11c-46b6-b535-e388c92a0813" providerId="AD" clId="Web-{9091DD04-7316-5D5A-743C-B52C6EFCE252}" dt="2025-06-04T01:58:25.835" v="251"/>
          <ac:spMkLst>
            <pc:docMk/>
            <pc:sldMk cId="1231641155" sldId="2147482378"/>
            <ac:spMk id="2" creationId="{C523085D-3A0F-B8E6-4FC7-3C522792B9C0}"/>
          </ac:spMkLst>
        </pc:spChg>
        <pc:spChg chg="del">
          <ac:chgData name="Rachael Chagnon" userId="S::rachael.chagnon@eqs.com::871bcc3d-b11c-46b6-b535-e388c92a0813" providerId="AD" clId="Web-{9091DD04-7316-5D5A-743C-B52C6EFCE252}" dt="2025-06-04T01:58:15.646" v="246"/>
          <ac:spMkLst>
            <pc:docMk/>
            <pc:sldMk cId="1231641155" sldId="2147482378"/>
            <ac:spMk id="3" creationId="{C6D3747D-B054-2288-BDAC-BF33D393DB3C}"/>
          </ac:spMkLst>
        </pc:spChg>
        <pc:spChg chg="add mod">
          <ac:chgData name="Rachael Chagnon" userId="S::rachael.chagnon@eqs.com::871bcc3d-b11c-46b6-b535-e388c92a0813" providerId="AD" clId="Web-{9091DD04-7316-5D5A-743C-B52C6EFCE252}" dt="2025-06-04T01:58:24.053" v="250" actId="20577"/>
          <ac:spMkLst>
            <pc:docMk/>
            <pc:sldMk cId="1231641155" sldId="2147482378"/>
            <ac:spMk id="5" creationId="{DD010A09-3001-FC17-93A6-9EFF6CF64BF7}"/>
          </ac:spMkLst>
        </pc:spChg>
        <pc:spChg chg="add del mod">
          <ac:chgData name="Rachael Chagnon" userId="S::rachael.chagnon@eqs.com::871bcc3d-b11c-46b6-b535-e388c92a0813" providerId="AD" clId="Web-{9091DD04-7316-5D5A-743C-B52C6EFCE252}" dt="2025-06-04T01:58:29.460" v="252"/>
          <ac:spMkLst>
            <pc:docMk/>
            <pc:sldMk cId="1231641155" sldId="2147482378"/>
            <ac:spMk id="9" creationId="{3E5FBA0F-CC62-B6CD-F012-4C7F603349C1}"/>
          </ac:spMkLst>
        </pc:spChg>
        <pc:spChg chg="del">
          <ac:chgData name="Rachael Chagnon" userId="S::rachael.chagnon@eqs.com::871bcc3d-b11c-46b6-b535-e388c92a0813" providerId="AD" clId="Web-{9091DD04-7316-5D5A-743C-B52C6EFCE252}" dt="2025-06-04T01:31:19.541" v="15"/>
          <ac:spMkLst>
            <pc:docMk/>
            <pc:sldMk cId="1231641155" sldId="2147482378"/>
            <ac:spMk id="22" creationId="{4C7B930B-9D55-C7BF-2BDD-BCF6999D700E}"/>
          </ac:spMkLst>
        </pc:spChg>
        <pc:picChg chg="mod">
          <ac:chgData name="Rachael Chagnon" userId="S::rachael.chagnon@eqs.com::871bcc3d-b11c-46b6-b535-e388c92a0813" providerId="AD" clId="Web-{9091DD04-7316-5D5A-743C-B52C6EFCE252}" dt="2025-06-04T01:58:46.648" v="255" actId="1076"/>
          <ac:picMkLst>
            <pc:docMk/>
            <pc:sldMk cId="1231641155" sldId="2147482378"/>
            <ac:picMk id="7" creationId="{B2F3CA74-3A1C-03C1-BFD1-787A31B71AE1}"/>
          </ac:picMkLst>
        </pc:picChg>
      </pc:sldChg>
      <pc:sldChg chg="addSp delSp modSp del">
        <pc:chgData name="Rachael Chagnon" userId="S::rachael.chagnon@eqs.com::871bcc3d-b11c-46b6-b535-e388c92a0813" providerId="AD" clId="Web-{9091DD04-7316-5D5A-743C-B52C6EFCE252}" dt="2025-06-04T01:37:08.126" v="175"/>
        <pc:sldMkLst>
          <pc:docMk/>
          <pc:sldMk cId="2953934388" sldId="2147482379"/>
        </pc:sldMkLst>
        <pc:spChg chg="mod">
          <ac:chgData name="Rachael Chagnon" userId="S::rachael.chagnon@eqs.com::871bcc3d-b11c-46b6-b535-e388c92a0813" providerId="AD" clId="Web-{9091DD04-7316-5D5A-743C-B52C6EFCE252}" dt="2025-06-04T01:33:19.017" v="27" actId="1076"/>
          <ac:spMkLst>
            <pc:docMk/>
            <pc:sldMk cId="2953934388" sldId="2147482379"/>
            <ac:spMk id="2" creationId="{EEF2890A-AD03-A0AA-831A-39622E427FEB}"/>
          </ac:spMkLst>
        </pc:spChg>
        <pc:spChg chg="del">
          <ac:chgData name="Rachael Chagnon" userId="S::rachael.chagnon@eqs.com::871bcc3d-b11c-46b6-b535-e388c92a0813" providerId="AD" clId="Web-{9091DD04-7316-5D5A-743C-B52C6EFCE252}" dt="2025-06-04T01:27:37.979" v="1"/>
          <ac:spMkLst>
            <pc:docMk/>
            <pc:sldMk cId="2953934388" sldId="2147482379"/>
            <ac:spMk id="3" creationId="{3C56B34B-B768-A9DB-ED28-FD41C9D118EC}"/>
          </ac:spMkLst>
        </pc:spChg>
        <pc:spChg chg="del">
          <ac:chgData name="Rachael Chagnon" userId="S::rachael.chagnon@eqs.com::871bcc3d-b11c-46b6-b535-e388c92a0813" providerId="AD" clId="Web-{9091DD04-7316-5D5A-743C-B52C6EFCE252}" dt="2025-06-04T01:27:35.213" v="0"/>
          <ac:spMkLst>
            <pc:docMk/>
            <pc:sldMk cId="2953934388" sldId="2147482379"/>
            <ac:spMk id="17" creationId="{70E5BB37-53BE-5001-AA0A-59B1F9E50D22}"/>
          </ac:spMkLst>
        </pc:spChg>
        <pc:picChg chg="add del mod">
          <ac:chgData name="Rachael Chagnon" userId="S::rachael.chagnon@eqs.com::871bcc3d-b11c-46b6-b535-e388c92a0813" providerId="AD" clId="Web-{9091DD04-7316-5D5A-743C-B52C6EFCE252}" dt="2025-06-04T01:34:46.539" v="50"/>
          <ac:picMkLst>
            <pc:docMk/>
            <pc:sldMk cId="2953934388" sldId="2147482379"/>
            <ac:picMk id="5" creationId="{FB75FEAD-713D-8FD0-CB46-586350954A15}"/>
          </ac:picMkLst>
        </pc:picChg>
      </pc:sldChg>
      <pc:sldChg chg="addSp delSp modSp">
        <pc:chgData name="Rachael Chagnon" userId="S::rachael.chagnon@eqs.com::871bcc3d-b11c-46b6-b535-e388c92a0813" providerId="AD" clId="Web-{9091DD04-7316-5D5A-743C-B52C6EFCE252}" dt="2025-06-04T02:35:12.479" v="436"/>
        <pc:sldMkLst>
          <pc:docMk/>
          <pc:sldMk cId="2656228123" sldId="2147482380"/>
        </pc:sldMkLst>
        <pc:spChg chg="del mod">
          <ac:chgData name="Rachael Chagnon" userId="S::rachael.chagnon@eqs.com::871bcc3d-b11c-46b6-b535-e388c92a0813" providerId="AD" clId="Web-{9091DD04-7316-5D5A-743C-B52C6EFCE252}" dt="2025-06-04T02:35:10.729" v="435"/>
          <ac:spMkLst>
            <pc:docMk/>
            <pc:sldMk cId="2656228123" sldId="2147482380"/>
            <ac:spMk id="2" creationId="{CCE59B23-3495-8262-DD4C-1E9BA6DBA7E3}"/>
          </ac:spMkLst>
        </pc:spChg>
        <pc:spChg chg="del">
          <ac:chgData name="Rachael Chagnon" userId="S::rachael.chagnon@eqs.com::871bcc3d-b11c-46b6-b535-e388c92a0813" providerId="AD" clId="Web-{9091DD04-7316-5D5A-743C-B52C6EFCE252}" dt="2025-06-04T02:19:02.134" v="360"/>
          <ac:spMkLst>
            <pc:docMk/>
            <pc:sldMk cId="2656228123" sldId="2147482380"/>
            <ac:spMk id="3" creationId="{0FCA48E7-788F-4173-49A1-328D2511F065}"/>
          </ac:spMkLst>
        </pc:spChg>
        <pc:spChg chg="add mod">
          <ac:chgData name="Rachael Chagnon" userId="S::rachael.chagnon@eqs.com::871bcc3d-b11c-46b6-b535-e388c92a0813" providerId="AD" clId="Web-{9091DD04-7316-5D5A-743C-B52C6EFCE252}" dt="2025-06-04T02:35:08.869" v="434" actId="20577"/>
          <ac:spMkLst>
            <pc:docMk/>
            <pc:sldMk cId="2656228123" sldId="2147482380"/>
            <ac:spMk id="5" creationId="{B089E695-216E-F1AF-A074-97E42BED1097}"/>
          </ac:spMkLst>
        </pc:spChg>
        <pc:spChg chg="add del mod">
          <ac:chgData name="Rachael Chagnon" userId="S::rachael.chagnon@eqs.com::871bcc3d-b11c-46b6-b535-e388c92a0813" providerId="AD" clId="Web-{9091DD04-7316-5D5A-743C-B52C6EFCE252}" dt="2025-06-04T02:35:12.479" v="436"/>
          <ac:spMkLst>
            <pc:docMk/>
            <pc:sldMk cId="2656228123" sldId="2147482380"/>
            <ac:spMk id="9" creationId="{AF3C3CE5-F3B8-F9B0-CDC1-221F9402703E}"/>
          </ac:spMkLst>
        </pc:spChg>
        <pc:spChg chg="del">
          <ac:chgData name="Rachael Chagnon" userId="S::rachael.chagnon@eqs.com::871bcc3d-b11c-46b6-b535-e388c92a0813" providerId="AD" clId="Web-{9091DD04-7316-5D5A-743C-B52C6EFCE252}" dt="2025-06-04T01:32:09.888" v="20"/>
          <ac:spMkLst>
            <pc:docMk/>
            <pc:sldMk cId="2656228123" sldId="2147482380"/>
            <ac:spMk id="14" creationId="{172F14D0-3128-080C-A076-A16492912DD2}"/>
          </ac:spMkLst>
        </pc:spChg>
      </pc:sldChg>
      <pc:sldChg chg="addSp delSp modSp">
        <pc:chgData name="Rachael Chagnon" userId="S::rachael.chagnon@eqs.com::871bcc3d-b11c-46b6-b535-e388c92a0813" providerId="AD" clId="Web-{9091DD04-7316-5D5A-743C-B52C6EFCE252}" dt="2025-06-04T02:21:49.192" v="376" actId="20577"/>
        <pc:sldMkLst>
          <pc:docMk/>
          <pc:sldMk cId="1248373667" sldId="2147482381"/>
        </pc:sldMkLst>
        <pc:spChg chg="add del mod">
          <ac:chgData name="Rachael Chagnon" userId="S::rachael.chagnon@eqs.com::871bcc3d-b11c-46b6-b535-e388c92a0813" providerId="AD" clId="Web-{9091DD04-7316-5D5A-743C-B52C6EFCE252}" dt="2025-06-04T02:19:48.700" v="370"/>
          <ac:spMkLst>
            <pc:docMk/>
            <pc:sldMk cId="1248373667" sldId="2147482381"/>
            <ac:spMk id="2" creationId="{A77DE836-F544-A83F-669E-F5EB1249C610}"/>
          </ac:spMkLst>
        </pc:spChg>
        <pc:spChg chg="del">
          <ac:chgData name="Rachael Chagnon" userId="S::rachael.chagnon@eqs.com::871bcc3d-b11c-46b6-b535-e388c92a0813" providerId="AD" clId="Web-{9091DD04-7316-5D5A-743C-B52C6EFCE252}" dt="2025-06-04T02:18:55.665" v="358"/>
          <ac:spMkLst>
            <pc:docMk/>
            <pc:sldMk cId="1248373667" sldId="2147482381"/>
            <ac:spMk id="3" creationId="{1D4F2D52-E842-03EF-D803-DE022F67FB15}"/>
          </ac:spMkLst>
        </pc:spChg>
        <pc:spChg chg="add del mod">
          <ac:chgData name="Rachael Chagnon" userId="S::rachael.chagnon@eqs.com::871bcc3d-b11c-46b6-b535-e388c92a0813" providerId="AD" clId="Web-{9091DD04-7316-5D5A-743C-B52C6EFCE252}" dt="2025-06-04T02:18:53.274" v="355"/>
          <ac:spMkLst>
            <pc:docMk/>
            <pc:sldMk cId="1248373667" sldId="2147482381"/>
            <ac:spMk id="8" creationId="{83B2E63B-B2BD-64D5-70B6-9263679BEB91}"/>
          </ac:spMkLst>
        </pc:spChg>
        <pc:spChg chg="add mod">
          <ac:chgData name="Rachael Chagnon" userId="S::rachael.chagnon@eqs.com::871bcc3d-b11c-46b6-b535-e388c92a0813" providerId="AD" clId="Web-{9091DD04-7316-5D5A-743C-B52C6EFCE252}" dt="2025-06-04T02:21:49.192" v="376" actId="20577"/>
          <ac:spMkLst>
            <pc:docMk/>
            <pc:sldMk cId="1248373667" sldId="2147482381"/>
            <ac:spMk id="10" creationId="{380E7C48-0508-8782-91F6-34184D54BBC7}"/>
          </ac:spMkLst>
        </pc:spChg>
        <pc:spChg chg="add del mod">
          <ac:chgData name="Rachael Chagnon" userId="S::rachael.chagnon@eqs.com::871bcc3d-b11c-46b6-b535-e388c92a0813" providerId="AD" clId="Web-{9091DD04-7316-5D5A-743C-B52C6EFCE252}" dt="2025-06-04T02:19:51.638" v="371"/>
          <ac:spMkLst>
            <pc:docMk/>
            <pc:sldMk cId="1248373667" sldId="2147482381"/>
            <ac:spMk id="12" creationId="{3E2B6808-5298-C8B5-3419-0B69C3124593}"/>
          </ac:spMkLst>
        </pc:spChg>
        <pc:spChg chg="del">
          <ac:chgData name="Rachael Chagnon" userId="S::rachael.chagnon@eqs.com::871bcc3d-b11c-46b6-b535-e388c92a0813" providerId="AD" clId="Web-{9091DD04-7316-5D5A-743C-B52C6EFCE252}" dt="2025-06-04T01:31:28.838" v="18"/>
          <ac:spMkLst>
            <pc:docMk/>
            <pc:sldMk cId="1248373667" sldId="2147482381"/>
            <ac:spMk id="16" creationId="{404E1B58-CFEF-065C-5211-E31286A14990}"/>
          </ac:spMkLst>
        </pc:spChg>
        <pc:picChg chg="mod">
          <ac:chgData name="Rachael Chagnon" userId="S::rachael.chagnon@eqs.com::871bcc3d-b11c-46b6-b535-e388c92a0813" providerId="AD" clId="Web-{9091DD04-7316-5D5A-743C-B52C6EFCE252}" dt="2025-06-04T02:19:38.480" v="366" actId="1076"/>
          <ac:picMkLst>
            <pc:docMk/>
            <pc:sldMk cId="1248373667" sldId="2147482381"/>
            <ac:picMk id="7" creationId="{BADFC1D1-C3FF-4D12-4F09-1C881DE8E8DE}"/>
          </ac:picMkLst>
        </pc:picChg>
      </pc:sldChg>
      <pc:sldChg chg="addSp delSp modSp">
        <pc:chgData name="Rachael Chagnon" userId="S::rachael.chagnon@eqs.com::871bcc3d-b11c-46b6-b535-e388c92a0813" providerId="AD" clId="Web-{9091DD04-7316-5D5A-743C-B52C6EFCE252}" dt="2025-06-04T02:36:06.655" v="450" actId="1076"/>
        <pc:sldMkLst>
          <pc:docMk/>
          <pc:sldMk cId="61585005" sldId="2147482385"/>
        </pc:sldMkLst>
        <pc:spChg chg="del mod">
          <ac:chgData name="Rachael Chagnon" userId="S::rachael.chagnon@eqs.com::871bcc3d-b11c-46b6-b535-e388c92a0813" providerId="AD" clId="Web-{9091DD04-7316-5D5A-743C-B52C6EFCE252}" dt="2025-06-04T02:35:53.513" v="447"/>
          <ac:spMkLst>
            <pc:docMk/>
            <pc:sldMk cId="61585005" sldId="2147482385"/>
            <ac:spMk id="2" creationId="{7A09283C-F48E-9FBA-70E0-B49A2B54325D}"/>
          </ac:spMkLst>
        </pc:spChg>
        <pc:spChg chg="del">
          <ac:chgData name="Rachael Chagnon" userId="S::rachael.chagnon@eqs.com::871bcc3d-b11c-46b6-b535-e388c92a0813" providerId="AD" clId="Web-{9091DD04-7316-5D5A-743C-B52C6EFCE252}" dt="2025-06-04T02:19:05.010" v="361"/>
          <ac:spMkLst>
            <pc:docMk/>
            <pc:sldMk cId="61585005" sldId="2147482385"/>
            <ac:spMk id="3" creationId="{A7CD8967-4D00-8276-CA70-DC204FFABD87}"/>
          </ac:spMkLst>
        </pc:spChg>
        <pc:spChg chg="add del mod">
          <ac:chgData name="Rachael Chagnon" userId="S::rachael.chagnon@eqs.com::871bcc3d-b11c-46b6-b535-e388c92a0813" providerId="AD" clId="Web-{9091DD04-7316-5D5A-743C-B52C6EFCE252}" dt="2025-06-04T02:35:40.153" v="443"/>
          <ac:spMkLst>
            <pc:docMk/>
            <pc:sldMk cId="61585005" sldId="2147482385"/>
            <ac:spMk id="5" creationId="{2A0D1961-8606-0A43-0E0D-4E425D40112E}"/>
          </ac:spMkLst>
        </pc:spChg>
        <pc:spChg chg="add mod">
          <ac:chgData name="Rachael Chagnon" userId="S::rachael.chagnon@eqs.com::871bcc3d-b11c-46b6-b535-e388c92a0813" providerId="AD" clId="Web-{9091DD04-7316-5D5A-743C-B52C6EFCE252}" dt="2025-06-04T02:35:51.732" v="446" actId="20577"/>
          <ac:spMkLst>
            <pc:docMk/>
            <pc:sldMk cId="61585005" sldId="2147482385"/>
            <ac:spMk id="9" creationId="{2F40B576-19EB-070C-C435-B677ADB3B9E2}"/>
          </ac:spMkLst>
        </pc:spChg>
        <pc:spChg chg="add del mod">
          <ac:chgData name="Rachael Chagnon" userId="S::rachael.chagnon@eqs.com::871bcc3d-b11c-46b6-b535-e388c92a0813" providerId="AD" clId="Web-{9091DD04-7316-5D5A-743C-B52C6EFCE252}" dt="2025-06-04T02:35:57.888" v="448"/>
          <ac:spMkLst>
            <pc:docMk/>
            <pc:sldMk cId="61585005" sldId="2147482385"/>
            <ac:spMk id="11" creationId="{6067F496-7EAB-3656-ABBD-9A09F2E7B7B7}"/>
          </ac:spMkLst>
        </pc:spChg>
        <pc:spChg chg="del">
          <ac:chgData name="Rachael Chagnon" userId="S::rachael.chagnon@eqs.com::871bcc3d-b11c-46b6-b535-e388c92a0813" providerId="AD" clId="Web-{9091DD04-7316-5D5A-743C-B52C6EFCE252}" dt="2025-06-04T01:32:11.888" v="21"/>
          <ac:spMkLst>
            <pc:docMk/>
            <pc:sldMk cId="61585005" sldId="2147482385"/>
            <ac:spMk id="12" creationId="{3C00C16C-C907-C6F3-7D5B-57845AC72253}"/>
          </ac:spMkLst>
        </pc:spChg>
        <pc:picChg chg="mod">
          <ac:chgData name="Rachael Chagnon" userId="S::rachael.chagnon@eqs.com::871bcc3d-b11c-46b6-b535-e388c92a0813" providerId="AD" clId="Web-{9091DD04-7316-5D5A-743C-B52C6EFCE252}" dt="2025-06-04T02:36:06.655" v="450" actId="1076"/>
          <ac:picMkLst>
            <pc:docMk/>
            <pc:sldMk cId="61585005" sldId="2147482385"/>
            <ac:picMk id="7" creationId="{13ECBEF0-D1DD-4E9C-7A79-BEB7021E714B}"/>
          </ac:picMkLst>
        </pc:picChg>
      </pc:sldChg>
      <pc:sldChg chg="addSp delSp modSp">
        <pc:chgData name="Rachael Chagnon" userId="S::rachael.chagnon@eqs.com::871bcc3d-b11c-46b6-b535-e388c92a0813" providerId="AD" clId="Web-{9091DD04-7316-5D5A-743C-B52C6EFCE252}" dt="2025-06-04T02:37:51.771" v="461"/>
        <pc:sldMkLst>
          <pc:docMk/>
          <pc:sldMk cId="179696370" sldId="2147482386"/>
        </pc:sldMkLst>
        <pc:spChg chg="del mod">
          <ac:chgData name="Rachael Chagnon" userId="S::rachael.chagnon@eqs.com::871bcc3d-b11c-46b6-b535-e388c92a0813" providerId="AD" clId="Web-{9091DD04-7316-5D5A-743C-B52C6EFCE252}" dt="2025-06-04T02:37:49.833" v="460"/>
          <ac:spMkLst>
            <pc:docMk/>
            <pc:sldMk cId="179696370" sldId="2147482386"/>
            <ac:spMk id="2" creationId="{87D5E07E-EAF6-3751-8B3B-7A61B5E34D5A}"/>
          </ac:spMkLst>
        </pc:spChg>
        <pc:spChg chg="del">
          <ac:chgData name="Rachael Chagnon" userId="S::rachael.chagnon@eqs.com::871bcc3d-b11c-46b6-b535-e388c92a0813" providerId="AD" clId="Web-{9091DD04-7316-5D5A-743C-B52C6EFCE252}" dt="2025-06-04T02:19:06.916" v="362"/>
          <ac:spMkLst>
            <pc:docMk/>
            <pc:sldMk cId="179696370" sldId="2147482386"/>
            <ac:spMk id="3" creationId="{59DB6E6C-9420-6D4F-80B0-9E3743EC1987}"/>
          </ac:spMkLst>
        </pc:spChg>
        <pc:spChg chg="add mod">
          <ac:chgData name="Rachael Chagnon" userId="S::rachael.chagnon@eqs.com::871bcc3d-b11c-46b6-b535-e388c92a0813" providerId="AD" clId="Web-{9091DD04-7316-5D5A-743C-B52C6EFCE252}" dt="2025-06-04T02:37:44.598" v="458" actId="20577"/>
          <ac:spMkLst>
            <pc:docMk/>
            <pc:sldMk cId="179696370" sldId="2147482386"/>
            <ac:spMk id="8" creationId="{635AC012-752F-D627-38A9-867090006E8A}"/>
          </ac:spMkLst>
        </pc:spChg>
        <pc:spChg chg="add del mod">
          <ac:chgData name="Rachael Chagnon" userId="S::rachael.chagnon@eqs.com::871bcc3d-b11c-46b6-b535-e388c92a0813" providerId="AD" clId="Web-{9091DD04-7316-5D5A-743C-B52C6EFCE252}" dt="2025-06-04T02:37:51.771" v="461"/>
          <ac:spMkLst>
            <pc:docMk/>
            <pc:sldMk cId="179696370" sldId="2147482386"/>
            <ac:spMk id="10" creationId="{745CF8C6-79E5-5E43-17C0-5A70D1358518}"/>
          </ac:spMkLst>
        </pc:spChg>
        <pc:spChg chg="del">
          <ac:chgData name="Rachael Chagnon" userId="S::rachael.chagnon@eqs.com::871bcc3d-b11c-46b6-b535-e388c92a0813" providerId="AD" clId="Web-{9091DD04-7316-5D5A-743C-B52C6EFCE252}" dt="2025-06-04T01:32:14.560" v="22"/>
          <ac:spMkLst>
            <pc:docMk/>
            <pc:sldMk cId="179696370" sldId="2147482386"/>
            <ac:spMk id="12" creationId="{72BA18BB-1D13-A9D8-7AC2-A0C1E98823AD}"/>
          </ac:spMkLst>
        </pc:spChg>
        <pc:picChg chg="mod">
          <ac:chgData name="Rachael Chagnon" userId="S::rachael.chagnon@eqs.com::871bcc3d-b11c-46b6-b535-e388c92a0813" providerId="AD" clId="Web-{9091DD04-7316-5D5A-743C-B52C6EFCE252}" dt="2025-06-04T02:37:37.285" v="455" actId="1076"/>
          <ac:picMkLst>
            <pc:docMk/>
            <pc:sldMk cId="179696370" sldId="2147482386"/>
            <ac:picMk id="7" creationId="{CB356E32-F8AC-F464-5045-2B70C5D82A3A}"/>
          </ac:picMkLst>
        </pc:picChg>
      </pc:sldChg>
      <pc:sldChg chg="addSp delSp modSp">
        <pc:chgData name="Rachael Chagnon" userId="S::rachael.chagnon@eqs.com::871bcc3d-b11c-46b6-b535-e388c92a0813" providerId="AD" clId="Web-{9091DD04-7316-5D5A-743C-B52C6EFCE252}" dt="2025-06-04T01:38:58.711" v="209"/>
        <pc:sldMkLst>
          <pc:docMk/>
          <pc:sldMk cId="3679418423" sldId="2147482387"/>
        </pc:sldMkLst>
        <pc:spChg chg="del mod">
          <ac:chgData name="Rachael Chagnon" userId="S::rachael.chagnon@eqs.com::871bcc3d-b11c-46b6-b535-e388c92a0813" providerId="AD" clId="Web-{9091DD04-7316-5D5A-743C-B52C6EFCE252}" dt="2025-06-04T01:38:50.180" v="207"/>
          <ac:spMkLst>
            <pc:docMk/>
            <pc:sldMk cId="3679418423" sldId="2147482387"/>
            <ac:spMk id="2" creationId="{8370ECDB-693C-65AB-7B9C-F6C8AB1A48B5}"/>
          </ac:spMkLst>
        </pc:spChg>
        <pc:spChg chg="del">
          <ac:chgData name="Rachael Chagnon" userId="S::rachael.chagnon@eqs.com::871bcc3d-b11c-46b6-b535-e388c92a0813" providerId="AD" clId="Web-{9091DD04-7316-5D5A-743C-B52C6EFCE252}" dt="2025-06-04T01:38:30.131" v="202"/>
          <ac:spMkLst>
            <pc:docMk/>
            <pc:sldMk cId="3679418423" sldId="2147482387"/>
            <ac:spMk id="4" creationId="{E4B96A51-730F-DF12-A7F5-0710B6C23306}"/>
          </ac:spMkLst>
        </pc:spChg>
        <pc:spChg chg="add mod">
          <ac:chgData name="Rachael Chagnon" userId="S::rachael.chagnon@eqs.com::871bcc3d-b11c-46b6-b535-e388c92a0813" providerId="AD" clId="Web-{9091DD04-7316-5D5A-743C-B52C6EFCE252}" dt="2025-06-04T01:38:48.273" v="206" actId="20577"/>
          <ac:spMkLst>
            <pc:docMk/>
            <pc:sldMk cId="3679418423" sldId="2147482387"/>
            <ac:spMk id="5" creationId="{11B4FA88-7A9F-7F59-5163-1131FD8BC0D3}"/>
          </ac:spMkLst>
        </pc:spChg>
        <pc:spChg chg="add del mod">
          <ac:chgData name="Rachael Chagnon" userId="S::rachael.chagnon@eqs.com::871bcc3d-b11c-46b6-b535-e388c92a0813" providerId="AD" clId="Web-{9091DD04-7316-5D5A-743C-B52C6EFCE252}" dt="2025-06-04T01:38:58.711" v="209"/>
          <ac:spMkLst>
            <pc:docMk/>
            <pc:sldMk cId="3679418423" sldId="2147482387"/>
            <ac:spMk id="8" creationId="{1A7E35CA-B8DC-0C8E-0AC5-EAB708815619}"/>
          </ac:spMkLst>
        </pc:spChg>
        <pc:spChg chg="del">
          <ac:chgData name="Rachael Chagnon" userId="S::rachael.chagnon@eqs.com::871bcc3d-b11c-46b6-b535-e388c92a0813" providerId="AD" clId="Web-{9091DD04-7316-5D5A-743C-B52C6EFCE252}" dt="2025-06-04T01:31:11.353" v="12"/>
          <ac:spMkLst>
            <pc:docMk/>
            <pc:sldMk cId="3679418423" sldId="2147482387"/>
            <ac:spMk id="2057" creationId="{1964A378-A72B-1C1D-3ACF-742653EE2946}"/>
          </ac:spMkLst>
        </pc:spChg>
        <pc:picChg chg="mod">
          <ac:chgData name="Rachael Chagnon" userId="S::rachael.chagnon@eqs.com::871bcc3d-b11c-46b6-b535-e388c92a0813" providerId="AD" clId="Web-{9091DD04-7316-5D5A-743C-B52C6EFCE252}" dt="2025-06-04T01:38:53.820" v="208" actId="1076"/>
          <ac:picMkLst>
            <pc:docMk/>
            <pc:sldMk cId="3679418423" sldId="2147482387"/>
            <ac:picMk id="2050" creationId="{AE05B44C-6C33-D791-9284-4EB043D7233B}"/>
          </ac:picMkLst>
        </pc:picChg>
      </pc:sldChg>
      <pc:sldChg chg="addSp delSp modSp">
        <pc:chgData name="Rachael Chagnon" userId="S::rachael.chagnon@eqs.com::871bcc3d-b11c-46b6-b535-e388c92a0813" providerId="AD" clId="Web-{9091DD04-7316-5D5A-743C-B52C6EFCE252}" dt="2025-06-04T01:38:10.943" v="200"/>
        <pc:sldMkLst>
          <pc:docMk/>
          <pc:sldMk cId="842355134" sldId="2147482388"/>
        </pc:sldMkLst>
        <pc:spChg chg="del mod">
          <ac:chgData name="Rachael Chagnon" userId="S::rachael.chagnon@eqs.com::871bcc3d-b11c-46b6-b535-e388c92a0813" providerId="AD" clId="Web-{9091DD04-7316-5D5A-743C-B52C6EFCE252}" dt="2025-06-04T01:38:07.942" v="199"/>
          <ac:spMkLst>
            <pc:docMk/>
            <pc:sldMk cId="842355134" sldId="2147482388"/>
            <ac:spMk id="2" creationId="{884EA99E-49DD-F620-3BB2-0FA3EF10F9E4}"/>
          </ac:spMkLst>
        </pc:spChg>
        <pc:spChg chg="del">
          <ac:chgData name="Rachael Chagnon" userId="S::rachael.chagnon@eqs.com::871bcc3d-b11c-46b6-b535-e388c92a0813" providerId="AD" clId="Web-{9091DD04-7316-5D5A-743C-B52C6EFCE252}" dt="2025-06-04T01:27:54.308" v="3"/>
          <ac:spMkLst>
            <pc:docMk/>
            <pc:sldMk cId="842355134" sldId="2147482388"/>
            <ac:spMk id="3" creationId="{88FEC6C0-BE51-4E48-F7FF-9119199F1227}"/>
          </ac:spMkLst>
        </pc:spChg>
        <pc:spChg chg="add mod">
          <ac:chgData name="Rachael Chagnon" userId="S::rachael.chagnon@eqs.com::871bcc3d-b11c-46b6-b535-e388c92a0813" providerId="AD" clId="Web-{9091DD04-7316-5D5A-743C-B52C6EFCE252}" dt="2025-06-04T01:37:59.348" v="198" actId="20577"/>
          <ac:spMkLst>
            <pc:docMk/>
            <pc:sldMk cId="842355134" sldId="2147482388"/>
            <ac:spMk id="8" creationId="{27CB6147-AB7A-69A2-696F-9BCFE888AC3F}"/>
          </ac:spMkLst>
        </pc:spChg>
        <pc:spChg chg="add del mod">
          <ac:chgData name="Rachael Chagnon" userId="S::rachael.chagnon@eqs.com::871bcc3d-b11c-46b6-b535-e388c92a0813" providerId="AD" clId="Web-{9091DD04-7316-5D5A-743C-B52C6EFCE252}" dt="2025-06-04T01:38:10.943" v="200"/>
          <ac:spMkLst>
            <pc:docMk/>
            <pc:sldMk cId="842355134" sldId="2147482388"/>
            <ac:spMk id="10" creationId="{AB865FEA-5CD5-5C9F-19B4-9E302F9AD960}"/>
          </ac:spMkLst>
        </pc:spChg>
        <pc:spChg chg="del">
          <ac:chgData name="Rachael Chagnon" userId="S::rachael.chagnon@eqs.com::871bcc3d-b11c-46b6-b535-e388c92a0813" providerId="AD" clId="Web-{9091DD04-7316-5D5A-743C-B52C6EFCE252}" dt="2025-06-04T01:27:51.058" v="2"/>
          <ac:spMkLst>
            <pc:docMk/>
            <pc:sldMk cId="842355134" sldId="2147482388"/>
            <ac:spMk id="17" creationId="{E5D3149F-8968-867A-47AD-58D53C2D63AE}"/>
          </ac:spMkLst>
        </pc:spChg>
        <pc:picChg chg="mod">
          <ac:chgData name="Rachael Chagnon" userId="S::rachael.chagnon@eqs.com::871bcc3d-b11c-46b6-b535-e388c92a0813" providerId="AD" clId="Web-{9091DD04-7316-5D5A-743C-B52C6EFCE252}" dt="2025-06-04T01:37:23.877" v="179" actId="1076"/>
          <ac:picMkLst>
            <pc:docMk/>
            <pc:sldMk cId="842355134" sldId="2147482388"/>
            <ac:picMk id="7" creationId="{1652C4BA-298C-56D9-59C9-F4845DF78878}"/>
          </ac:picMkLst>
        </pc:picChg>
      </pc:sldChg>
      <pc:sldChg chg="add del replId">
        <pc:chgData name="Rachael Chagnon" userId="S::rachael.chagnon@eqs.com::871bcc3d-b11c-46b6-b535-e388c92a0813" providerId="AD" clId="Web-{9091DD04-7316-5D5A-743C-B52C6EFCE252}" dt="2025-06-04T01:59:07.197" v="257"/>
        <pc:sldMkLst>
          <pc:docMk/>
          <pc:sldMk cId="3061186259" sldId="2147482389"/>
        </pc:sldMkLst>
      </pc:sldChg>
    </pc:docChg>
  </pc:docChgLst>
  <pc:docChgLst>
    <pc:chgData name="Afua Pokuaa-Adenle" userId="S::afua.pokuaa-adenle@eqs.com::e0a1f77c-d118-4d5f-afa4-193a01d40417" providerId="AD" clId="Web-{968D1F82-DC7C-EA52-13A3-03D10F539256}"/>
    <pc:docChg chg="modSld">
      <pc:chgData name="Afua Pokuaa-Adenle" userId="S::afua.pokuaa-adenle@eqs.com::e0a1f77c-d118-4d5f-afa4-193a01d40417" providerId="AD" clId="Web-{968D1F82-DC7C-EA52-13A3-03D10F539256}" dt="2025-05-23T15:04:29.787" v="3" actId="20577"/>
      <pc:docMkLst>
        <pc:docMk/>
      </pc:docMkLst>
      <pc:sldChg chg="modSp">
        <pc:chgData name="Afua Pokuaa-Adenle" userId="S::afua.pokuaa-adenle@eqs.com::e0a1f77c-d118-4d5f-afa4-193a01d40417" providerId="AD" clId="Web-{968D1F82-DC7C-EA52-13A3-03D10F539256}" dt="2025-05-23T15:04:29.787" v="3" actId="20577"/>
        <pc:sldMkLst>
          <pc:docMk/>
          <pc:sldMk cId="179696370" sldId="2147482386"/>
        </pc:sldMkLst>
        <pc:spChg chg="mod">
          <ac:chgData name="Afua Pokuaa-Adenle" userId="S::afua.pokuaa-adenle@eqs.com::e0a1f77c-d118-4d5f-afa4-193a01d40417" providerId="AD" clId="Web-{968D1F82-DC7C-EA52-13A3-03D10F539256}" dt="2025-05-23T15:04:29.787" v="3" actId="20577"/>
          <ac:spMkLst>
            <pc:docMk/>
            <pc:sldMk cId="179696370" sldId="2147482386"/>
            <ac:spMk id="2" creationId="{87D5E07E-EAF6-3751-8B3B-7A61B5E34D5A}"/>
          </ac:spMkLst>
        </pc:spChg>
      </pc:sldChg>
    </pc:docChg>
  </pc:docChgLst>
  <pc:docChgLst>
    <pc:chgData name="Rachael Chagnon" userId="S::rachael.chagnon@eqs.com::871bcc3d-b11c-46b6-b535-e388c92a0813" providerId="AD" clId="Web-{5548132A-FF44-1823-C2C4-3AAE7186D43B}"/>
    <pc:docChg chg="modSld">
      <pc:chgData name="Rachael Chagnon" userId="S::rachael.chagnon@eqs.com::871bcc3d-b11c-46b6-b535-e388c92a0813" providerId="AD" clId="Web-{5548132A-FF44-1823-C2C4-3AAE7186D43B}" dt="2025-06-03T04:47:13.957" v="41" actId="20577"/>
      <pc:docMkLst>
        <pc:docMk/>
      </pc:docMkLst>
      <pc:sldChg chg="modSp">
        <pc:chgData name="Rachael Chagnon" userId="S::rachael.chagnon@eqs.com::871bcc3d-b11c-46b6-b535-e388c92a0813" providerId="AD" clId="Web-{5548132A-FF44-1823-C2C4-3AAE7186D43B}" dt="2025-06-03T04:47:13.957" v="41" actId="20577"/>
        <pc:sldMkLst>
          <pc:docMk/>
          <pc:sldMk cId="2367236243" sldId="428"/>
        </pc:sldMkLst>
        <pc:spChg chg="mod">
          <ac:chgData name="Rachael Chagnon" userId="S::rachael.chagnon@eqs.com::871bcc3d-b11c-46b6-b535-e388c92a0813" providerId="AD" clId="Web-{5548132A-FF44-1823-C2C4-3AAE7186D43B}" dt="2025-06-03T04:47:13.957" v="41" actId="20577"/>
          <ac:spMkLst>
            <pc:docMk/>
            <pc:sldMk cId="2367236243" sldId="428"/>
            <ac:spMk id="5" creationId="{A7711D98-6544-1748-ACF7-C00B0C1C0A17}"/>
          </ac:spMkLst>
        </pc:spChg>
      </pc:sldChg>
      <pc:sldChg chg="addSp delSp">
        <pc:chgData name="Rachael Chagnon" userId="S::rachael.chagnon@eqs.com::871bcc3d-b11c-46b6-b535-e388c92a0813" providerId="AD" clId="Web-{5548132A-FF44-1823-C2C4-3AAE7186D43B}" dt="2025-06-03T04:47:05.347" v="35"/>
        <pc:sldMkLst>
          <pc:docMk/>
          <pc:sldMk cId="2953934388" sldId="2147482379"/>
        </pc:sldMkLst>
        <pc:spChg chg="add del">
          <ac:chgData name="Rachael Chagnon" userId="S::rachael.chagnon@eqs.com::871bcc3d-b11c-46b6-b535-e388c92a0813" providerId="AD" clId="Web-{5548132A-FF44-1823-C2C4-3AAE7186D43B}" dt="2025-06-03T04:47:05.347" v="35"/>
          <ac:spMkLst>
            <pc:docMk/>
            <pc:sldMk cId="2953934388" sldId="2147482379"/>
            <ac:spMk id="17" creationId="{70E5BB37-53BE-5001-AA0A-59B1F9E50D22}"/>
          </ac:spMkLst>
        </pc:spChg>
      </pc:sldChg>
      <pc:sldChg chg="addSp delSp">
        <pc:chgData name="Rachael Chagnon" userId="S::rachael.chagnon@eqs.com::871bcc3d-b11c-46b6-b535-e388c92a0813" providerId="AD" clId="Web-{5548132A-FF44-1823-C2C4-3AAE7186D43B}" dt="2025-06-03T04:47:04.972" v="34"/>
        <pc:sldMkLst>
          <pc:docMk/>
          <pc:sldMk cId="842355134" sldId="2147482388"/>
        </pc:sldMkLst>
        <pc:spChg chg="add del">
          <ac:chgData name="Rachael Chagnon" userId="S::rachael.chagnon@eqs.com::871bcc3d-b11c-46b6-b535-e388c92a0813" providerId="AD" clId="Web-{5548132A-FF44-1823-C2C4-3AAE7186D43B}" dt="2025-06-03T04:47:04.972" v="34"/>
          <ac:spMkLst>
            <pc:docMk/>
            <pc:sldMk cId="842355134" sldId="2147482388"/>
            <ac:spMk id="17" creationId="{E5D3149F-8968-867A-47AD-58D53C2D63AE}"/>
          </ac:spMkLst>
        </pc:spChg>
      </pc:sldChg>
    </pc:docChg>
  </pc:docChgLst>
</pc:chgInfo>
</file>

<file path=ppt/handoutMasters/_rels/handoutMaster1.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Fußzeilenplatzhalter 4"/>
          <p:cNvSpPr>
            <a:spLocks noGrp="1"/>
          </p:cNvSpPr>
          <p:nvPr>
            <p:ph type="ftr" sz="quarter" idx="2"/>
          </p:nvPr>
        </p:nvSpPr>
        <p:spPr>
          <a:xfrm>
            <a:off x="472479" y="361154"/>
            <a:ext cx="4282000" cy="234488"/>
          </a:xfrm>
          <a:prstGeom prst="rect">
            <a:avLst/>
          </a:prstGeom>
        </p:spPr>
        <p:txBody>
          <a:bodyPr vert="horz" lIns="0" tIns="0" rIns="0" bIns="36000" rtlCol="0" anchor="b">
            <a:noAutofit/>
          </a:bodyPr>
          <a:lstStyle>
            <a:lvl1pPr algn="l">
              <a:defRPr sz="1000">
                <a:solidFill>
                  <a:schemeClr val="accent6"/>
                </a:solidFill>
                <a:latin typeface="Ubuntu" panose="020B0504030602030204" pitchFamily="34" charset="0"/>
              </a:defRPr>
            </a:lvl1pPr>
          </a:lstStyle>
          <a:p>
            <a:r>
              <a:rPr lang="en-US">
                <a:solidFill>
                  <a:schemeClr val="tx1"/>
                </a:solidFill>
              </a:rPr>
              <a:t>Theme of the presentation   |   dd.mm.yyyy</a:t>
            </a:r>
            <a:endParaRPr lang="de-DE">
              <a:solidFill>
                <a:schemeClr val="tx1"/>
              </a:solidFill>
            </a:endParaRPr>
          </a:p>
        </p:txBody>
      </p:sp>
      <p:sp>
        <p:nvSpPr>
          <p:cNvPr id="2" name="Foliennummernplatzhalter 287">
            <a:extLst>
              <a:ext uri="{FF2B5EF4-FFF2-40B4-BE49-F238E27FC236}">
                <a16:creationId xmlns:a16="http://schemas.microsoft.com/office/drawing/2014/main" id="{9625247A-7CF4-4336-17D4-A5A2B78C0167}"/>
              </a:ext>
            </a:extLst>
          </p:cNvPr>
          <p:cNvSpPr>
            <a:spLocks noGrp="1"/>
          </p:cNvSpPr>
          <p:nvPr>
            <p:ph type="sldNum" sz="quarter" idx="3"/>
          </p:nvPr>
        </p:nvSpPr>
        <p:spPr bwMode="gray">
          <a:xfrm>
            <a:off x="5963674" y="9146325"/>
            <a:ext cx="834001" cy="780313"/>
          </a:xfrm>
          <a:custGeom>
            <a:avLst/>
            <a:gdLst>
              <a:gd name="connsiteX0" fmla="*/ 486900 w 834001"/>
              <a:gd name="connsiteY0" fmla="*/ 183 h 780313"/>
              <a:gd name="connsiteX1" fmla="*/ 567428 w 834001"/>
              <a:gd name="connsiteY1" fmla="*/ 30632 h 780313"/>
              <a:gd name="connsiteX2" fmla="*/ 683759 w 834001"/>
              <a:gd name="connsiteY2" fmla="*/ 96292 h 780313"/>
              <a:gd name="connsiteX3" fmla="*/ 834001 w 834001"/>
              <a:gd name="connsiteY3" fmla="*/ 181000 h 780313"/>
              <a:gd name="connsiteX4" fmla="*/ 834001 w 834001"/>
              <a:gd name="connsiteY4" fmla="*/ 780313 h 780313"/>
              <a:gd name="connsiteX5" fmla="*/ 256913 w 834001"/>
              <a:gd name="connsiteY5" fmla="*/ 780313 h 780313"/>
              <a:gd name="connsiteX6" fmla="*/ 253230 w 834001"/>
              <a:gd name="connsiteY6" fmla="*/ 774345 h 780313"/>
              <a:gd name="connsiteX7" fmla="*/ 9770 w 834001"/>
              <a:gd name="connsiteY7" fmla="*/ 352577 h 780313"/>
              <a:gd name="connsiteX8" fmla="*/ 36314 w 834001"/>
              <a:gd name="connsiteY8" fmla="*/ 253391 h 780313"/>
              <a:gd name="connsiteX9" fmla="*/ 458081 w 834001"/>
              <a:gd name="connsiteY9" fmla="*/ 9805 h 780313"/>
              <a:gd name="connsiteX10" fmla="*/ 486900 w 834001"/>
              <a:gd name="connsiteY10" fmla="*/ 183 h 7803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34001" h="780313">
                <a:moveTo>
                  <a:pt x="486900" y="183"/>
                </a:moveTo>
                <a:cubicBezTo>
                  <a:pt x="515350" y="-1990"/>
                  <a:pt x="542568" y="15679"/>
                  <a:pt x="567428" y="30632"/>
                </a:cubicBezTo>
                <a:cubicBezTo>
                  <a:pt x="606290" y="52476"/>
                  <a:pt x="645025" y="74320"/>
                  <a:pt x="683759" y="96292"/>
                </a:cubicBezTo>
                <a:cubicBezTo>
                  <a:pt x="733925" y="124486"/>
                  <a:pt x="783963" y="152806"/>
                  <a:pt x="834001" y="181000"/>
                </a:cubicBezTo>
                <a:lnTo>
                  <a:pt x="834001" y="780313"/>
                </a:lnTo>
                <a:lnTo>
                  <a:pt x="256913" y="780313"/>
                </a:lnTo>
                <a:cubicBezTo>
                  <a:pt x="255643" y="778409"/>
                  <a:pt x="254372" y="776504"/>
                  <a:pt x="253230" y="774345"/>
                </a:cubicBezTo>
                <a:lnTo>
                  <a:pt x="9770" y="352577"/>
                </a:lnTo>
                <a:cubicBezTo>
                  <a:pt x="-10295" y="317906"/>
                  <a:pt x="1516" y="273456"/>
                  <a:pt x="36314" y="253391"/>
                </a:cubicBezTo>
                <a:lnTo>
                  <a:pt x="458081" y="9805"/>
                </a:lnTo>
                <a:cubicBezTo>
                  <a:pt x="467797" y="3836"/>
                  <a:pt x="477417" y="907"/>
                  <a:pt x="486900" y="183"/>
                </a:cubicBezTo>
                <a:close/>
              </a:path>
            </a:pathLst>
          </a:custGeom>
          <a:solidFill>
            <a:schemeClr val="accent1"/>
          </a:solidFill>
          <a:ln w="3175">
            <a:solidFill>
              <a:schemeClr val="accent1"/>
            </a:solidFill>
          </a:ln>
        </p:spPr>
        <p:txBody>
          <a:bodyPr vert="horz" wrap="square" lIns="0" tIns="0" rIns="288000" bIns="252000" rtlCol="0" anchor="b" anchorCtr="0">
            <a:noAutofit/>
          </a:bodyPr>
          <a:lstStyle>
            <a:lvl1pPr algn="r">
              <a:defRPr sz="1600">
                <a:solidFill>
                  <a:schemeClr val="bg1"/>
                </a:solidFill>
                <a:latin typeface="Barlow Black" panose="00000A00000000000000" pitchFamily="2" charset="0"/>
              </a:defRPr>
            </a:lvl1pPr>
          </a:lstStyle>
          <a:p>
            <a:fld id="{44661A95-0089-4306-9485-D330C59FE3ED}" type="slidenum">
              <a:rPr lang="en-GB" smtClean="0"/>
              <a:pPr/>
              <a:t>‹#›</a:t>
            </a:fld>
            <a:endParaRPr lang="en-GB"/>
          </a:p>
        </p:txBody>
      </p:sp>
      <p:sp>
        <p:nvSpPr>
          <p:cNvPr id="3" name="Freihandform: Form 459">
            <a:extLst>
              <a:ext uri="{FF2B5EF4-FFF2-40B4-BE49-F238E27FC236}">
                <a16:creationId xmlns:a16="http://schemas.microsoft.com/office/drawing/2014/main" id="{FA9EAC26-6494-B398-DA3F-E64DA47411A9}"/>
              </a:ext>
            </a:extLst>
          </p:cNvPr>
          <p:cNvSpPr txBox="1">
            <a:spLocks/>
          </p:cNvSpPr>
          <p:nvPr/>
        </p:nvSpPr>
        <p:spPr bwMode="gray">
          <a:xfrm>
            <a:off x="5799250" y="296863"/>
            <a:ext cx="529200" cy="288000"/>
          </a:xfrm>
          <a:custGeom>
            <a:avLst/>
            <a:gdLst>
              <a:gd name="connsiteX0" fmla="*/ 471895 w 4139828"/>
              <a:gd name="connsiteY0" fmla="*/ 507 h 2242189"/>
              <a:gd name="connsiteX1" fmla="*/ 1132548 w 4139828"/>
              <a:gd name="connsiteY1" fmla="*/ 507 h 2242189"/>
              <a:gd name="connsiteX2" fmla="*/ 1179737 w 4139828"/>
              <a:gd name="connsiteY2" fmla="*/ 47691 h 2242189"/>
              <a:gd name="connsiteX3" fmla="*/ 1179737 w 4139828"/>
              <a:gd name="connsiteY3" fmla="*/ 425671 h 2242189"/>
              <a:gd name="connsiteX4" fmla="*/ 1132548 w 4139828"/>
              <a:gd name="connsiteY4" fmla="*/ 472855 h 2242189"/>
              <a:gd name="connsiteX5" fmla="*/ 659508 w 4139828"/>
              <a:gd name="connsiteY5" fmla="*/ 472855 h 2242189"/>
              <a:gd name="connsiteX6" fmla="*/ 470750 w 4139828"/>
              <a:gd name="connsiteY6" fmla="*/ 661591 h 2242189"/>
              <a:gd name="connsiteX7" fmla="*/ 470750 w 4139828"/>
              <a:gd name="connsiteY7" fmla="*/ 728742 h 2242189"/>
              <a:gd name="connsiteX8" fmla="*/ 494281 w 4139828"/>
              <a:gd name="connsiteY8" fmla="*/ 752270 h 2242189"/>
              <a:gd name="connsiteX9" fmla="*/ 800059 w 4139828"/>
              <a:gd name="connsiteY9" fmla="*/ 752270 h 2242189"/>
              <a:gd name="connsiteX10" fmla="*/ 847248 w 4139828"/>
              <a:gd name="connsiteY10" fmla="*/ 799454 h 2242189"/>
              <a:gd name="connsiteX11" fmla="*/ 847248 w 4139828"/>
              <a:gd name="connsiteY11" fmla="*/ 1081668 h 2242189"/>
              <a:gd name="connsiteX12" fmla="*/ 800059 w 4139828"/>
              <a:gd name="connsiteY12" fmla="*/ 1128852 h 2242189"/>
              <a:gd name="connsiteX13" fmla="*/ 494281 w 4139828"/>
              <a:gd name="connsiteY13" fmla="*/ 1128852 h 2242189"/>
              <a:gd name="connsiteX14" fmla="*/ 470750 w 4139828"/>
              <a:gd name="connsiteY14" fmla="*/ 1152380 h 2242189"/>
              <a:gd name="connsiteX15" fmla="*/ 470750 w 4139828"/>
              <a:gd name="connsiteY15" fmla="*/ 1227671 h 2242189"/>
              <a:gd name="connsiteX16" fmla="*/ 659508 w 4139828"/>
              <a:gd name="connsiteY16" fmla="*/ 1416406 h 2242189"/>
              <a:gd name="connsiteX17" fmla="*/ 1297775 w 4139828"/>
              <a:gd name="connsiteY17" fmla="*/ 1416406 h 2242189"/>
              <a:gd name="connsiteX18" fmla="*/ 1297775 w 4139828"/>
              <a:gd name="connsiteY18" fmla="*/ 1413100 h 2242189"/>
              <a:gd name="connsiteX19" fmla="*/ 1297775 w 4139828"/>
              <a:gd name="connsiteY19" fmla="*/ 472728 h 2242189"/>
              <a:gd name="connsiteX20" fmla="*/ 1769797 w 4139828"/>
              <a:gd name="connsiteY20" fmla="*/ 889 h 2242189"/>
              <a:gd name="connsiteX21" fmla="*/ 2359729 w 4139828"/>
              <a:gd name="connsiteY21" fmla="*/ 889 h 2242189"/>
              <a:gd name="connsiteX22" fmla="*/ 2831624 w 4139828"/>
              <a:gd name="connsiteY22" fmla="*/ 472728 h 2242189"/>
              <a:gd name="connsiteX23" fmla="*/ 2831624 w 4139828"/>
              <a:gd name="connsiteY23" fmla="*/ 2195005 h 2242189"/>
              <a:gd name="connsiteX24" fmla="*/ 2784434 w 4139828"/>
              <a:gd name="connsiteY24" fmla="*/ 2242189 h 2242189"/>
              <a:gd name="connsiteX25" fmla="*/ 2408063 w 4139828"/>
              <a:gd name="connsiteY25" fmla="*/ 2242189 h 2242189"/>
              <a:gd name="connsiteX26" fmla="*/ 2360874 w 4139828"/>
              <a:gd name="connsiteY26" fmla="*/ 2195005 h 2242189"/>
              <a:gd name="connsiteX27" fmla="*/ 2360874 w 4139828"/>
              <a:gd name="connsiteY27" fmla="*/ 661336 h 2242189"/>
              <a:gd name="connsiteX28" fmla="*/ 2172116 w 4139828"/>
              <a:gd name="connsiteY28" fmla="*/ 472601 h 2242189"/>
              <a:gd name="connsiteX29" fmla="*/ 1957410 w 4139828"/>
              <a:gd name="connsiteY29" fmla="*/ 472601 h 2242189"/>
              <a:gd name="connsiteX30" fmla="*/ 1768652 w 4139828"/>
              <a:gd name="connsiteY30" fmla="*/ 661336 h 2242189"/>
              <a:gd name="connsiteX31" fmla="*/ 1768652 w 4139828"/>
              <a:gd name="connsiteY31" fmla="*/ 1227671 h 2242189"/>
              <a:gd name="connsiteX32" fmla="*/ 1957410 w 4139828"/>
              <a:gd name="connsiteY32" fmla="*/ 1416406 h 2242189"/>
              <a:gd name="connsiteX33" fmla="*/ 2219305 w 4139828"/>
              <a:gd name="connsiteY33" fmla="*/ 1416406 h 2242189"/>
              <a:gd name="connsiteX34" fmla="*/ 2242963 w 4139828"/>
              <a:gd name="connsiteY34" fmla="*/ 1439935 h 2242189"/>
              <a:gd name="connsiteX35" fmla="*/ 2242963 w 4139828"/>
              <a:gd name="connsiteY35" fmla="*/ 1864717 h 2242189"/>
              <a:gd name="connsiteX36" fmla="*/ 2219305 w 4139828"/>
              <a:gd name="connsiteY36" fmla="*/ 1888246 h 2242189"/>
              <a:gd name="connsiteX37" fmla="*/ 472022 w 4139828"/>
              <a:gd name="connsiteY37" fmla="*/ 1888246 h 2242189"/>
              <a:gd name="connsiteX38" fmla="*/ 0 w 4139828"/>
              <a:gd name="connsiteY38" fmla="*/ 1416406 h 2242189"/>
              <a:gd name="connsiteX39" fmla="*/ 0 w 4139828"/>
              <a:gd name="connsiteY39" fmla="*/ 472346 h 2242189"/>
              <a:gd name="connsiteX40" fmla="*/ 471895 w 4139828"/>
              <a:gd name="connsiteY40" fmla="*/ 507 h 2242189"/>
              <a:gd name="connsiteX41" fmla="*/ 3422701 w 4139828"/>
              <a:gd name="connsiteY41" fmla="*/ 0 h 2242189"/>
              <a:gd name="connsiteX42" fmla="*/ 4021918 w 4139828"/>
              <a:gd name="connsiteY42" fmla="*/ 0 h 2242189"/>
              <a:gd name="connsiteX43" fmla="*/ 4069108 w 4139828"/>
              <a:gd name="connsiteY43" fmla="*/ 47184 h 2242189"/>
              <a:gd name="connsiteX44" fmla="*/ 4069108 w 4139828"/>
              <a:gd name="connsiteY44" fmla="*/ 425546 h 2242189"/>
              <a:gd name="connsiteX45" fmla="*/ 4021918 w 4139828"/>
              <a:gd name="connsiteY45" fmla="*/ 472730 h 2242189"/>
              <a:gd name="connsiteX46" fmla="*/ 3532979 w 4139828"/>
              <a:gd name="connsiteY46" fmla="*/ 472730 h 2242189"/>
              <a:gd name="connsiteX47" fmla="*/ 3532852 w 4139828"/>
              <a:gd name="connsiteY47" fmla="*/ 472857 h 2242189"/>
              <a:gd name="connsiteX48" fmla="*/ 3488969 w 4139828"/>
              <a:gd name="connsiteY48" fmla="*/ 599147 h 2242189"/>
              <a:gd name="connsiteX49" fmla="*/ 3904008 w 4139828"/>
              <a:gd name="connsiteY49" fmla="*/ 927781 h 2242189"/>
              <a:gd name="connsiteX50" fmla="*/ 4139828 w 4139828"/>
              <a:gd name="connsiteY50" fmla="*/ 1415391 h 2242189"/>
              <a:gd name="connsiteX51" fmla="*/ 4001312 w 4139828"/>
              <a:gd name="connsiteY51" fmla="*/ 1749875 h 2242189"/>
              <a:gd name="connsiteX52" fmla="*/ 3666916 w 4139828"/>
              <a:gd name="connsiteY52" fmla="*/ 1888375 h 2242189"/>
              <a:gd name="connsiteX53" fmla="*/ 2973319 w 4139828"/>
              <a:gd name="connsiteY53" fmla="*/ 1888375 h 2242189"/>
              <a:gd name="connsiteX54" fmla="*/ 2949788 w 4139828"/>
              <a:gd name="connsiteY54" fmla="*/ 1864846 h 2242189"/>
              <a:gd name="connsiteX55" fmla="*/ 2949788 w 4139828"/>
              <a:gd name="connsiteY55" fmla="*/ 1439173 h 2242189"/>
              <a:gd name="connsiteX56" fmla="*/ 2973319 w 4139828"/>
              <a:gd name="connsiteY56" fmla="*/ 1415518 h 2242189"/>
              <a:gd name="connsiteX57" fmla="*/ 3556637 w 4139828"/>
              <a:gd name="connsiteY57" fmla="*/ 1415518 h 2242189"/>
              <a:gd name="connsiteX58" fmla="*/ 3600520 w 4139828"/>
              <a:gd name="connsiteY58" fmla="*/ 1289228 h 2242189"/>
              <a:gd name="connsiteX59" fmla="*/ 3185481 w 4139828"/>
              <a:gd name="connsiteY59" fmla="*/ 960594 h 2242189"/>
              <a:gd name="connsiteX60" fmla="*/ 2949661 w 4139828"/>
              <a:gd name="connsiteY60" fmla="*/ 472984 h 2242189"/>
              <a:gd name="connsiteX61" fmla="*/ 3422701 w 4139828"/>
              <a:gd name="connsiteY61" fmla="*/ 0 h 22421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4139828" h="2242189">
                <a:moveTo>
                  <a:pt x="471895" y="507"/>
                </a:moveTo>
                <a:lnTo>
                  <a:pt x="1132548" y="507"/>
                </a:lnTo>
                <a:cubicBezTo>
                  <a:pt x="1158623" y="507"/>
                  <a:pt x="1179737" y="21619"/>
                  <a:pt x="1179737" y="47691"/>
                </a:cubicBezTo>
                <a:lnTo>
                  <a:pt x="1179737" y="425671"/>
                </a:lnTo>
                <a:cubicBezTo>
                  <a:pt x="1179737" y="451743"/>
                  <a:pt x="1158623" y="472855"/>
                  <a:pt x="1132548" y="472855"/>
                </a:cubicBezTo>
                <a:lnTo>
                  <a:pt x="659508" y="472855"/>
                </a:lnTo>
                <a:cubicBezTo>
                  <a:pt x="555208" y="472855"/>
                  <a:pt x="470750" y="557303"/>
                  <a:pt x="470750" y="661591"/>
                </a:cubicBezTo>
                <a:lnTo>
                  <a:pt x="470750" y="728742"/>
                </a:lnTo>
                <a:cubicBezTo>
                  <a:pt x="470750" y="741714"/>
                  <a:pt x="481307" y="752270"/>
                  <a:pt x="494281" y="752270"/>
                </a:cubicBezTo>
                <a:lnTo>
                  <a:pt x="800059" y="752270"/>
                </a:lnTo>
                <a:cubicBezTo>
                  <a:pt x="826134" y="752270"/>
                  <a:pt x="847248" y="773382"/>
                  <a:pt x="847248" y="799454"/>
                </a:cubicBezTo>
                <a:lnTo>
                  <a:pt x="847248" y="1081668"/>
                </a:lnTo>
                <a:cubicBezTo>
                  <a:pt x="847248" y="1107740"/>
                  <a:pt x="826134" y="1128852"/>
                  <a:pt x="800059" y="1128852"/>
                </a:cubicBezTo>
                <a:lnTo>
                  <a:pt x="494281" y="1128852"/>
                </a:lnTo>
                <a:cubicBezTo>
                  <a:pt x="481307" y="1128852"/>
                  <a:pt x="470750" y="1139408"/>
                  <a:pt x="470750" y="1152380"/>
                </a:cubicBezTo>
                <a:lnTo>
                  <a:pt x="470750" y="1227671"/>
                </a:lnTo>
                <a:cubicBezTo>
                  <a:pt x="470750" y="1331832"/>
                  <a:pt x="555208" y="1416406"/>
                  <a:pt x="659508" y="1416406"/>
                </a:cubicBezTo>
                <a:lnTo>
                  <a:pt x="1297775" y="1416406"/>
                </a:lnTo>
                <a:cubicBezTo>
                  <a:pt x="1297775" y="1415389"/>
                  <a:pt x="1297775" y="1414244"/>
                  <a:pt x="1297775" y="1413100"/>
                </a:cubicBezTo>
                <a:lnTo>
                  <a:pt x="1297775" y="472728"/>
                </a:lnTo>
                <a:cubicBezTo>
                  <a:pt x="1297775" y="212135"/>
                  <a:pt x="1509173" y="889"/>
                  <a:pt x="1769797" y="889"/>
                </a:cubicBezTo>
                <a:lnTo>
                  <a:pt x="2359729" y="889"/>
                </a:lnTo>
                <a:cubicBezTo>
                  <a:pt x="2620352" y="889"/>
                  <a:pt x="2831624" y="212135"/>
                  <a:pt x="2831624" y="472728"/>
                </a:cubicBezTo>
                <a:lnTo>
                  <a:pt x="2831624" y="2195005"/>
                </a:lnTo>
                <a:cubicBezTo>
                  <a:pt x="2831624" y="2221077"/>
                  <a:pt x="2810509" y="2242189"/>
                  <a:pt x="2784434" y="2242189"/>
                </a:cubicBezTo>
                <a:lnTo>
                  <a:pt x="2408063" y="2242189"/>
                </a:lnTo>
                <a:cubicBezTo>
                  <a:pt x="2381988" y="2242189"/>
                  <a:pt x="2360874" y="2221077"/>
                  <a:pt x="2360874" y="2195005"/>
                </a:cubicBezTo>
                <a:lnTo>
                  <a:pt x="2360874" y="661336"/>
                </a:lnTo>
                <a:cubicBezTo>
                  <a:pt x="2360874" y="557176"/>
                  <a:pt x="2276289" y="472601"/>
                  <a:pt x="2172116" y="472601"/>
                </a:cubicBezTo>
                <a:lnTo>
                  <a:pt x="1957410" y="472601"/>
                </a:lnTo>
                <a:cubicBezTo>
                  <a:pt x="1853110" y="472601"/>
                  <a:pt x="1768652" y="557176"/>
                  <a:pt x="1768652" y="661336"/>
                </a:cubicBezTo>
                <a:lnTo>
                  <a:pt x="1768652" y="1227671"/>
                </a:lnTo>
                <a:cubicBezTo>
                  <a:pt x="1768652" y="1331832"/>
                  <a:pt x="1853110" y="1416406"/>
                  <a:pt x="1957410" y="1416406"/>
                </a:cubicBezTo>
                <a:lnTo>
                  <a:pt x="2219305" y="1416406"/>
                </a:lnTo>
                <a:cubicBezTo>
                  <a:pt x="2232406" y="1416406"/>
                  <a:pt x="2242963" y="1426962"/>
                  <a:pt x="2242963" y="1439935"/>
                </a:cubicBezTo>
                <a:lnTo>
                  <a:pt x="2242963" y="1864717"/>
                </a:lnTo>
                <a:cubicBezTo>
                  <a:pt x="2242963" y="1877690"/>
                  <a:pt x="2232406" y="1888246"/>
                  <a:pt x="2219305" y="1888246"/>
                </a:cubicBezTo>
                <a:lnTo>
                  <a:pt x="472022" y="1888246"/>
                </a:lnTo>
                <a:cubicBezTo>
                  <a:pt x="211272" y="1888246"/>
                  <a:pt x="0" y="1676999"/>
                  <a:pt x="0" y="1416406"/>
                </a:cubicBezTo>
                <a:lnTo>
                  <a:pt x="0" y="472346"/>
                </a:lnTo>
                <a:cubicBezTo>
                  <a:pt x="0" y="211754"/>
                  <a:pt x="211272" y="507"/>
                  <a:pt x="471895" y="507"/>
                </a:cubicBezTo>
                <a:close/>
                <a:moveTo>
                  <a:pt x="3422701" y="0"/>
                </a:moveTo>
                <a:lnTo>
                  <a:pt x="4021918" y="0"/>
                </a:lnTo>
                <a:cubicBezTo>
                  <a:pt x="4047993" y="0"/>
                  <a:pt x="4069108" y="21112"/>
                  <a:pt x="4069108" y="47184"/>
                </a:cubicBezTo>
                <a:lnTo>
                  <a:pt x="4069108" y="425546"/>
                </a:lnTo>
                <a:cubicBezTo>
                  <a:pt x="4069108" y="451618"/>
                  <a:pt x="4047993" y="472730"/>
                  <a:pt x="4021918" y="472730"/>
                </a:cubicBezTo>
                <a:lnTo>
                  <a:pt x="3532979" y="472730"/>
                </a:lnTo>
                <a:lnTo>
                  <a:pt x="3532852" y="472857"/>
                </a:lnTo>
                <a:cubicBezTo>
                  <a:pt x="3465693" y="472857"/>
                  <a:pt x="3436311" y="557432"/>
                  <a:pt x="3488969" y="599147"/>
                </a:cubicBezTo>
                <a:lnTo>
                  <a:pt x="3904008" y="927781"/>
                </a:lnTo>
                <a:cubicBezTo>
                  <a:pt x="4052954" y="1045804"/>
                  <a:pt x="4139828" y="1225383"/>
                  <a:pt x="4139828" y="1415391"/>
                </a:cubicBezTo>
                <a:cubicBezTo>
                  <a:pt x="4139828" y="1546005"/>
                  <a:pt x="4086915" y="1664156"/>
                  <a:pt x="4001312" y="1749875"/>
                </a:cubicBezTo>
                <a:cubicBezTo>
                  <a:pt x="3915710" y="1835468"/>
                  <a:pt x="3797418" y="1888375"/>
                  <a:pt x="3666916" y="1888375"/>
                </a:cubicBezTo>
                <a:lnTo>
                  <a:pt x="2973319" y="1888375"/>
                </a:lnTo>
                <a:cubicBezTo>
                  <a:pt x="2960346" y="1888375"/>
                  <a:pt x="2949788" y="1877819"/>
                  <a:pt x="2949788" y="1864846"/>
                </a:cubicBezTo>
                <a:lnTo>
                  <a:pt x="2949788" y="1439173"/>
                </a:lnTo>
                <a:cubicBezTo>
                  <a:pt x="2949788" y="1426201"/>
                  <a:pt x="2960346" y="1415518"/>
                  <a:pt x="2973319" y="1415518"/>
                </a:cubicBezTo>
                <a:lnTo>
                  <a:pt x="3556637" y="1415518"/>
                </a:lnTo>
                <a:cubicBezTo>
                  <a:pt x="3623797" y="1415518"/>
                  <a:pt x="3653179" y="1330943"/>
                  <a:pt x="3600520" y="1289228"/>
                </a:cubicBezTo>
                <a:lnTo>
                  <a:pt x="3185481" y="960594"/>
                </a:lnTo>
                <a:cubicBezTo>
                  <a:pt x="3036535" y="842570"/>
                  <a:pt x="2949661" y="662991"/>
                  <a:pt x="2949661" y="472984"/>
                </a:cubicBezTo>
                <a:cubicBezTo>
                  <a:pt x="2949661" y="211755"/>
                  <a:pt x="3161441" y="0"/>
                  <a:pt x="3422701" y="0"/>
                </a:cubicBezTo>
                <a:close/>
              </a:path>
            </a:pathLst>
          </a:custGeom>
          <a:solidFill>
            <a:srgbClr val="E50F46"/>
          </a:solidFill>
          <a:ln w="127">
            <a:solidFill>
              <a:schemeClr val="bg1">
                <a:alpha val="0"/>
              </a:schemeClr>
            </a:solidFill>
          </a:ln>
        </p:spPr>
        <p:txBody>
          <a:bodyPr wrap="square">
            <a:noAutofit/>
          </a:bodyPr>
          <a:lstStyle>
            <a:lvl1pPr marL="0" indent="0" algn="l" defTabSz="914400" rtl="0" eaLnBrk="1" latinLnBrk="0" hangingPunct="1">
              <a:lnSpc>
                <a:spcPct val="110000"/>
              </a:lnSpc>
              <a:spcBef>
                <a:spcPts val="600"/>
              </a:spcBef>
              <a:spcAft>
                <a:spcPts val="600"/>
              </a:spcAft>
              <a:buFont typeface="Arial" panose="020B0604020202020204" pitchFamily="34" charset="0"/>
              <a:buNone/>
              <a:defRPr sz="2000" b="1" kern="1200">
                <a:solidFill>
                  <a:schemeClr val="tx1"/>
                </a:solidFill>
                <a:latin typeface="+mj-lt"/>
                <a:ea typeface="+mn-ea"/>
                <a:cs typeface="+mn-cs"/>
              </a:defRPr>
            </a:lvl1pPr>
            <a:lvl2pPr marL="0" indent="0" algn="l" defTabSz="914400" rtl="0" eaLnBrk="1" latinLnBrk="0" hangingPunct="1">
              <a:lnSpc>
                <a:spcPct val="110000"/>
              </a:lnSpc>
              <a:spcBef>
                <a:spcPts val="600"/>
              </a:spcBef>
              <a:spcAft>
                <a:spcPts val="600"/>
              </a:spcAft>
              <a:buFont typeface="Arial" panose="020B0604020202020204" pitchFamily="34" charset="0"/>
              <a:buNone/>
              <a:defRPr sz="2000" kern="1200">
                <a:solidFill>
                  <a:schemeClr val="tx1"/>
                </a:solidFill>
                <a:latin typeface="+mn-lt"/>
                <a:ea typeface="+mn-ea"/>
                <a:cs typeface="+mn-cs"/>
              </a:defRPr>
            </a:lvl2pPr>
            <a:lvl3pPr marL="361950" indent="-361950" algn="l" defTabSz="914400" rtl="0" eaLnBrk="1" latinLnBrk="0" hangingPunct="1">
              <a:lnSpc>
                <a:spcPct val="110000"/>
              </a:lnSpc>
              <a:spcBef>
                <a:spcPts val="600"/>
              </a:spcBef>
              <a:spcAft>
                <a:spcPts val="600"/>
              </a:spcAft>
              <a:buClr>
                <a:schemeClr val="accent1"/>
              </a:buClr>
              <a:buFontTx/>
              <a:buBlip>
                <a:blip r:embed="rId2"/>
              </a:buBlip>
              <a:defRPr sz="2000" kern="1200">
                <a:solidFill>
                  <a:schemeClr val="tx1"/>
                </a:solidFill>
                <a:latin typeface="+mn-lt"/>
                <a:ea typeface="+mn-ea"/>
                <a:cs typeface="+mn-cs"/>
              </a:defRPr>
            </a:lvl3pPr>
            <a:lvl4pPr marL="714375" indent="-352425" algn="l" defTabSz="914400" rtl="0" eaLnBrk="1" latinLnBrk="0" hangingPunct="1">
              <a:lnSpc>
                <a:spcPct val="110000"/>
              </a:lnSpc>
              <a:spcBef>
                <a:spcPts val="600"/>
              </a:spcBef>
              <a:spcAft>
                <a:spcPts val="600"/>
              </a:spcAft>
              <a:buClr>
                <a:schemeClr val="accent1"/>
              </a:buClr>
              <a:buFontTx/>
              <a:buBlip>
                <a:blip r:embed="rId2"/>
              </a:buBlip>
              <a:defRPr sz="2000" kern="1200">
                <a:solidFill>
                  <a:schemeClr val="tx1"/>
                </a:solidFill>
                <a:latin typeface="+mn-lt"/>
                <a:ea typeface="+mn-ea"/>
                <a:cs typeface="+mn-cs"/>
              </a:defRPr>
            </a:lvl4pPr>
            <a:lvl5pPr marL="0" indent="0" algn="l" defTabSz="914400" rtl="0" eaLnBrk="1" latinLnBrk="0" hangingPunct="1">
              <a:lnSpc>
                <a:spcPct val="110000"/>
              </a:lnSpc>
              <a:spcBef>
                <a:spcPts val="600"/>
              </a:spcBef>
              <a:spcAft>
                <a:spcPts val="600"/>
              </a:spcAft>
              <a:buClr>
                <a:schemeClr val="accent1"/>
              </a:buClr>
              <a:buFont typeface="Arial" panose="020B0604020202020204" pitchFamily="34" charset="0"/>
              <a:buNone/>
              <a:defRPr sz="2500" kern="1200">
                <a:solidFill>
                  <a:schemeClr val="tx1"/>
                </a:solidFill>
                <a:latin typeface="+mn-lt"/>
                <a:ea typeface="+mn-ea"/>
                <a:cs typeface="+mn-cs"/>
              </a:defRPr>
            </a:lvl5pPr>
            <a:lvl6pPr marL="361950" indent="-361950" algn="l" defTabSz="914400" rtl="0" eaLnBrk="1" latinLnBrk="0" hangingPunct="1">
              <a:lnSpc>
                <a:spcPct val="110000"/>
              </a:lnSpc>
              <a:spcBef>
                <a:spcPts val="600"/>
              </a:spcBef>
              <a:spcAft>
                <a:spcPts val="600"/>
              </a:spcAft>
              <a:buClr>
                <a:schemeClr val="accent1"/>
              </a:buClr>
              <a:buFontTx/>
              <a:buBlip>
                <a:blip r:embed="rId2"/>
              </a:buBlip>
              <a:defRPr sz="2500" kern="1200">
                <a:solidFill>
                  <a:schemeClr val="tx1"/>
                </a:solidFill>
                <a:latin typeface="+mn-lt"/>
                <a:ea typeface="+mn-ea"/>
                <a:cs typeface="+mn-cs"/>
              </a:defRPr>
            </a:lvl6pPr>
            <a:lvl7pPr marL="360000" indent="-360000" algn="l" defTabSz="914400" rtl="0" eaLnBrk="1" latinLnBrk="0" hangingPunct="1">
              <a:lnSpc>
                <a:spcPct val="110000"/>
              </a:lnSpc>
              <a:spcBef>
                <a:spcPts val="600"/>
              </a:spcBef>
              <a:spcAft>
                <a:spcPts val="600"/>
              </a:spcAft>
              <a:buClr>
                <a:schemeClr val="accent1"/>
              </a:buClr>
              <a:buFont typeface="+mj-lt"/>
              <a:buAutoNum type="arabicPeriod"/>
              <a:defRPr sz="2000" kern="1200">
                <a:solidFill>
                  <a:schemeClr val="tx1"/>
                </a:solidFill>
                <a:latin typeface="+mn-lt"/>
                <a:ea typeface="+mn-ea"/>
                <a:cs typeface="+mn-cs"/>
              </a:defRPr>
            </a:lvl7pPr>
            <a:lvl8pPr marL="714375" indent="-354013" algn="l" defTabSz="914400" rtl="0" eaLnBrk="1" latinLnBrk="0" hangingPunct="1">
              <a:lnSpc>
                <a:spcPct val="110000"/>
              </a:lnSpc>
              <a:spcBef>
                <a:spcPts val="600"/>
              </a:spcBef>
              <a:spcAft>
                <a:spcPts val="600"/>
              </a:spcAft>
              <a:buClr>
                <a:schemeClr val="accent1"/>
              </a:buClr>
              <a:buFontTx/>
              <a:buBlip>
                <a:blip r:embed="rId2"/>
              </a:buBlip>
              <a:defRPr sz="2000" kern="1200">
                <a:solidFill>
                  <a:schemeClr val="tx1"/>
                </a:solidFill>
                <a:latin typeface="+mn-lt"/>
                <a:ea typeface="+mn-ea"/>
                <a:cs typeface="+mn-cs"/>
              </a:defRPr>
            </a:lvl8pPr>
            <a:lvl9pPr marL="1076325" indent="-361950" algn="l" defTabSz="914400" rtl="0" eaLnBrk="1" latinLnBrk="0" hangingPunct="1">
              <a:lnSpc>
                <a:spcPct val="110000"/>
              </a:lnSpc>
              <a:spcBef>
                <a:spcPts val="600"/>
              </a:spcBef>
              <a:spcAft>
                <a:spcPts val="600"/>
              </a:spcAft>
              <a:buClr>
                <a:schemeClr val="accent1"/>
              </a:buClr>
              <a:buFontTx/>
              <a:buBlip>
                <a:blip r:embed="rId2"/>
              </a:buBlip>
              <a:defRPr sz="2000" kern="1200">
                <a:solidFill>
                  <a:schemeClr val="tx1"/>
                </a:solidFill>
                <a:latin typeface="+mn-lt"/>
                <a:ea typeface="+mn-ea"/>
                <a:cs typeface="+mn-cs"/>
              </a:defRPr>
            </a:lvl9pPr>
          </a:lstStyle>
          <a:p>
            <a:r>
              <a:rPr lang="de-DE"/>
              <a:t> </a:t>
            </a:r>
          </a:p>
        </p:txBody>
      </p:sp>
    </p:spTree>
    <p:extLst>
      <p:ext uri="{BB962C8B-B14F-4D97-AF65-F5344CB8AC3E}">
        <p14:creationId xmlns:p14="http://schemas.microsoft.com/office/powerpoint/2010/main" val="1018705583"/>
      </p:ext>
    </p:extLst>
  </p:cSld>
  <p:clrMap bg1="lt1" tx1="dk1" bg2="lt2" tx2="dk2" accent1="accent1" accent2="accent2" accent3="accent3" accent4="accent4" accent5="accent5" accent6="accent6" hlink="hlink" folHlink="folHlink"/>
  <p:hf hdr="0" dt="0"/>
  <p:extLst>
    <p:ext uri="{56416CCD-93CA-4268-BC5B-53C4BB910035}">
      <p15:sldGuideLst xmlns:p15="http://schemas.microsoft.com/office/powerpoint/2012/main">
        <p15:guide id="1" orient="horz" pos="3126" userDrawn="1">
          <p15:clr>
            <a:srgbClr val="F26B43"/>
          </p15:clr>
        </p15:guide>
        <p15:guide id="2" pos="2141" userDrawn="1">
          <p15:clr>
            <a:srgbClr val="F26B43"/>
          </p15:clr>
        </p15:guide>
      </p15:sldGuideLst>
    </p:ext>
  </p:extLst>
</p:handoutMaster>
</file>

<file path=ppt/notesMasters/_rels/notesMaster1.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Folienbildplatzhalter 3"/>
          <p:cNvSpPr>
            <a:spLocks noGrp="1" noRot="1" noChangeAspect="1"/>
          </p:cNvSpPr>
          <p:nvPr>
            <p:ph type="sldImg" idx="2"/>
          </p:nvPr>
        </p:nvSpPr>
        <p:spPr>
          <a:xfrm>
            <a:off x="446509" y="898525"/>
            <a:ext cx="4687888" cy="2638425"/>
          </a:xfrm>
          <a:prstGeom prst="rect">
            <a:avLst/>
          </a:prstGeom>
          <a:noFill/>
          <a:ln w="6350">
            <a:solidFill>
              <a:schemeClr val="bg2"/>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472479" y="3868922"/>
            <a:ext cx="5852067" cy="5158725"/>
          </a:xfrm>
          <a:prstGeom prst="rect">
            <a:avLst/>
          </a:prstGeom>
        </p:spPr>
        <p:txBody>
          <a:bodyPr vert="horz" lIns="0" tIns="0" rIns="0" bIns="0" rtlCol="0"/>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p>
          <a:p>
            <a:pPr lvl="5"/>
            <a:r>
              <a:rPr lang="de-DE"/>
              <a:t>6</a:t>
            </a:r>
          </a:p>
          <a:p>
            <a:pPr lvl="6"/>
            <a:r>
              <a:rPr lang="de-DE"/>
              <a:t>7</a:t>
            </a:r>
          </a:p>
          <a:p>
            <a:pPr lvl="7"/>
            <a:r>
              <a:rPr lang="de-DE"/>
              <a:t>8</a:t>
            </a:r>
          </a:p>
          <a:p>
            <a:pPr lvl="8"/>
            <a:r>
              <a:rPr lang="de-DE"/>
              <a:t>9</a:t>
            </a:r>
          </a:p>
        </p:txBody>
      </p:sp>
      <p:sp>
        <p:nvSpPr>
          <p:cNvPr id="8" name="Fußzeilenplatzhalter 4"/>
          <p:cNvSpPr>
            <a:spLocks noGrp="1"/>
          </p:cNvSpPr>
          <p:nvPr>
            <p:ph type="ftr" sz="quarter" idx="4"/>
          </p:nvPr>
        </p:nvSpPr>
        <p:spPr>
          <a:xfrm>
            <a:off x="472479" y="361154"/>
            <a:ext cx="4282000" cy="234488"/>
          </a:xfrm>
          <a:prstGeom prst="rect">
            <a:avLst/>
          </a:prstGeom>
        </p:spPr>
        <p:txBody>
          <a:bodyPr vert="horz" lIns="0" tIns="0" rIns="0" bIns="36000" rtlCol="0" anchor="b">
            <a:noAutofit/>
          </a:bodyPr>
          <a:lstStyle>
            <a:lvl1pPr algn="l">
              <a:defRPr sz="1000">
                <a:solidFill>
                  <a:schemeClr val="tx1"/>
                </a:solidFill>
                <a:latin typeface="Ubuntu" panose="020B0504030602030204" pitchFamily="34" charset="0"/>
              </a:defRPr>
            </a:lvl1pPr>
          </a:lstStyle>
          <a:p>
            <a:r>
              <a:rPr lang="en-US"/>
              <a:t>Theme of the presentation   |   dd.mm.yyyy</a:t>
            </a:r>
            <a:endParaRPr lang="de-DE"/>
          </a:p>
        </p:txBody>
      </p:sp>
      <p:sp>
        <p:nvSpPr>
          <p:cNvPr id="2" name="Foliennummernplatzhalter 287">
            <a:extLst>
              <a:ext uri="{FF2B5EF4-FFF2-40B4-BE49-F238E27FC236}">
                <a16:creationId xmlns:a16="http://schemas.microsoft.com/office/drawing/2014/main" id="{EEC01AA4-F0EB-661A-BBDA-97D67A615F5D}"/>
              </a:ext>
            </a:extLst>
          </p:cNvPr>
          <p:cNvSpPr>
            <a:spLocks noGrp="1"/>
          </p:cNvSpPr>
          <p:nvPr>
            <p:ph type="sldNum" sz="quarter" idx="5"/>
          </p:nvPr>
        </p:nvSpPr>
        <p:spPr bwMode="gray">
          <a:xfrm>
            <a:off x="5963674" y="9146325"/>
            <a:ext cx="834001" cy="780313"/>
          </a:xfrm>
          <a:custGeom>
            <a:avLst/>
            <a:gdLst>
              <a:gd name="connsiteX0" fmla="*/ 486900 w 834001"/>
              <a:gd name="connsiteY0" fmla="*/ 183 h 780313"/>
              <a:gd name="connsiteX1" fmla="*/ 567428 w 834001"/>
              <a:gd name="connsiteY1" fmla="*/ 30632 h 780313"/>
              <a:gd name="connsiteX2" fmla="*/ 683759 w 834001"/>
              <a:gd name="connsiteY2" fmla="*/ 96292 h 780313"/>
              <a:gd name="connsiteX3" fmla="*/ 834001 w 834001"/>
              <a:gd name="connsiteY3" fmla="*/ 181000 h 780313"/>
              <a:gd name="connsiteX4" fmla="*/ 834001 w 834001"/>
              <a:gd name="connsiteY4" fmla="*/ 780313 h 780313"/>
              <a:gd name="connsiteX5" fmla="*/ 256913 w 834001"/>
              <a:gd name="connsiteY5" fmla="*/ 780313 h 780313"/>
              <a:gd name="connsiteX6" fmla="*/ 253230 w 834001"/>
              <a:gd name="connsiteY6" fmla="*/ 774345 h 780313"/>
              <a:gd name="connsiteX7" fmla="*/ 9770 w 834001"/>
              <a:gd name="connsiteY7" fmla="*/ 352577 h 780313"/>
              <a:gd name="connsiteX8" fmla="*/ 36314 w 834001"/>
              <a:gd name="connsiteY8" fmla="*/ 253391 h 780313"/>
              <a:gd name="connsiteX9" fmla="*/ 458081 w 834001"/>
              <a:gd name="connsiteY9" fmla="*/ 9805 h 780313"/>
              <a:gd name="connsiteX10" fmla="*/ 486900 w 834001"/>
              <a:gd name="connsiteY10" fmla="*/ 183 h 7803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34001" h="780313">
                <a:moveTo>
                  <a:pt x="486900" y="183"/>
                </a:moveTo>
                <a:cubicBezTo>
                  <a:pt x="515350" y="-1990"/>
                  <a:pt x="542568" y="15679"/>
                  <a:pt x="567428" y="30632"/>
                </a:cubicBezTo>
                <a:cubicBezTo>
                  <a:pt x="606290" y="52476"/>
                  <a:pt x="645025" y="74320"/>
                  <a:pt x="683759" y="96292"/>
                </a:cubicBezTo>
                <a:cubicBezTo>
                  <a:pt x="733925" y="124486"/>
                  <a:pt x="783963" y="152806"/>
                  <a:pt x="834001" y="181000"/>
                </a:cubicBezTo>
                <a:lnTo>
                  <a:pt x="834001" y="780313"/>
                </a:lnTo>
                <a:lnTo>
                  <a:pt x="256913" y="780313"/>
                </a:lnTo>
                <a:cubicBezTo>
                  <a:pt x="255643" y="778409"/>
                  <a:pt x="254372" y="776504"/>
                  <a:pt x="253230" y="774345"/>
                </a:cubicBezTo>
                <a:lnTo>
                  <a:pt x="9770" y="352577"/>
                </a:lnTo>
                <a:cubicBezTo>
                  <a:pt x="-10295" y="317906"/>
                  <a:pt x="1516" y="273456"/>
                  <a:pt x="36314" y="253391"/>
                </a:cubicBezTo>
                <a:lnTo>
                  <a:pt x="458081" y="9805"/>
                </a:lnTo>
                <a:cubicBezTo>
                  <a:pt x="467797" y="3836"/>
                  <a:pt x="477417" y="907"/>
                  <a:pt x="486900" y="183"/>
                </a:cubicBezTo>
                <a:close/>
              </a:path>
            </a:pathLst>
          </a:custGeom>
          <a:solidFill>
            <a:schemeClr val="accent1"/>
          </a:solidFill>
          <a:ln w="3175">
            <a:solidFill>
              <a:schemeClr val="accent1"/>
            </a:solidFill>
          </a:ln>
        </p:spPr>
        <p:txBody>
          <a:bodyPr vert="horz" wrap="square" lIns="0" tIns="0" rIns="288000" bIns="252000" rtlCol="0" anchor="b" anchorCtr="0">
            <a:noAutofit/>
          </a:bodyPr>
          <a:lstStyle>
            <a:lvl1pPr algn="r">
              <a:defRPr sz="1600">
                <a:solidFill>
                  <a:schemeClr val="bg1"/>
                </a:solidFill>
                <a:latin typeface="Barlow Black" panose="00000A00000000000000" pitchFamily="2" charset="0"/>
              </a:defRPr>
            </a:lvl1pPr>
          </a:lstStyle>
          <a:p>
            <a:fld id="{44661A95-0089-4306-9485-D330C59FE3ED}" type="slidenum">
              <a:rPr lang="en-GB" smtClean="0"/>
              <a:pPr/>
              <a:t>‹#›</a:t>
            </a:fld>
            <a:endParaRPr lang="en-GB"/>
          </a:p>
        </p:txBody>
      </p:sp>
      <p:sp>
        <p:nvSpPr>
          <p:cNvPr id="3" name="Freihandform: Form 459">
            <a:extLst>
              <a:ext uri="{FF2B5EF4-FFF2-40B4-BE49-F238E27FC236}">
                <a16:creationId xmlns:a16="http://schemas.microsoft.com/office/drawing/2014/main" id="{86877E8E-393D-6C13-A638-8171E5B34E34}"/>
              </a:ext>
            </a:extLst>
          </p:cNvPr>
          <p:cNvSpPr txBox="1">
            <a:spLocks/>
          </p:cNvSpPr>
          <p:nvPr/>
        </p:nvSpPr>
        <p:spPr bwMode="gray">
          <a:xfrm>
            <a:off x="5799250" y="296863"/>
            <a:ext cx="529200" cy="288000"/>
          </a:xfrm>
          <a:custGeom>
            <a:avLst/>
            <a:gdLst>
              <a:gd name="connsiteX0" fmla="*/ 471895 w 4139828"/>
              <a:gd name="connsiteY0" fmla="*/ 507 h 2242189"/>
              <a:gd name="connsiteX1" fmla="*/ 1132548 w 4139828"/>
              <a:gd name="connsiteY1" fmla="*/ 507 h 2242189"/>
              <a:gd name="connsiteX2" fmla="*/ 1179737 w 4139828"/>
              <a:gd name="connsiteY2" fmla="*/ 47691 h 2242189"/>
              <a:gd name="connsiteX3" fmla="*/ 1179737 w 4139828"/>
              <a:gd name="connsiteY3" fmla="*/ 425671 h 2242189"/>
              <a:gd name="connsiteX4" fmla="*/ 1132548 w 4139828"/>
              <a:gd name="connsiteY4" fmla="*/ 472855 h 2242189"/>
              <a:gd name="connsiteX5" fmla="*/ 659508 w 4139828"/>
              <a:gd name="connsiteY5" fmla="*/ 472855 h 2242189"/>
              <a:gd name="connsiteX6" fmla="*/ 470750 w 4139828"/>
              <a:gd name="connsiteY6" fmla="*/ 661591 h 2242189"/>
              <a:gd name="connsiteX7" fmla="*/ 470750 w 4139828"/>
              <a:gd name="connsiteY7" fmla="*/ 728742 h 2242189"/>
              <a:gd name="connsiteX8" fmla="*/ 494281 w 4139828"/>
              <a:gd name="connsiteY8" fmla="*/ 752270 h 2242189"/>
              <a:gd name="connsiteX9" fmla="*/ 800059 w 4139828"/>
              <a:gd name="connsiteY9" fmla="*/ 752270 h 2242189"/>
              <a:gd name="connsiteX10" fmla="*/ 847248 w 4139828"/>
              <a:gd name="connsiteY10" fmla="*/ 799454 h 2242189"/>
              <a:gd name="connsiteX11" fmla="*/ 847248 w 4139828"/>
              <a:gd name="connsiteY11" fmla="*/ 1081668 h 2242189"/>
              <a:gd name="connsiteX12" fmla="*/ 800059 w 4139828"/>
              <a:gd name="connsiteY12" fmla="*/ 1128852 h 2242189"/>
              <a:gd name="connsiteX13" fmla="*/ 494281 w 4139828"/>
              <a:gd name="connsiteY13" fmla="*/ 1128852 h 2242189"/>
              <a:gd name="connsiteX14" fmla="*/ 470750 w 4139828"/>
              <a:gd name="connsiteY14" fmla="*/ 1152380 h 2242189"/>
              <a:gd name="connsiteX15" fmla="*/ 470750 w 4139828"/>
              <a:gd name="connsiteY15" fmla="*/ 1227671 h 2242189"/>
              <a:gd name="connsiteX16" fmla="*/ 659508 w 4139828"/>
              <a:gd name="connsiteY16" fmla="*/ 1416406 h 2242189"/>
              <a:gd name="connsiteX17" fmla="*/ 1297775 w 4139828"/>
              <a:gd name="connsiteY17" fmla="*/ 1416406 h 2242189"/>
              <a:gd name="connsiteX18" fmla="*/ 1297775 w 4139828"/>
              <a:gd name="connsiteY18" fmla="*/ 1413100 h 2242189"/>
              <a:gd name="connsiteX19" fmla="*/ 1297775 w 4139828"/>
              <a:gd name="connsiteY19" fmla="*/ 472728 h 2242189"/>
              <a:gd name="connsiteX20" fmla="*/ 1769797 w 4139828"/>
              <a:gd name="connsiteY20" fmla="*/ 889 h 2242189"/>
              <a:gd name="connsiteX21" fmla="*/ 2359729 w 4139828"/>
              <a:gd name="connsiteY21" fmla="*/ 889 h 2242189"/>
              <a:gd name="connsiteX22" fmla="*/ 2831624 w 4139828"/>
              <a:gd name="connsiteY22" fmla="*/ 472728 h 2242189"/>
              <a:gd name="connsiteX23" fmla="*/ 2831624 w 4139828"/>
              <a:gd name="connsiteY23" fmla="*/ 2195005 h 2242189"/>
              <a:gd name="connsiteX24" fmla="*/ 2784434 w 4139828"/>
              <a:gd name="connsiteY24" fmla="*/ 2242189 h 2242189"/>
              <a:gd name="connsiteX25" fmla="*/ 2408063 w 4139828"/>
              <a:gd name="connsiteY25" fmla="*/ 2242189 h 2242189"/>
              <a:gd name="connsiteX26" fmla="*/ 2360874 w 4139828"/>
              <a:gd name="connsiteY26" fmla="*/ 2195005 h 2242189"/>
              <a:gd name="connsiteX27" fmla="*/ 2360874 w 4139828"/>
              <a:gd name="connsiteY27" fmla="*/ 661336 h 2242189"/>
              <a:gd name="connsiteX28" fmla="*/ 2172116 w 4139828"/>
              <a:gd name="connsiteY28" fmla="*/ 472601 h 2242189"/>
              <a:gd name="connsiteX29" fmla="*/ 1957410 w 4139828"/>
              <a:gd name="connsiteY29" fmla="*/ 472601 h 2242189"/>
              <a:gd name="connsiteX30" fmla="*/ 1768652 w 4139828"/>
              <a:gd name="connsiteY30" fmla="*/ 661336 h 2242189"/>
              <a:gd name="connsiteX31" fmla="*/ 1768652 w 4139828"/>
              <a:gd name="connsiteY31" fmla="*/ 1227671 h 2242189"/>
              <a:gd name="connsiteX32" fmla="*/ 1957410 w 4139828"/>
              <a:gd name="connsiteY32" fmla="*/ 1416406 h 2242189"/>
              <a:gd name="connsiteX33" fmla="*/ 2219305 w 4139828"/>
              <a:gd name="connsiteY33" fmla="*/ 1416406 h 2242189"/>
              <a:gd name="connsiteX34" fmla="*/ 2242963 w 4139828"/>
              <a:gd name="connsiteY34" fmla="*/ 1439935 h 2242189"/>
              <a:gd name="connsiteX35" fmla="*/ 2242963 w 4139828"/>
              <a:gd name="connsiteY35" fmla="*/ 1864717 h 2242189"/>
              <a:gd name="connsiteX36" fmla="*/ 2219305 w 4139828"/>
              <a:gd name="connsiteY36" fmla="*/ 1888246 h 2242189"/>
              <a:gd name="connsiteX37" fmla="*/ 472022 w 4139828"/>
              <a:gd name="connsiteY37" fmla="*/ 1888246 h 2242189"/>
              <a:gd name="connsiteX38" fmla="*/ 0 w 4139828"/>
              <a:gd name="connsiteY38" fmla="*/ 1416406 h 2242189"/>
              <a:gd name="connsiteX39" fmla="*/ 0 w 4139828"/>
              <a:gd name="connsiteY39" fmla="*/ 472346 h 2242189"/>
              <a:gd name="connsiteX40" fmla="*/ 471895 w 4139828"/>
              <a:gd name="connsiteY40" fmla="*/ 507 h 2242189"/>
              <a:gd name="connsiteX41" fmla="*/ 3422701 w 4139828"/>
              <a:gd name="connsiteY41" fmla="*/ 0 h 2242189"/>
              <a:gd name="connsiteX42" fmla="*/ 4021918 w 4139828"/>
              <a:gd name="connsiteY42" fmla="*/ 0 h 2242189"/>
              <a:gd name="connsiteX43" fmla="*/ 4069108 w 4139828"/>
              <a:gd name="connsiteY43" fmla="*/ 47184 h 2242189"/>
              <a:gd name="connsiteX44" fmla="*/ 4069108 w 4139828"/>
              <a:gd name="connsiteY44" fmla="*/ 425546 h 2242189"/>
              <a:gd name="connsiteX45" fmla="*/ 4021918 w 4139828"/>
              <a:gd name="connsiteY45" fmla="*/ 472730 h 2242189"/>
              <a:gd name="connsiteX46" fmla="*/ 3532979 w 4139828"/>
              <a:gd name="connsiteY46" fmla="*/ 472730 h 2242189"/>
              <a:gd name="connsiteX47" fmla="*/ 3532852 w 4139828"/>
              <a:gd name="connsiteY47" fmla="*/ 472857 h 2242189"/>
              <a:gd name="connsiteX48" fmla="*/ 3488969 w 4139828"/>
              <a:gd name="connsiteY48" fmla="*/ 599147 h 2242189"/>
              <a:gd name="connsiteX49" fmla="*/ 3904008 w 4139828"/>
              <a:gd name="connsiteY49" fmla="*/ 927781 h 2242189"/>
              <a:gd name="connsiteX50" fmla="*/ 4139828 w 4139828"/>
              <a:gd name="connsiteY50" fmla="*/ 1415391 h 2242189"/>
              <a:gd name="connsiteX51" fmla="*/ 4001312 w 4139828"/>
              <a:gd name="connsiteY51" fmla="*/ 1749875 h 2242189"/>
              <a:gd name="connsiteX52" fmla="*/ 3666916 w 4139828"/>
              <a:gd name="connsiteY52" fmla="*/ 1888375 h 2242189"/>
              <a:gd name="connsiteX53" fmla="*/ 2973319 w 4139828"/>
              <a:gd name="connsiteY53" fmla="*/ 1888375 h 2242189"/>
              <a:gd name="connsiteX54" fmla="*/ 2949788 w 4139828"/>
              <a:gd name="connsiteY54" fmla="*/ 1864846 h 2242189"/>
              <a:gd name="connsiteX55" fmla="*/ 2949788 w 4139828"/>
              <a:gd name="connsiteY55" fmla="*/ 1439173 h 2242189"/>
              <a:gd name="connsiteX56" fmla="*/ 2973319 w 4139828"/>
              <a:gd name="connsiteY56" fmla="*/ 1415518 h 2242189"/>
              <a:gd name="connsiteX57" fmla="*/ 3556637 w 4139828"/>
              <a:gd name="connsiteY57" fmla="*/ 1415518 h 2242189"/>
              <a:gd name="connsiteX58" fmla="*/ 3600520 w 4139828"/>
              <a:gd name="connsiteY58" fmla="*/ 1289228 h 2242189"/>
              <a:gd name="connsiteX59" fmla="*/ 3185481 w 4139828"/>
              <a:gd name="connsiteY59" fmla="*/ 960594 h 2242189"/>
              <a:gd name="connsiteX60" fmla="*/ 2949661 w 4139828"/>
              <a:gd name="connsiteY60" fmla="*/ 472984 h 2242189"/>
              <a:gd name="connsiteX61" fmla="*/ 3422701 w 4139828"/>
              <a:gd name="connsiteY61" fmla="*/ 0 h 22421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4139828" h="2242189">
                <a:moveTo>
                  <a:pt x="471895" y="507"/>
                </a:moveTo>
                <a:lnTo>
                  <a:pt x="1132548" y="507"/>
                </a:lnTo>
                <a:cubicBezTo>
                  <a:pt x="1158623" y="507"/>
                  <a:pt x="1179737" y="21619"/>
                  <a:pt x="1179737" y="47691"/>
                </a:cubicBezTo>
                <a:lnTo>
                  <a:pt x="1179737" y="425671"/>
                </a:lnTo>
                <a:cubicBezTo>
                  <a:pt x="1179737" y="451743"/>
                  <a:pt x="1158623" y="472855"/>
                  <a:pt x="1132548" y="472855"/>
                </a:cubicBezTo>
                <a:lnTo>
                  <a:pt x="659508" y="472855"/>
                </a:lnTo>
                <a:cubicBezTo>
                  <a:pt x="555208" y="472855"/>
                  <a:pt x="470750" y="557303"/>
                  <a:pt x="470750" y="661591"/>
                </a:cubicBezTo>
                <a:lnTo>
                  <a:pt x="470750" y="728742"/>
                </a:lnTo>
                <a:cubicBezTo>
                  <a:pt x="470750" y="741714"/>
                  <a:pt x="481307" y="752270"/>
                  <a:pt x="494281" y="752270"/>
                </a:cubicBezTo>
                <a:lnTo>
                  <a:pt x="800059" y="752270"/>
                </a:lnTo>
                <a:cubicBezTo>
                  <a:pt x="826134" y="752270"/>
                  <a:pt x="847248" y="773382"/>
                  <a:pt x="847248" y="799454"/>
                </a:cubicBezTo>
                <a:lnTo>
                  <a:pt x="847248" y="1081668"/>
                </a:lnTo>
                <a:cubicBezTo>
                  <a:pt x="847248" y="1107740"/>
                  <a:pt x="826134" y="1128852"/>
                  <a:pt x="800059" y="1128852"/>
                </a:cubicBezTo>
                <a:lnTo>
                  <a:pt x="494281" y="1128852"/>
                </a:lnTo>
                <a:cubicBezTo>
                  <a:pt x="481307" y="1128852"/>
                  <a:pt x="470750" y="1139408"/>
                  <a:pt x="470750" y="1152380"/>
                </a:cubicBezTo>
                <a:lnTo>
                  <a:pt x="470750" y="1227671"/>
                </a:lnTo>
                <a:cubicBezTo>
                  <a:pt x="470750" y="1331832"/>
                  <a:pt x="555208" y="1416406"/>
                  <a:pt x="659508" y="1416406"/>
                </a:cubicBezTo>
                <a:lnTo>
                  <a:pt x="1297775" y="1416406"/>
                </a:lnTo>
                <a:cubicBezTo>
                  <a:pt x="1297775" y="1415389"/>
                  <a:pt x="1297775" y="1414244"/>
                  <a:pt x="1297775" y="1413100"/>
                </a:cubicBezTo>
                <a:lnTo>
                  <a:pt x="1297775" y="472728"/>
                </a:lnTo>
                <a:cubicBezTo>
                  <a:pt x="1297775" y="212135"/>
                  <a:pt x="1509173" y="889"/>
                  <a:pt x="1769797" y="889"/>
                </a:cubicBezTo>
                <a:lnTo>
                  <a:pt x="2359729" y="889"/>
                </a:lnTo>
                <a:cubicBezTo>
                  <a:pt x="2620352" y="889"/>
                  <a:pt x="2831624" y="212135"/>
                  <a:pt x="2831624" y="472728"/>
                </a:cubicBezTo>
                <a:lnTo>
                  <a:pt x="2831624" y="2195005"/>
                </a:lnTo>
                <a:cubicBezTo>
                  <a:pt x="2831624" y="2221077"/>
                  <a:pt x="2810509" y="2242189"/>
                  <a:pt x="2784434" y="2242189"/>
                </a:cubicBezTo>
                <a:lnTo>
                  <a:pt x="2408063" y="2242189"/>
                </a:lnTo>
                <a:cubicBezTo>
                  <a:pt x="2381988" y="2242189"/>
                  <a:pt x="2360874" y="2221077"/>
                  <a:pt x="2360874" y="2195005"/>
                </a:cubicBezTo>
                <a:lnTo>
                  <a:pt x="2360874" y="661336"/>
                </a:lnTo>
                <a:cubicBezTo>
                  <a:pt x="2360874" y="557176"/>
                  <a:pt x="2276289" y="472601"/>
                  <a:pt x="2172116" y="472601"/>
                </a:cubicBezTo>
                <a:lnTo>
                  <a:pt x="1957410" y="472601"/>
                </a:lnTo>
                <a:cubicBezTo>
                  <a:pt x="1853110" y="472601"/>
                  <a:pt x="1768652" y="557176"/>
                  <a:pt x="1768652" y="661336"/>
                </a:cubicBezTo>
                <a:lnTo>
                  <a:pt x="1768652" y="1227671"/>
                </a:lnTo>
                <a:cubicBezTo>
                  <a:pt x="1768652" y="1331832"/>
                  <a:pt x="1853110" y="1416406"/>
                  <a:pt x="1957410" y="1416406"/>
                </a:cubicBezTo>
                <a:lnTo>
                  <a:pt x="2219305" y="1416406"/>
                </a:lnTo>
                <a:cubicBezTo>
                  <a:pt x="2232406" y="1416406"/>
                  <a:pt x="2242963" y="1426962"/>
                  <a:pt x="2242963" y="1439935"/>
                </a:cubicBezTo>
                <a:lnTo>
                  <a:pt x="2242963" y="1864717"/>
                </a:lnTo>
                <a:cubicBezTo>
                  <a:pt x="2242963" y="1877690"/>
                  <a:pt x="2232406" y="1888246"/>
                  <a:pt x="2219305" y="1888246"/>
                </a:cubicBezTo>
                <a:lnTo>
                  <a:pt x="472022" y="1888246"/>
                </a:lnTo>
                <a:cubicBezTo>
                  <a:pt x="211272" y="1888246"/>
                  <a:pt x="0" y="1676999"/>
                  <a:pt x="0" y="1416406"/>
                </a:cubicBezTo>
                <a:lnTo>
                  <a:pt x="0" y="472346"/>
                </a:lnTo>
                <a:cubicBezTo>
                  <a:pt x="0" y="211754"/>
                  <a:pt x="211272" y="507"/>
                  <a:pt x="471895" y="507"/>
                </a:cubicBezTo>
                <a:close/>
                <a:moveTo>
                  <a:pt x="3422701" y="0"/>
                </a:moveTo>
                <a:lnTo>
                  <a:pt x="4021918" y="0"/>
                </a:lnTo>
                <a:cubicBezTo>
                  <a:pt x="4047993" y="0"/>
                  <a:pt x="4069108" y="21112"/>
                  <a:pt x="4069108" y="47184"/>
                </a:cubicBezTo>
                <a:lnTo>
                  <a:pt x="4069108" y="425546"/>
                </a:lnTo>
                <a:cubicBezTo>
                  <a:pt x="4069108" y="451618"/>
                  <a:pt x="4047993" y="472730"/>
                  <a:pt x="4021918" y="472730"/>
                </a:cubicBezTo>
                <a:lnTo>
                  <a:pt x="3532979" y="472730"/>
                </a:lnTo>
                <a:lnTo>
                  <a:pt x="3532852" y="472857"/>
                </a:lnTo>
                <a:cubicBezTo>
                  <a:pt x="3465693" y="472857"/>
                  <a:pt x="3436311" y="557432"/>
                  <a:pt x="3488969" y="599147"/>
                </a:cubicBezTo>
                <a:lnTo>
                  <a:pt x="3904008" y="927781"/>
                </a:lnTo>
                <a:cubicBezTo>
                  <a:pt x="4052954" y="1045804"/>
                  <a:pt x="4139828" y="1225383"/>
                  <a:pt x="4139828" y="1415391"/>
                </a:cubicBezTo>
                <a:cubicBezTo>
                  <a:pt x="4139828" y="1546005"/>
                  <a:pt x="4086915" y="1664156"/>
                  <a:pt x="4001312" y="1749875"/>
                </a:cubicBezTo>
                <a:cubicBezTo>
                  <a:pt x="3915710" y="1835468"/>
                  <a:pt x="3797418" y="1888375"/>
                  <a:pt x="3666916" y="1888375"/>
                </a:cubicBezTo>
                <a:lnTo>
                  <a:pt x="2973319" y="1888375"/>
                </a:lnTo>
                <a:cubicBezTo>
                  <a:pt x="2960346" y="1888375"/>
                  <a:pt x="2949788" y="1877819"/>
                  <a:pt x="2949788" y="1864846"/>
                </a:cubicBezTo>
                <a:lnTo>
                  <a:pt x="2949788" y="1439173"/>
                </a:lnTo>
                <a:cubicBezTo>
                  <a:pt x="2949788" y="1426201"/>
                  <a:pt x="2960346" y="1415518"/>
                  <a:pt x="2973319" y="1415518"/>
                </a:cubicBezTo>
                <a:lnTo>
                  <a:pt x="3556637" y="1415518"/>
                </a:lnTo>
                <a:cubicBezTo>
                  <a:pt x="3623797" y="1415518"/>
                  <a:pt x="3653179" y="1330943"/>
                  <a:pt x="3600520" y="1289228"/>
                </a:cubicBezTo>
                <a:lnTo>
                  <a:pt x="3185481" y="960594"/>
                </a:lnTo>
                <a:cubicBezTo>
                  <a:pt x="3036535" y="842570"/>
                  <a:pt x="2949661" y="662991"/>
                  <a:pt x="2949661" y="472984"/>
                </a:cubicBezTo>
                <a:cubicBezTo>
                  <a:pt x="2949661" y="211755"/>
                  <a:pt x="3161441" y="0"/>
                  <a:pt x="3422701" y="0"/>
                </a:cubicBezTo>
                <a:close/>
              </a:path>
            </a:pathLst>
          </a:custGeom>
          <a:solidFill>
            <a:srgbClr val="E50F46"/>
          </a:solidFill>
          <a:ln w="127">
            <a:solidFill>
              <a:schemeClr val="bg1">
                <a:alpha val="0"/>
              </a:schemeClr>
            </a:solidFill>
          </a:ln>
        </p:spPr>
        <p:txBody>
          <a:bodyPr wrap="square">
            <a:noAutofit/>
          </a:bodyPr>
          <a:lstStyle>
            <a:lvl1pPr marL="0" indent="0" algn="l" defTabSz="914400" rtl="0" eaLnBrk="1" latinLnBrk="0" hangingPunct="1">
              <a:lnSpc>
                <a:spcPct val="110000"/>
              </a:lnSpc>
              <a:spcBef>
                <a:spcPts val="600"/>
              </a:spcBef>
              <a:spcAft>
                <a:spcPts val="600"/>
              </a:spcAft>
              <a:buFont typeface="Arial" panose="020B0604020202020204" pitchFamily="34" charset="0"/>
              <a:buNone/>
              <a:defRPr sz="2000" b="1" kern="1200">
                <a:solidFill>
                  <a:schemeClr val="tx1"/>
                </a:solidFill>
                <a:latin typeface="+mj-lt"/>
                <a:ea typeface="+mn-ea"/>
                <a:cs typeface="+mn-cs"/>
              </a:defRPr>
            </a:lvl1pPr>
            <a:lvl2pPr marL="0" indent="0" algn="l" defTabSz="914400" rtl="0" eaLnBrk="1" latinLnBrk="0" hangingPunct="1">
              <a:lnSpc>
                <a:spcPct val="110000"/>
              </a:lnSpc>
              <a:spcBef>
                <a:spcPts val="600"/>
              </a:spcBef>
              <a:spcAft>
                <a:spcPts val="600"/>
              </a:spcAft>
              <a:buFont typeface="Arial" panose="020B0604020202020204" pitchFamily="34" charset="0"/>
              <a:buNone/>
              <a:defRPr sz="2000" kern="1200">
                <a:solidFill>
                  <a:schemeClr val="tx1"/>
                </a:solidFill>
                <a:latin typeface="+mn-lt"/>
                <a:ea typeface="+mn-ea"/>
                <a:cs typeface="+mn-cs"/>
              </a:defRPr>
            </a:lvl2pPr>
            <a:lvl3pPr marL="361950" indent="-361950" algn="l" defTabSz="914400" rtl="0" eaLnBrk="1" latinLnBrk="0" hangingPunct="1">
              <a:lnSpc>
                <a:spcPct val="110000"/>
              </a:lnSpc>
              <a:spcBef>
                <a:spcPts val="600"/>
              </a:spcBef>
              <a:spcAft>
                <a:spcPts val="600"/>
              </a:spcAft>
              <a:buClr>
                <a:schemeClr val="accent1"/>
              </a:buClr>
              <a:buFontTx/>
              <a:buBlip>
                <a:blip r:embed="rId2"/>
              </a:buBlip>
              <a:defRPr sz="2000" kern="1200">
                <a:solidFill>
                  <a:schemeClr val="tx1"/>
                </a:solidFill>
                <a:latin typeface="+mn-lt"/>
                <a:ea typeface="+mn-ea"/>
                <a:cs typeface="+mn-cs"/>
              </a:defRPr>
            </a:lvl3pPr>
            <a:lvl4pPr marL="714375" indent="-352425" algn="l" defTabSz="914400" rtl="0" eaLnBrk="1" latinLnBrk="0" hangingPunct="1">
              <a:lnSpc>
                <a:spcPct val="110000"/>
              </a:lnSpc>
              <a:spcBef>
                <a:spcPts val="600"/>
              </a:spcBef>
              <a:spcAft>
                <a:spcPts val="600"/>
              </a:spcAft>
              <a:buClr>
                <a:schemeClr val="accent1"/>
              </a:buClr>
              <a:buFontTx/>
              <a:buBlip>
                <a:blip r:embed="rId2"/>
              </a:buBlip>
              <a:defRPr sz="2000" kern="1200">
                <a:solidFill>
                  <a:schemeClr val="tx1"/>
                </a:solidFill>
                <a:latin typeface="+mn-lt"/>
                <a:ea typeface="+mn-ea"/>
                <a:cs typeface="+mn-cs"/>
              </a:defRPr>
            </a:lvl4pPr>
            <a:lvl5pPr marL="0" indent="0" algn="l" defTabSz="914400" rtl="0" eaLnBrk="1" latinLnBrk="0" hangingPunct="1">
              <a:lnSpc>
                <a:spcPct val="110000"/>
              </a:lnSpc>
              <a:spcBef>
                <a:spcPts val="600"/>
              </a:spcBef>
              <a:spcAft>
                <a:spcPts val="600"/>
              </a:spcAft>
              <a:buClr>
                <a:schemeClr val="accent1"/>
              </a:buClr>
              <a:buFont typeface="Arial" panose="020B0604020202020204" pitchFamily="34" charset="0"/>
              <a:buNone/>
              <a:defRPr sz="2500" kern="1200">
                <a:solidFill>
                  <a:schemeClr val="tx1"/>
                </a:solidFill>
                <a:latin typeface="+mn-lt"/>
                <a:ea typeface="+mn-ea"/>
                <a:cs typeface="+mn-cs"/>
              </a:defRPr>
            </a:lvl5pPr>
            <a:lvl6pPr marL="361950" indent="-361950" algn="l" defTabSz="914400" rtl="0" eaLnBrk="1" latinLnBrk="0" hangingPunct="1">
              <a:lnSpc>
                <a:spcPct val="110000"/>
              </a:lnSpc>
              <a:spcBef>
                <a:spcPts val="600"/>
              </a:spcBef>
              <a:spcAft>
                <a:spcPts val="600"/>
              </a:spcAft>
              <a:buClr>
                <a:schemeClr val="accent1"/>
              </a:buClr>
              <a:buFontTx/>
              <a:buBlip>
                <a:blip r:embed="rId2"/>
              </a:buBlip>
              <a:defRPr sz="2500" kern="1200">
                <a:solidFill>
                  <a:schemeClr val="tx1"/>
                </a:solidFill>
                <a:latin typeface="+mn-lt"/>
                <a:ea typeface="+mn-ea"/>
                <a:cs typeface="+mn-cs"/>
              </a:defRPr>
            </a:lvl6pPr>
            <a:lvl7pPr marL="360000" indent="-360000" algn="l" defTabSz="914400" rtl="0" eaLnBrk="1" latinLnBrk="0" hangingPunct="1">
              <a:lnSpc>
                <a:spcPct val="110000"/>
              </a:lnSpc>
              <a:spcBef>
                <a:spcPts val="600"/>
              </a:spcBef>
              <a:spcAft>
                <a:spcPts val="600"/>
              </a:spcAft>
              <a:buClr>
                <a:schemeClr val="accent1"/>
              </a:buClr>
              <a:buFont typeface="+mj-lt"/>
              <a:buAutoNum type="arabicPeriod"/>
              <a:defRPr sz="2000" kern="1200">
                <a:solidFill>
                  <a:schemeClr val="tx1"/>
                </a:solidFill>
                <a:latin typeface="+mn-lt"/>
                <a:ea typeface="+mn-ea"/>
                <a:cs typeface="+mn-cs"/>
              </a:defRPr>
            </a:lvl7pPr>
            <a:lvl8pPr marL="714375" indent="-354013" algn="l" defTabSz="914400" rtl="0" eaLnBrk="1" latinLnBrk="0" hangingPunct="1">
              <a:lnSpc>
                <a:spcPct val="110000"/>
              </a:lnSpc>
              <a:spcBef>
                <a:spcPts val="600"/>
              </a:spcBef>
              <a:spcAft>
                <a:spcPts val="600"/>
              </a:spcAft>
              <a:buClr>
                <a:schemeClr val="accent1"/>
              </a:buClr>
              <a:buFontTx/>
              <a:buBlip>
                <a:blip r:embed="rId2"/>
              </a:buBlip>
              <a:defRPr sz="2000" kern="1200">
                <a:solidFill>
                  <a:schemeClr val="tx1"/>
                </a:solidFill>
                <a:latin typeface="+mn-lt"/>
                <a:ea typeface="+mn-ea"/>
                <a:cs typeface="+mn-cs"/>
              </a:defRPr>
            </a:lvl8pPr>
            <a:lvl9pPr marL="1076325" indent="-361950" algn="l" defTabSz="914400" rtl="0" eaLnBrk="1" latinLnBrk="0" hangingPunct="1">
              <a:lnSpc>
                <a:spcPct val="110000"/>
              </a:lnSpc>
              <a:spcBef>
                <a:spcPts val="600"/>
              </a:spcBef>
              <a:spcAft>
                <a:spcPts val="600"/>
              </a:spcAft>
              <a:buClr>
                <a:schemeClr val="accent1"/>
              </a:buClr>
              <a:buFontTx/>
              <a:buBlip>
                <a:blip r:embed="rId2"/>
              </a:buBlip>
              <a:defRPr sz="2000" kern="1200">
                <a:solidFill>
                  <a:schemeClr val="tx1"/>
                </a:solidFill>
                <a:latin typeface="+mn-lt"/>
                <a:ea typeface="+mn-ea"/>
                <a:cs typeface="+mn-cs"/>
              </a:defRPr>
            </a:lvl9pPr>
          </a:lstStyle>
          <a:p>
            <a:r>
              <a:rPr lang="de-DE"/>
              <a:t> </a:t>
            </a:r>
          </a:p>
        </p:txBody>
      </p:sp>
    </p:spTree>
    <p:extLst>
      <p:ext uri="{BB962C8B-B14F-4D97-AF65-F5344CB8AC3E}">
        <p14:creationId xmlns:p14="http://schemas.microsoft.com/office/powerpoint/2010/main" val="1458813960"/>
      </p:ext>
    </p:extLst>
  </p:cSld>
  <p:clrMap bg1="lt1" tx1="dk1" bg2="lt2" tx2="dk2" accent1="accent1" accent2="accent2" accent3="accent3" accent4="accent4" accent5="accent5" accent6="accent6" hlink="hlink" folHlink="folHlink"/>
  <p:hf hdr="0" dt="0"/>
  <p:notesStyle>
    <a:lvl1pPr marL="0" algn="l" defTabSz="914400" rtl="0" eaLnBrk="1" latinLnBrk="0" hangingPunct="1">
      <a:lnSpc>
        <a:spcPct val="110000"/>
      </a:lnSpc>
      <a:spcBef>
        <a:spcPts val="300"/>
      </a:spcBef>
      <a:spcAft>
        <a:spcPts val="0"/>
      </a:spcAft>
      <a:defRPr sz="1000" b="1" kern="1200">
        <a:solidFill>
          <a:schemeClr val="tx1"/>
        </a:solidFill>
        <a:latin typeface="+mj-lt"/>
        <a:ea typeface="+mn-ea"/>
        <a:cs typeface="+mn-cs"/>
      </a:defRPr>
    </a:lvl1pPr>
    <a:lvl2pPr marL="0" algn="l" defTabSz="914400" rtl="0" eaLnBrk="1" latinLnBrk="0" hangingPunct="1">
      <a:lnSpc>
        <a:spcPct val="110000"/>
      </a:lnSpc>
      <a:spcBef>
        <a:spcPts val="300"/>
      </a:spcBef>
      <a:spcAft>
        <a:spcPts val="0"/>
      </a:spcAft>
      <a:defRPr sz="1000" kern="1200">
        <a:solidFill>
          <a:schemeClr val="tx1"/>
        </a:solidFill>
        <a:latin typeface="+mn-lt"/>
        <a:ea typeface="+mn-ea"/>
        <a:cs typeface="+mn-cs"/>
      </a:defRPr>
    </a:lvl2pPr>
    <a:lvl3pPr marL="108000" indent="-108000" algn="l" defTabSz="914400" rtl="0" eaLnBrk="1" latinLnBrk="0" hangingPunct="1">
      <a:lnSpc>
        <a:spcPct val="110000"/>
      </a:lnSpc>
      <a:spcBef>
        <a:spcPts val="300"/>
      </a:spcBef>
      <a:spcAft>
        <a:spcPts val="0"/>
      </a:spcAft>
      <a:buClr>
        <a:schemeClr val="accent1"/>
      </a:buClr>
      <a:buFont typeface="Wingdings" panose="05000000000000000000" pitchFamily="2" charset="2"/>
      <a:buChar char="§"/>
      <a:defRPr sz="1000" kern="1200">
        <a:solidFill>
          <a:schemeClr val="tx1"/>
        </a:solidFill>
        <a:latin typeface="+mn-lt"/>
        <a:ea typeface="+mn-ea"/>
        <a:cs typeface="+mn-cs"/>
      </a:defRPr>
    </a:lvl3pPr>
    <a:lvl4pPr marL="216000" indent="-108000" algn="l" defTabSz="914400" rtl="0" eaLnBrk="1" latinLnBrk="0" hangingPunct="1">
      <a:lnSpc>
        <a:spcPct val="110000"/>
      </a:lnSpc>
      <a:spcBef>
        <a:spcPts val="300"/>
      </a:spcBef>
      <a:spcAft>
        <a:spcPts val="0"/>
      </a:spcAft>
      <a:buClr>
        <a:schemeClr val="accent1"/>
      </a:buClr>
      <a:buFont typeface="Wingdings" panose="05000000000000000000" pitchFamily="2" charset="2"/>
      <a:buChar char="§"/>
      <a:defRPr sz="1000" kern="1200">
        <a:solidFill>
          <a:schemeClr val="tx1"/>
        </a:solidFill>
        <a:latin typeface="+mn-lt"/>
        <a:ea typeface="+mn-ea"/>
        <a:cs typeface="+mn-cs"/>
      </a:defRPr>
    </a:lvl4pPr>
    <a:lvl5pPr marL="324000" indent="-108000" algn="l" defTabSz="914400" rtl="0" eaLnBrk="1" latinLnBrk="0" hangingPunct="1">
      <a:lnSpc>
        <a:spcPct val="110000"/>
      </a:lnSpc>
      <a:spcBef>
        <a:spcPts val="300"/>
      </a:spcBef>
      <a:spcAft>
        <a:spcPts val="0"/>
      </a:spcAft>
      <a:buClr>
        <a:schemeClr val="accent1"/>
      </a:buClr>
      <a:buFont typeface="Wingdings" panose="05000000000000000000" pitchFamily="2" charset="2"/>
      <a:buChar char="§"/>
      <a:defRPr sz="1000" kern="1200">
        <a:solidFill>
          <a:schemeClr val="tx1"/>
        </a:solidFill>
        <a:latin typeface="+mn-lt"/>
        <a:ea typeface="+mn-ea"/>
        <a:cs typeface="+mn-cs"/>
      </a:defRPr>
    </a:lvl5pPr>
    <a:lvl6pPr marL="432000" indent="-108000" algn="l" defTabSz="914400" rtl="0" eaLnBrk="1" latinLnBrk="0" hangingPunct="1">
      <a:lnSpc>
        <a:spcPct val="110000"/>
      </a:lnSpc>
      <a:spcBef>
        <a:spcPts val="300"/>
      </a:spcBef>
      <a:spcAft>
        <a:spcPts val="0"/>
      </a:spcAft>
      <a:buClr>
        <a:schemeClr val="accent1"/>
      </a:buClr>
      <a:buFont typeface="Wingdings" panose="05000000000000000000" pitchFamily="2" charset="2"/>
      <a:buChar char="§"/>
      <a:defRPr sz="1000" kern="1200">
        <a:solidFill>
          <a:schemeClr val="tx1"/>
        </a:solidFill>
        <a:latin typeface="+mn-lt"/>
        <a:ea typeface="+mn-ea"/>
        <a:cs typeface="+mn-cs"/>
      </a:defRPr>
    </a:lvl6pPr>
    <a:lvl7pPr marL="108000" indent="-216000" algn="l" defTabSz="914400" rtl="0" eaLnBrk="1" latinLnBrk="0" hangingPunct="1">
      <a:lnSpc>
        <a:spcPct val="110000"/>
      </a:lnSpc>
      <a:spcBef>
        <a:spcPts val="300"/>
      </a:spcBef>
      <a:spcAft>
        <a:spcPts val="0"/>
      </a:spcAft>
      <a:buClr>
        <a:schemeClr val="accent1"/>
      </a:buClr>
      <a:buFont typeface="+mj-lt"/>
      <a:buAutoNum type="arabicPeriod"/>
      <a:defRPr sz="1000" kern="1200">
        <a:solidFill>
          <a:schemeClr val="tx1"/>
        </a:solidFill>
        <a:latin typeface="+mn-lt"/>
        <a:ea typeface="+mn-ea"/>
        <a:cs typeface="+mn-cs"/>
      </a:defRPr>
    </a:lvl7pPr>
    <a:lvl8pPr marL="324000" indent="-108000" algn="l" defTabSz="914400" rtl="0" eaLnBrk="1" latinLnBrk="0" hangingPunct="1">
      <a:lnSpc>
        <a:spcPct val="110000"/>
      </a:lnSpc>
      <a:spcBef>
        <a:spcPts val="300"/>
      </a:spcBef>
      <a:spcAft>
        <a:spcPts val="0"/>
      </a:spcAft>
      <a:buClr>
        <a:schemeClr val="accent1"/>
      </a:buClr>
      <a:buFont typeface="Wingdings" panose="05000000000000000000" pitchFamily="2" charset="2"/>
      <a:buChar char="§"/>
      <a:defRPr sz="1000" kern="1200">
        <a:solidFill>
          <a:schemeClr val="tx1"/>
        </a:solidFill>
        <a:latin typeface="+mn-lt"/>
        <a:ea typeface="+mn-ea"/>
        <a:cs typeface="+mn-cs"/>
      </a:defRPr>
    </a:lvl8pPr>
    <a:lvl9pPr marL="432000" indent="-108000" algn="l" defTabSz="914400" rtl="0" eaLnBrk="1" latinLnBrk="0" hangingPunct="1">
      <a:lnSpc>
        <a:spcPct val="110000"/>
      </a:lnSpc>
      <a:spcBef>
        <a:spcPts val="300"/>
      </a:spcBef>
      <a:spcAft>
        <a:spcPts val="0"/>
      </a:spcAft>
      <a:buClr>
        <a:schemeClr val="accent1"/>
      </a:buClr>
      <a:buFont typeface="Wingdings" panose="05000000000000000000" pitchFamily="2" charset="2"/>
      <a:buChar char="§"/>
      <a:defRPr sz="1000" kern="1200">
        <a:solidFill>
          <a:schemeClr val="tx1"/>
        </a:solidFill>
        <a:latin typeface="+mn-lt"/>
        <a:ea typeface="+mn-ea"/>
        <a:cs typeface="+mn-cs"/>
      </a:defRPr>
    </a:lvl9pPr>
  </p:notesStyle>
  <p:extLst>
    <p:ext uri="{620B2872-D7B9-4A21-9093-7833F8D536E1}">
      <p15:sldGuideLst xmlns:p15="http://schemas.microsoft.com/office/powerpoint/2012/main">
        <p15:guide id="1" orient="horz" pos="3126" userDrawn="1">
          <p15:clr>
            <a:srgbClr val="F26B43"/>
          </p15:clr>
        </p15:guide>
        <p15:guide id="2" pos="2141" userDrawn="1">
          <p15:clr>
            <a:srgbClr val="F26B43"/>
          </p15:clr>
        </p15:guide>
      </p15:sldGuideLst>
    </p:ext>
  </p:extLst>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06A42EA-A778-7A81-8E20-98195E41C60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C202776-B9BF-462A-27B6-CA60306C7B3A}"/>
              </a:ext>
            </a:extLst>
          </p:cNvPr>
          <p:cNvSpPr>
            <a:spLocks noGrp="1" noRot="1" noChangeAspect="1"/>
          </p:cNvSpPr>
          <p:nvPr>
            <p:ph type="sldImg"/>
          </p:nvPr>
        </p:nvSpPr>
        <p:spPr>
          <a:xfrm>
            <a:off x="446088" y="898525"/>
            <a:ext cx="4687887" cy="2638425"/>
          </a:xfrm>
        </p:spPr>
      </p:sp>
      <p:sp>
        <p:nvSpPr>
          <p:cNvPr id="3" name="Notes Placeholder 2">
            <a:extLst>
              <a:ext uri="{FF2B5EF4-FFF2-40B4-BE49-F238E27FC236}">
                <a16:creationId xmlns:a16="http://schemas.microsoft.com/office/drawing/2014/main" id="{5DEBC911-DCE7-A90B-E145-F7B68BECCE25}"/>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865CCA44-A37B-EB19-7342-E278D25EDF85}"/>
              </a:ext>
            </a:extLst>
          </p:cNvPr>
          <p:cNvSpPr>
            <a:spLocks noGrp="1"/>
          </p:cNvSpPr>
          <p:nvPr>
            <p:ph type="sldNum" sz="quarter" idx="10"/>
          </p:nvPr>
        </p:nvSpPr>
        <p:spPr>
          <a:xfrm>
            <a:off x="5898138" y="9409167"/>
            <a:ext cx="427058" cy="517471"/>
          </a:xfrm>
          <a:prstGeom prst="rect">
            <a:avLst/>
          </a:prstGeom>
        </p:spPr>
        <p:txBody>
          <a:bodyPr/>
          <a:lstStyle/>
          <a:p>
            <a:fld id="{44661A95-0089-4306-9485-D330C59FE3ED}" type="slidenum">
              <a:rPr lang="de-DE" smtClean="0"/>
              <a:pPr/>
              <a:t>2</a:t>
            </a:fld>
            <a:endParaRPr lang="de-DE"/>
          </a:p>
        </p:txBody>
      </p:sp>
      <p:sp>
        <p:nvSpPr>
          <p:cNvPr id="5" name="Footer Placeholder 4">
            <a:extLst>
              <a:ext uri="{FF2B5EF4-FFF2-40B4-BE49-F238E27FC236}">
                <a16:creationId xmlns:a16="http://schemas.microsoft.com/office/drawing/2014/main" id="{4CCB82C9-B994-0FF2-60A7-968060AD2BF6}"/>
              </a:ext>
            </a:extLst>
          </p:cNvPr>
          <p:cNvSpPr>
            <a:spLocks noGrp="1"/>
          </p:cNvSpPr>
          <p:nvPr>
            <p:ph type="ftr" sz="quarter" idx="11"/>
          </p:nvPr>
        </p:nvSpPr>
        <p:spPr/>
        <p:txBody>
          <a:bodyPr/>
          <a:lstStyle/>
          <a:p>
            <a:r>
              <a:rPr lang="en-US"/>
              <a:t>Theme of the presentation   |   dd.mm.yyyy</a:t>
            </a:r>
            <a:endParaRPr lang="de-DE"/>
          </a:p>
        </p:txBody>
      </p:sp>
    </p:spTree>
    <p:extLst>
      <p:ext uri="{BB962C8B-B14F-4D97-AF65-F5344CB8AC3E}">
        <p14:creationId xmlns:p14="http://schemas.microsoft.com/office/powerpoint/2010/main" val="2805663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46088" y="898525"/>
            <a:ext cx="4687887" cy="263842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a:xfrm>
            <a:off x="5898138" y="9409167"/>
            <a:ext cx="427058" cy="517471"/>
          </a:xfrm>
          <a:prstGeom prst="rect">
            <a:avLst/>
          </a:prstGeom>
        </p:spPr>
        <p:txBody>
          <a:bodyPr/>
          <a:lstStyle/>
          <a:p>
            <a:fld id="{44661A95-0089-4306-9485-D330C59FE3ED}" type="slidenum">
              <a:rPr lang="de-DE" smtClean="0"/>
              <a:pPr/>
              <a:t>3</a:t>
            </a:fld>
            <a:endParaRPr lang="de-DE" dirty="0"/>
          </a:p>
        </p:txBody>
      </p:sp>
      <p:sp>
        <p:nvSpPr>
          <p:cNvPr id="5" name="Footer Placeholder 4"/>
          <p:cNvSpPr>
            <a:spLocks noGrp="1"/>
          </p:cNvSpPr>
          <p:nvPr>
            <p:ph type="ftr" sz="quarter" idx="11"/>
          </p:nvPr>
        </p:nvSpPr>
        <p:spPr/>
        <p:txBody>
          <a:bodyPr/>
          <a:lstStyle/>
          <a:p>
            <a:r>
              <a:rPr lang="en-US"/>
              <a:t>Theme of the presentation   |   dd.mm.yyyy</a:t>
            </a:r>
            <a:endParaRPr lang="de-DE" dirty="0"/>
          </a:p>
        </p:txBody>
      </p:sp>
    </p:spTree>
    <p:extLst>
      <p:ext uri="{BB962C8B-B14F-4D97-AF65-F5344CB8AC3E}">
        <p14:creationId xmlns:p14="http://schemas.microsoft.com/office/powerpoint/2010/main" val="419589897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46088" y="898525"/>
            <a:ext cx="4687887" cy="263842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a:xfrm>
            <a:off x="5898138" y="9409167"/>
            <a:ext cx="427058" cy="517471"/>
          </a:xfrm>
          <a:prstGeom prst="rect">
            <a:avLst/>
          </a:prstGeom>
        </p:spPr>
        <p:txBody>
          <a:bodyPr/>
          <a:lstStyle/>
          <a:p>
            <a:fld id="{44661A95-0089-4306-9485-D330C59FE3ED}" type="slidenum">
              <a:rPr lang="de-DE" smtClean="0"/>
              <a:pPr/>
              <a:t>10</a:t>
            </a:fld>
            <a:endParaRPr lang="de-DE" dirty="0"/>
          </a:p>
        </p:txBody>
      </p:sp>
      <p:sp>
        <p:nvSpPr>
          <p:cNvPr id="5" name="Footer Placeholder 4"/>
          <p:cNvSpPr>
            <a:spLocks noGrp="1"/>
          </p:cNvSpPr>
          <p:nvPr>
            <p:ph type="ftr" sz="quarter" idx="11"/>
          </p:nvPr>
        </p:nvSpPr>
        <p:spPr/>
        <p:txBody>
          <a:bodyPr/>
          <a:lstStyle/>
          <a:p>
            <a:r>
              <a:rPr lang="en-US"/>
              <a:t>Theme of the presentation   |   dd.mm.yyyy</a:t>
            </a:r>
            <a:endParaRPr lang="de-DE" dirty="0"/>
          </a:p>
        </p:txBody>
      </p:sp>
    </p:spTree>
    <p:extLst>
      <p:ext uri="{BB962C8B-B14F-4D97-AF65-F5344CB8AC3E}">
        <p14:creationId xmlns:p14="http://schemas.microsoft.com/office/powerpoint/2010/main" val="298826798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46088" y="898525"/>
            <a:ext cx="4687887" cy="263842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a:xfrm>
            <a:off x="5898138" y="9409167"/>
            <a:ext cx="427058" cy="517471"/>
          </a:xfrm>
          <a:prstGeom prst="rect">
            <a:avLst/>
          </a:prstGeom>
        </p:spPr>
        <p:txBody>
          <a:bodyPr/>
          <a:lstStyle/>
          <a:p>
            <a:fld id="{44661A95-0089-4306-9485-D330C59FE3ED}" type="slidenum">
              <a:rPr lang="de-DE" smtClean="0"/>
              <a:pPr/>
              <a:t>13</a:t>
            </a:fld>
            <a:endParaRPr lang="de-DE" dirty="0"/>
          </a:p>
        </p:txBody>
      </p:sp>
      <p:sp>
        <p:nvSpPr>
          <p:cNvPr id="5" name="Footer Placeholder 4"/>
          <p:cNvSpPr>
            <a:spLocks noGrp="1"/>
          </p:cNvSpPr>
          <p:nvPr>
            <p:ph type="ftr" sz="quarter" idx="11"/>
          </p:nvPr>
        </p:nvSpPr>
        <p:spPr/>
        <p:txBody>
          <a:bodyPr/>
          <a:lstStyle/>
          <a:p>
            <a:r>
              <a:rPr lang="en-US"/>
              <a:t>Theme of the presentation   |   dd.mm.yyyy</a:t>
            </a:r>
            <a:endParaRPr lang="de-DE" dirty="0"/>
          </a:p>
        </p:txBody>
      </p:sp>
    </p:spTree>
    <p:extLst>
      <p:ext uri="{BB962C8B-B14F-4D97-AF65-F5344CB8AC3E}">
        <p14:creationId xmlns:p14="http://schemas.microsoft.com/office/powerpoint/2010/main" val="76666609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46088" y="898525"/>
            <a:ext cx="4687887" cy="263842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a:xfrm>
            <a:off x="5898138" y="9409167"/>
            <a:ext cx="427058" cy="517471"/>
          </a:xfrm>
          <a:prstGeom prst="rect">
            <a:avLst/>
          </a:prstGeom>
        </p:spPr>
        <p:txBody>
          <a:bodyPr/>
          <a:lstStyle/>
          <a:p>
            <a:fld id="{44661A95-0089-4306-9485-D330C59FE3ED}" type="slidenum">
              <a:rPr lang="de-DE" smtClean="0"/>
              <a:pPr/>
              <a:t>13</a:t>
            </a:fld>
            <a:endParaRPr lang="de-DE" dirty="0"/>
          </a:p>
        </p:txBody>
      </p:sp>
      <p:sp>
        <p:nvSpPr>
          <p:cNvPr id="5" name="Footer Placeholder 4"/>
          <p:cNvSpPr>
            <a:spLocks noGrp="1"/>
          </p:cNvSpPr>
          <p:nvPr>
            <p:ph type="ftr" sz="quarter" idx="11"/>
          </p:nvPr>
        </p:nvSpPr>
        <p:spPr/>
        <p:txBody>
          <a:bodyPr/>
          <a:lstStyle/>
          <a:p>
            <a:r>
              <a:rPr lang="en-US"/>
              <a:t>Theme of the presentation   |   dd.mm.yyyy</a:t>
            </a:r>
            <a:endParaRPr lang="de-DE" dirty="0"/>
          </a:p>
        </p:txBody>
      </p:sp>
    </p:spTree>
    <p:extLst>
      <p:ext uri="{BB962C8B-B14F-4D97-AF65-F5344CB8AC3E}">
        <p14:creationId xmlns:p14="http://schemas.microsoft.com/office/powerpoint/2010/main" val="16874139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46088" y="898525"/>
            <a:ext cx="4687887" cy="263842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a:xfrm>
            <a:off x="5898138" y="9409167"/>
            <a:ext cx="427058" cy="517471"/>
          </a:xfrm>
          <a:prstGeom prst="rect">
            <a:avLst/>
          </a:prstGeom>
        </p:spPr>
        <p:txBody>
          <a:bodyPr/>
          <a:lstStyle/>
          <a:p>
            <a:fld id="{44661A95-0089-4306-9485-D330C59FE3ED}" type="slidenum">
              <a:rPr lang="de-DE" smtClean="0"/>
              <a:pPr/>
              <a:t>15</a:t>
            </a:fld>
            <a:endParaRPr lang="de-DE" dirty="0"/>
          </a:p>
        </p:txBody>
      </p:sp>
      <p:sp>
        <p:nvSpPr>
          <p:cNvPr id="5" name="Footer Placeholder 4"/>
          <p:cNvSpPr>
            <a:spLocks noGrp="1"/>
          </p:cNvSpPr>
          <p:nvPr>
            <p:ph type="ftr" sz="quarter" idx="11"/>
          </p:nvPr>
        </p:nvSpPr>
        <p:spPr/>
        <p:txBody>
          <a:bodyPr/>
          <a:lstStyle/>
          <a:p>
            <a:r>
              <a:rPr lang="en-US"/>
              <a:t>Theme of the presentation   |   dd.mm.yyyy</a:t>
            </a:r>
            <a:endParaRPr lang="de-DE" dirty="0"/>
          </a:p>
        </p:txBody>
      </p:sp>
    </p:spTree>
    <p:extLst>
      <p:ext uri="{BB962C8B-B14F-4D97-AF65-F5344CB8AC3E}">
        <p14:creationId xmlns:p14="http://schemas.microsoft.com/office/powerpoint/2010/main" val="87049098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46088" y="898525"/>
            <a:ext cx="4687887" cy="263842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a:xfrm>
            <a:off x="5898138" y="9409167"/>
            <a:ext cx="427058" cy="517471"/>
          </a:xfrm>
          <a:prstGeom prst="rect">
            <a:avLst/>
          </a:prstGeom>
        </p:spPr>
        <p:txBody>
          <a:bodyPr/>
          <a:lstStyle/>
          <a:p>
            <a:fld id="{44661A95-0089-4306-9485-D330C59FE3ED}" type="slidenum">
              <a:rPr lang="de-DE" smtClean="0"/>
              <a:pPr/>
              <a:t>19</a:t>
            </a:fld>
            <a:endParaRPr lang="de-DE" dirty="0"/>
          </a:p>
        </p:txBody>
      </p:sp>
      <p:sp>
        <p:nvSpPr>
          <p:cNvPr id="5" name="Footer Placeholder 4"/>
          <p:cNvSpPr>
            <a:spLocks noGrp="1"/>
          </p:cNvSpPr>
          <p:nvPr>
            <p:ph type="ftr" sz="quarter" idx="11"/>
          </p:nvPr>
        </p:nvSpPr>
        <p:spPr/>
        <p:txBody>
          <a:bodyPr/>
          <a:lstStyle/>
          <a:p>
            <a:r>
              <a:rPr lang="en-US"/>
              <a:t>Theme of the presentation   |   dd.mm.yyyy</a:t>
            </a:r>
            <a:endParaRPr lang="de-DE" dirty="0"/>
          </a:p>
        </p:txBody>
      </p:sp>
    </p:spTree>
    <p:extLst>
      <p:ext uri="{BB962C8B-B14F-4D97-AF65-F5344CB8AC3E}">
        <p14:creationId xmlns:p14="http://schemas.microsoft.com/office/powerpoint/2010/main" val="293045376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2.emf"/></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2.emf"/></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sp>
        <p:nvSpPr>
          <p:cNvPr id="11" name="Bildplatzhalter 10">
            <a:extLst>
              <a:ext uri="{FF2B5EF4-FFF2-40B4-BE49-F238E27FC236}">
                <a16:creationId xmlns:a16="http://schemas.microsoft.com/office/drawing/2014/main" id="{8E5167FF-D8C6-6FCD-3CF2-EC8397ECCD23}"/>
              </a:ext>
            </a:extLst>
          </p:cNvPr>
          <p:cNvSpPr>
            <a:spLocks noGrp="1"/>
          </p:cNvSpPr>
          <p:nvPr>
            <p:ph type="pic" sz="quarter" idx="12" hasCustomPrompt="1"/>
          </p:nvPr>
        </p:nvSpPr>
        <p:spPr bwMode="gray">
          <a:xfrm>
            <a:off x="0" y="0"/>
            <a:ext cx="12192000" cy="6857999"/>
          </a:xfrm>
          <a:custGeom>
            <a:avLst/>
            <a:gdLst>
              <a:gd name="connsiteX0" fmla="*/ 0 w 12192000"/>
              <a:gd name="connsiteY0" fmla="*/ 0 h 6857999"/>
              <a:gd name="connsiteX1" fmla="*/ 12192000 w 12192000"/>
              <a:gd name="connsiteY1" fmla="*/ 0 h 6857999"/>
              <a:gd name="connsiteX2" fmla="*/ 12192000 w 12192000"/>
              <a:gd name="connsiteY2" fmla="*/ 6857999 h 6857999"/>
              <a:gd name="connsiteX3" fmla="*/ 6444101 w 12192000"/>
              <a:gd name="connsiteY3" fmla="*/ 6857999 h 6857999"/>
              <a:gd name="connsiteX4" fmla="*/ 6507215 w 12192000"/>
              <a:gd name="connsiteY4" fmla="*/ 6604487 h 6857999"/>
              <a:gd name="connsiteX5" fmla="*/ 7230389 w 12192000"/>
              <a:gd name="connsiteY5" fmla="*/ 3699934 h 6857999"/>
              <a:gd name="connsiteX6" fmla="*/ 6710398 w 12192000"/>
              <a:gd name="connsiteY6" fmla="*/ 2833138 h 6857999"/>
              <a:gd name="connsiteX7" fmla="*/ 6710271 w 12192000"/>
              <a:gd name="connsiteY7" fmla="*/ 2833138 h 6857999"/>
              <a:gd name="connsiteX8" fmla="*/ 2066260 w 12192000"/>
              <a:gd name="connsiteY8" fmla="*/ 1673557 h 6857999"/>
              <a:gd name="connsiteX9" fmla="*/ 1161542 w 12192000"/>
              <a:gd name="connsiteY9" fmla="*/ 1988963 h 6857999"/>
              <a:gd name="connsiteX10" fmla="*/ 0 w 12192000"/>
              <a:gd name="connsiteY10" fmla="*/ 2731858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192000" h="6857999">
                <a:moveTo>
                  <a:pt x="0" y="0"/>
                </a:moveTo>
                <a:lnTo>
                  <a:pt x="12192000" y="0"/>
                </a:lnTo>
                <a:lnTo>
                  <a:pt x="12192000" y="6857999"/>
                </a:lnTo>
                <a:lnTo>
                  <a:pt x="6444101" y="6857999"/>
                </a:lnTo>
                <a:lnTo>
                  <a:pt x="6507215" y="6604487"/>
                </a:lnTo>
                <a:cubicBezTo>
                  <a:pt x="6835707" y="5285027"/>
                  <a:pt x="7230389" y="3699934"/>
                  <a:pt x="7230389" y="3699934"/>
                </a:cubicBezTo>
                <a:cubicBezTo>
                  <a:pt x="7325809" y="3316795"/>
                  <a:pt x="7092968" y="2928701"/>
                  <a:pt x="6710398" y="2833138"/>
                </a:cubicBezTo>
                <a:lnTo>
                  <a:pt x="6710271" y="2833138"/>
                </a:lnTo>
                <a:lnTo>
                  <a:pt x="2066260" y="1673557"/>
                </a:lnTo>
                <a:cubicBezTo>
                  <a:pt x="1708053" y="1574055"/>
                  <a:pt x="1437906" y="1814231"/>
                  <a:pt x="1161542" y="1988963"/>
                </a:cubicBezTo>
                <a:cubicBezTo>
                  <a:pt x="774403" y="2236510"/>
                  <a:pt x="387138" y="2484184"/>
                  <a:pt x="0" y="2731858"/>
                </a:cubicBezTo>
                <a:close/>
              </a:path>
            </a:pathLst>
          </a:custGeom>
          <a:solidFill>
            <a:schemeClr val="bg1">
              <a:lumMod val="95000"/>
            </a:schemeClr>
          </a:solidFill>
        </p:spPr>
        <p:txBody>
          <a:bodyPr wrap="square" bIns="792000" anchor="ctr">
            <a:noAutofit/>
          </a:bodyPr>
          <a:lstStyle>
            <a:lvl1pPr algn="ctr">
              <a:spcBef>
                <a:spcPts val="0"/>
              </a:spcBef>
              <a:spcAft>
                <a:spcPts val="0"/>
              </a:spcAft>
              <a:defRPr sz="1200" baseline="0"/>
            </a:lvl1pPr>
          </a:lstStyle>
          <a:p>
            <a:r>
              <a:rPr lang="de-DE" noProof="0"/>
              <a:t> </a:t>
            </a:r>
          </a:p>
        </p:txBody>
      </p:sp>
      <p:sp>
        <p:nvSpPr>
          <p:cNvPr id="2" name="Titel 1"/>
          <p:cNvSpPr>
            <a:spLocks noGrp="1"/>
          </p:cNvSpPr>
          <p:nvPr>
            <p:ph type="ctrTitle" hasCustomPrompt="1"/>
          </p:nvPr>
        </p:nvSpPr>
        <p:spPr bwMode="gray">
          <a:xfrm>
            <a:off x="1092200" y="3975766"/>
            <a:ext cx="4895850" cy="569387"/>
          </a:xfrm>
          <a:prstGeom prst="rect">
            <a:avLst/>
          </a:prstGeom>
          <a:noFill/>
        </p:spPr>
        <p:txBody>
          <a:bodyPr wrap="square" lIns="0" tIns="0" rIns="0" bIns="0" anchor="b">
            <a:normAutofit/>
          </a:bodyPr>
          <a:lstStyle>
            <a:lvl1pPr marL="0" indent="0" algn="l">
              <a:buFont typeface="Yanone Kaffeesatz" panose="00000500000000000000" pitchFamily="50" charset="0"/>
              <a:buNone/>
              <a:defRPr sz="3700" b="1" i="0" cap="none" baseline="0">
                <a:solidFill>
                  <a:schemeClr val="tx1"/>
                </a:solidFill>
                <a:latin typeface="Barlow Black" pitchFamily="2" charset="77"/>
              </a:defRPr>
            </a:lvl1pPr>
          </a:lstStyle>
          <a:p>
            <a:r>
              <a:rPr lang="de-DE" noProof="0"/>
              <a:t>TITLE IN ONE LINE</a:t>
            </a:r>
          </a:p>
        </p:txBody>
      </p:sp>
      <p:sp>
        <p:nvSpPr>
          <p:cNvPr id="3" name="Untertitel 2"/>
          <p:cNvSpPr>
            <a:spLocks noGrp="1"/>
          </p:cNvSpPr>
          <p:nvPr>
            <p:ph type="subTitle" idx="1" hasCustomPrompt="1"/>
          </p:nvPr>
        </p:nvSpPr>
        <p:spPr bwMode="gray">
          <a:xfrm>
            <a:off x="1092200" y="4761148"/>
            <a:ext cx="4895850" cy="1296752"/>
          </a:xfrm>
          <a:prstGeom prst="rect">
            <a:avLst/>
          </a:prstGeom>
          <a:noFill/>
        </p:spPr>
        <p:txBody>
          <a:bodyPr wrap="square" lIns="0" tIns="0" rIns="0" bIns="0">
            <a:normAutofit/>
          </a:bodyPr>
          <a:lstStyle>
            <a:lvl1pPr marL="0" indent="0" algn="l">
              <a:lnSpc>
                <a:spcPct val="110000"/>
              </a:lnSpc>
              <a:spcBef>
                <a:spcPts val="0"/>
              </a:spcBef>
              <a:spcAft>
                <a:spcPts val="0"/>
              </a:spcAft>
              <a:buNone/>
              <a:defRPr sz="2500" b="0" i="0">
                <a:solidFill>
                  <a:schemeClr val="tx1"/>
                </a:solidFill>
                <a:latin typeface="+mj-lt"/>
              </a:defRPr>
            </a:lvl1pPr>
            <a:lvl2pPr marL="0" indent="0" algn="l">
              <a:lnSpc>
                <a:spcPct val="110000"/>
              </a:lnSpc>
              <a:spcBef>
                <a:spcPts val="1200"/>
              </a:spcBef>
              <a:spcAft>
                <a:spcPts val="0"/>
              </a:spcAft>
              <a:buNone/>
              <a:defRPr sz="2000" b="0">
                <a:solidFill>
                  <a:schemeClr val="tx1"/>
                </a:solidFill>
                <a:latin typeface="+mj-lt"/>
              </a:defRPr>
            </a:lvl2pPr>
            <a:lvl3pPr marL="0" indent="0" algn="l">
              <a:lnSpc>
                <a:spcPct val="110000"/>
              </a:lnSpc>
              <a:spcBef>
                <a:spcPts val="0"/>
              </a:spcBef>
              <a:spcAft>
                <a:spcPts val="0"/>
              </a:spcAft>
              <a:buNone/>
              <a:defRPr sz="2000" b="0">
                <a:solidFill>
                  <a:schemeClr val="tx1"/>
                </a:solidFill>
                <a:latin typeface="+mj-lt"/>
              </a:defRPr>
            </a:lvl3pPr>
            <a:lvl4pPr marL="0" indent="0" algn="l">
              <a:lnSpc>
                <a:spcPct val="110000"/>
              </a:lnSpc>
              <a:spcBef>
                <a:spcPts val="0"/>
              </a:spcBef>
              <a:spcAft>
                <a:spcPts val="0"/>
              </a:spcAft>
              <a:buNone/>
              <a:defRPr sz="2000" b="0">
                <a:solidFill>
                  <a:schemeClr val="tx1"/>
                </a:solidFill>
                <a:latin typeface="+mj-lt"/>
              </a:defRPr>
            </a:lvl4pPr>
            <a:lvl5pPr marL="0" indent="0" algn="l">
              <a:lnSpc>
                <a:spcPct val="110000"/>
              </a:lnSpc>
              <a:spcBef>
                <a:spcPts val="0"/>
              </a:spcBef>
              <a:spcAft>
                <a:spcPts val="0"/>
              </a:spcAft>
              <a:buNone/>
              <a:defRPr sz="2000" b="0">
                <a:solidFill>
                  <a:schemeClr val="tx1"/>
                </a:solidFill>
                <a:latin typeface="+mj-lt"/>
              </a:defRPr>
            </a:lvl5pPr>
            <a:lvl6pPr marL="0" indent="0" algn="l">
              <a:lnSpc>
                <a:spcPct val="110000"/>
              </a:lnSpc>
              <a:spcBef>
                <a:spcPts val="0"/>
              </a:spcBef>
              <a:spcAft>
                <a:spcPts val="0"/>
              </a:spcAft>
              <a:buNone/>
              <a:defRPr sz="2000" b="0">
                <a:solidFill>
                  <a:schemeClr val="tx1"/>
                </a:solidFill>
                <a:latin typeface="+mj-lt"/>
              </a:defRPr>
            </a:lvl6pPr>
            <a:lvl7pPr marL="0" indent="0" algn="l">
              <a:lnSpc>
                <a:spcPct val="110000"/>
              </a:lnSpc>
              <a:spcBef>
                <a:spcPts val="0"/>
              </a:spcBef>
              <a:spcAft>
                <a:spcPts val="0"/>
              </a:spcAft>
              <a:buNone/>
              <a:defRPr sz="2000" b="0">
                <a:solidFill>
                  <a:schemeClr val="tx1"/>
                </a:solidFill>
                <a:latin typeface="+mj-lt"/>
              </a:defRPr>
            </a:lvl7pPr>
            <a:lvl8pPr marL="0" indent="0" algn="l">
              <a:lnSpc>
                <a:spcPct val="110000"/>
              </a:lnSpc>
              <a:spcBef>
                <a:spcPts val="0"/>
              </a:spcBef>
              <a:spcAft>
                <a:spcPts val="0"/>
              </a:spcAft>
              <a:buNone/>
              <a:defRPr sz="2000" b="0">
                <a:solidFill>
                  <a:schemeClr val="tx1"/>
                </a:solidFill>
                <a:latin typeface="+mj-lt"/>
              </a:defRPr>
            </a:lvl8pPr>
            <a:lvl9pPr marL="0" indent="0" algn="l">
              <a:lnSpc>
                <a:spcPct val="110000"/>
              </a:lnSpc>
              <a:spcBef>
                <a:spcPts val="0"/>
              </a:spcBef>
              <a:spcAft>
                <a:spcPts val="0"/>
              </a:spcAft>
              <a:buNone/>
              <a:defRPr sz="2000" b="0">
                <a:solidFill>
                  <a:schemeClr val="tx1"/>
                </a:solidFill>
                <a:latin typeface="+mj-lt"/>
              </a:defRPr>
            </a:lvl9pPr>
          </a:lstStyle>
          <a:p>
            <a:pPr lvl="0"/>
            <a:r>
              <a:rPr lang="de-DE" noProof="0" err="1"/>
              <a:t>Subtitle</a:t>
            </a:r>
            <a:r>
              <a:rPr lang="de-DE" noProof="0"/>
              <a:t> and </a:t>
            </a:r>
            <a:r>
              <a:rPr lang="de-DE" noProof="0" err="1"/>
              <a:t>other</a:t>
            </a:r>
            <a:r>
              <a:rPr lang="de-DE" noProof="0"/>
              <a:t> </a:t>
            </a:r>
            <a:r>
              <a:rPr lang="de-DE" noProof="0" err="1"/>
              <a:t>information</a:t>
            </a:r>
            <a:r>
              <a:rPr lang="de-DE" noProof="0"/>
              <a:t> </a:t>
            </a:r>
            <a:br>
              <a:rPr lang="de-DE" noProof="0"/>
            </a:br>
            <a:r>
              <a:rPr lang="de-DE" noProof="0"/>
              <a:t>Place &amp; Date in </a:t>
            </a:r>
            <a:r>
              <a:rPr lang="de-DE" noProof="0" err="1"/>
              <a:t>second</a:t>
            </a:r>
            <a:r>
              <a:rPr lang="de-DE" noProof="0"/>
              <a:t> </a:t>
            </a:r>
            <a:r>
              <a:rPr lang="de-DE" noProof="0" err="1"/>
              <a:t>text</a:t>
            </a:r>
            <a:r>
              <a:rPr lang="de-DE" noProof="0"/>
              <a:t> </a:t>
            </a:r>
            <a:r>
              <a:rPr lang="de-DE" noProof="0" err="1"/>
              <a:t>level</a:t>
            </a:r>
            <a:endParaRPr lang="de-DE" noProof="0"/>
          </a:p>
        </p:txBody>
      </p:sp>
      <p:sp>
        <p:nvSpPr>
          <p:cNvPr id="12" name="Freeform 5">
            <a:extLst>
              <a:ext uri="{FF2B5EF4-FFF2-40B4-BE49-F238E27FC236}">
                <a16:creationId xmlns:a16="http://schemas.microsoft.com/office/drawing/2014/main" id="{04FAF496-2E25-1A40-A075-80578E6ECB75}"/>
              </a:ext>
            </a:extLst>
          </p:cNvPr>
          <p:cNvSpPr>
            <a:spLocks noChangeAspect="1" noEditPoints="1"/>
          </p:cNvSpPr>
          <p:nvPr userDrawn="1"/>
        </p:nvSpPr>
        <p:spPr bwMode="gray">
          <a:xfrm>
            <a:off x="1091444" y="3189600"/>
            <a:ext cx="797172" cy="432000"/>
          </a:xfrm>
          <a:custGeom>
            <a:avLst/>
            <a:gdLst>
              <a:gd name="T0" fmla="*/ 951 w 1114"/>
              <a:gd name="T1" fmla="*/ 127 h 603"/>
              <a:gd name="T2" fmla="*/ 939 w 1114"/>
              <a:gd name="T3" fmla="*/ 161 h 603"/>
              <a:gd name="T4" fmla="*/ 1050 w 1114"/>
              <a:gd name="T5" fmla="*/ 249 h 603"/>
              <a:gd name="T6" fmla="*/ 1114 w 1114"/>
              <a:gd name="T7" fmla="*/ 381 h 603"/>
              <a:gd name="T8" fmla="*/ 1077 w 1114"/>
              <a:gd name="T9" fmla="*/ 471 h 603"/>
              <a:gd name="T10" fmla="*/ 987 w 1114"/>
              <a:gd name="T11" fmla="*/ 508 h 603"/>
              <a:gd name="T12" fmla="*/ 800 w 1114"/>
              <a:gd name="T13" fmla="*/ 508 h 603"/>
              <a:gd name="T14" fmla="*/ 794 w 1114"/>
              <a:gd name="T15" fmla="*/ 501 h 603"/>
              <a:gd name="T16" fmla="*/ 794 w 1114"/>
              <a:gd name="T17" fmla="*/ 387 h 603"/>
              <a:gd name="T18" fmla="*/ 800 w 1114"/>
              <a:gd name="T19" fmla="*/ 381 h 603"/>
              <a:gd name="T20" fmla="*/ 957 w 1114"/>
              <a:gd name="T21" fmla="*/ 381 h 603"/>
              <a:gd name="T22" fmla="*/ 969 w 1114"/>
              <a:gd name="T23" fmla="*/ 347 h 603"/>
              <a:gd name="T24" fmla="*/ 857 w 1114"/>
              <a:gd name="T25" fmla="*/ 258 h 603"/>
              <a:gd name="T26" fmla="*/ 794 w 1114"/>
              <a:gd name="T27" fmla="*/ 127 h 603"/>
              <a:gd name="T28" fmla="*/ 921 w 1114"/>
              <a:gd name="T29" fmla="*/ 0 h 603"/>
              <a:gd name="T30" fmla="*/ 1082 w 1114"/>
              <a:gd name="T31" fmla="*/ 0 h 603"/>
              <a:gd name="T32" fmla="*/ 1095 w 1114"/>
              <a:gd name="T33" fmla="*/ 12 h 603"/>
              <a:gd name="T34" fmla="*/ 1095 w 1114"/>
              <a:gd name="T35" fmla="*/ 114 h 603"/>
              <a:gd name="T36" fmla="*/ 1082 w 1114"/>
              <a:gd name="T37" fmla="*/ 127 h 603"/>
              <a:gd name="T38" fmla="*/ 951 w 1114"/>
              <a:gd name="T39" fmla="*/ 127 h 603"/>
              <a:gd name="T40" fmla="*/ 635 w 1114"/>
              <a:gd name="T41" fmla="*/ 0 h 603"/>
              <a:gd name="T42" fmla="*/ 476 w 1114"/>
              <a:gd name="T43" fmla="*/ 0 h 603"/>
              <a:gd name="T44" fmla="*/ 349 w 1114"/>
              <a:gd name="T45" fmla="*/ 127 h 603"/>
              <a:gd name="T46" fmla="*/ 349 w 1114"/>
              <a:gd name="T47" fmla="*/ 380 h 603"/>
              <a:gd name="T48" fmla="*/ 349 w 1114"/>
              <a:gd name="T49" fmla="*/ 381 h 603"/>
              <a:gd name="T50" fmla="*/ 178 w 1114"/>
              <a:gd name="T51" fmla="*/ 381 h 603"/>
              <a:gd name="T52" fmla="*/ 127 w 1114"/>
              <a:gd name="T53" fmla="*/ 330 h 603"/>
              <a:gd name="T54" fmla="*/ 127 w 1114"/>
              <a:gd name="T55" fmla="*/ 310 h 603"/>
              <a:gd name="T56" fmla="*/ 133 w 1114"/>
              <a:gd name="T57" fmla="*/ 303 h 603"/>
              <a:gd name="T58" fmla="*/ 216 w 1114"/>
              <a:gd name="T59" fmla="*/ 303 h 603"/>
              <a:gd name="T60" fmla="*/ 228 w 1114"/>
              <a:gd name="T61" fmla="*/ 291 h 603"/>
              <a:gd name="T62" fmla="*/ 228 w 1114"/>
              <a:gd name="T63" fmla="*/ 215 h 603"/>
              <a:gd name="T64" fmla="*/ 216 w 1114"/>
              <a:gd name="T65" fmla="*/ 202 h 603"/>
              <a:gd name="T66" fmla="*/ 133 w 1114"/>
              <a:gd name="T67" fmla="*/ 202 h 603"/>
              <a:gd name="T68" fmla="*/ 127 w 1114"/>
              <a:gd name="T69" fmla="*/ 196 h 603"/>
              <a:gd name="T70" fmla="*/ 127 w 1114"/>
              <a:gd name="T71" fmla="*/ 178 h 603"/>
              <a:gd name="T72" fmla="*/ 178 w 1114"/>
              <a:gd name="T73" fmla="*/ 127 h 603"/>
              <a:gd name="T74" fmla="*/ 305 w 1114"/>
              <a:gd name="T75" fmla="*/ 127 h 603"/>
              <a:gd name="T76" fmla="*/ 318 w 1114"/>
              <a:gd name="T77" fmla="*/ 114 h 603"/>
              <a:gd name="T78" fmla="*/ 318 w 1114"/>
              <a:gd name="T79" fmla="*/ 13 h 603"/>
              <a:gd name="T80" fmla="*/ 305 w 1114"/>
              <a:gd name="T81" fmla="*/ 0 h 603"/>
              <a:gd name="T82" fmla="*/ 127 w 1114"/>
              <a:gd name="T83" fmla="*/ 0 h 603"/>
              <a:gd name="T84" fmla="*/ 0 w 1114"/>
              <a:gd name="T85" fmla="*/ 127 h 603"/>
              <a:gd name="T86" fmla="*/ 0 w 1114"/>
              <a:gd name="T87" fmla="*/ 381 h 603"/>
              <a:gd name="T88" fmla="*/ 127 w 1114"/>
              <a:gd name="T89" fmla="*/ 508 h 603"/>
              <a:gd name="T90" fmla="*/ 597 w 1114"/>
              <a:gd name="T91" fmla="*/ 508 h 603"/>
              <a:gd name="T92" fmla="*/ 604 w 1114"/>
              <a:gd name="T93" fmla="*/ 501 h 603"/>
              <a:gd name="T94" fmla="*/ 604 w 1114"/>
              <a:gd name="T95" fmla="*/ 387 h 603"/>
              <a:gd name="T96" fmla="*/ 597 w 1114"/>
              <a:gd name="T97" fmla="*/ 381 h 603"/>
              <a:gd name="T98" fmla="*/ 527 w 1114"/>
              <a:gd name="T99" fmla="*/ 381 h 603"/>
              <a:gd name="T100" fmla="*/ 476 w 1114"/>
              <a:gd name="T101" fmla="*/ 330 h 603"/>
              <a:gd name="T102" fmla="*/ 476 w 1114"/>
              <a:gd name="T103" fmla="*/ 178 h 603"/>
              <a:gd name="T104" fmla="*/ 527 w 1114"/>
              <a:gd name="T105" fmla="*/ 127 h 603"/>
              <a:gd name="T106" fmla="*/ 585 w 1114"/>
              <a:gd name="T107" fmla="*/ 127 h 603"/>
              <a:gd name="T108" fmla="*/ 635 w 1114"/>
              <a:gd name="T109" fmla="*/ 178 h 603"/>
              <a:gd name="T110" fmla="*/ 635 w 1114"/>
              <a:gd name="T111" fmla="*/ 507 h 603"/>
              <a:gd name="T112" fmla="*/ 635 w 1114"/>
              <a:gd name="T113" fmla="*/ 590 h 603"/>
              <a:gd name="T114" fmla="*/ 648 w 1114"/>
              <a:gd name="T115" fmla="*/ 603 h 603"/>
              <a:gd name="T116" fmla="*/ 749 w 1114"/>
              <a:gd name="T117" fmla="*/ 603 h 603"/>
              <a:gd name="T118" fmla="*/ 762 w 1114"/>
              <a:gd name="T119" fmla="*/ 590 h 603"/>
              <a:gd name="T120" fmla="*/ 762 w 1114"/>
              <a:gd name="T121" fmla="*/ 380 h 603"/>
              <a:gd name="T122" fmla="*/ 762 w 1114"/>
              <a:gd name="T123" fmla="*/ 127 h 603"/>
              <a:gd name="T124" fmla="*/ 635 w 1114"/>
              <a:gd name="T125" fmla="*/ 0 h 6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114" h="603">
                <a:moveTo>
                  <a:pt x="951" y="127"/>
                </a:moveTo>
                <a:cubicBezTo>
                  <a:pt x="933" y="127"/>
                  <a:pt x="925" y="150"/>
                  <a:pt x="939" y="161"/>
                </a:cubicBezTo>
                <a:cubicBezTo>
                  <a:pt x="1050" y="249"/>
                  <a:pt x="1050" y="249"/>
                  <a:pt x="1050" y="249"/>
                </a:cubicBezTo>
                <a:cubicBezTo>
                  <a:pt x="1090" y="281"/>
                  <a:pt x="1114" y="329"/>
                  <a:pt x="1114" y="381"/>
                </a:cubicBezTo>
                <a:cubicBezTo>
                  <a:pt x="1114" y="416"/>
                  <a:pt x="1100" y="447"/>
                  <a:pt x="1077" y="471"/>
                </a:cubicBezTo>
                <a:cubicBezTo>
                  <a:pt x="1054" y="494"/>
                  <a:pt x="1022" y="508"/>
                  <a:pt x="987" y="508"/>
                </a:cubicBezTo>
                <a:cubicBezTo>
                  <a:pt x="800" y="508"/>
                  <a:pt x="800" y="508"/>
                  <a:pt x="800" y="508"/>
                </a:cubicBezTo>
                <a:cubicBezTo>
                  <a:pt x="797" y="508"/>
                  <a:pt x="794" y="505"/>
                  <a:pt x="794" y="501"/>
                </a:cubicBezTo>
                <a:cubicBezTo>
                  <a:pt x="794" y="387"/>
                  <a:pt x="794" y="387"/>
                  <a:pt x="794" y="387"/>
                </a:cubicBezTo>
                <a:cubicBezTo>
                  <a:pt x="794" y="383"/>
                  <a:pt x="797" y="381"/>
                  <a:pt x="800" y="381"/>
                </a:cubicBezTo>
                <a:cubicBezTo>
                  <a:pt x="957" y="381"/>
                  <a:pt x="957" y="381"/>
                  <a:pt x="957" y="381"/>
                </a:cubicBezTo>
                <a:cubicBezTo>
                  <a:pt x="975" y="381"/>
                  <a:pt x="983" y="358"/>
                  <a:pt x="969" y="347"/>
                </a:cubicBezTo>
                <a:cubicBezTo>
                  <a:pt x="857" y="258"/>
                  <a:pt x="857" y="258"/>
                  <a:pt x="857" y="258"/>
                </a:cubicBezTo>
                <a:cubicBezTo>
                  <a:pt x="817" y="226"/>
                  <a:pt x="794" y="178"/>
                  <a:pt x="794" y="127"/>
                </a:cubicBezTo>
                <a:cubicBezTo>
                  <a:pt x="794" y="57"/>
                  <a:pt x="851" y="0"/>
                  <a:pt x="921" y="0"/>
                </a:cubicBezTo>
                <a:cubicBezTo>
                  <a:pt x="1082" y="0"/>
                  <a:pt x="1082" y="0"/>
                  <a:pt x="1082" y="0"/>
                </a:cubicBezTo>
                <a:cubicBezTo>
                  <a:pt x="1089" y="0"/>
                  <a:pt x="1095" y="5"/>
                  <a:pt x="1095" y="12"/>
                </a:cubicBezTo>
                <a:cubicBezTo>
                  <a:pt x="1095" y="114"/>
                  <a:pt x="1095" y="114"/>
                  <a:pt x="1095" y="114"/>
                </a:cubicBezTo>
                <a:cubicBezTo>
                  <a:pt x="1095" y="121"/>
                  <a:pt x="1089" y="127"/>
                  <a:pt x="1082" y="127"/>
                </a:cubicBezTo>
                <a:lnTo>
                  <a:pt x="951" y="127"/>
                </a:lnTo>
                <a:close/>
                <a:moveTo>
                  <a:pt x="635" y="0"/>
                </a:moveTo>
                <a:cubicBezTo>
                  <a:pt x="476" y="0"/>
                  <a:pt x="476" y="0"/>
                  <a:pt x="476" y="0"/>
                </a:cubicBezTo>
                <a:cubicBezTo>
                  <a:pt x="406" y="0"/>
                  <a:pt x="349" y="57"/>
                  <a:pt x="349" y="127"/>
                </a:cubicBezTo>
                <a:cubicBezTo>
                  <a:pt x="349" y="380"/>
                  <a:pt x="349" y="380"/>
                  <a:pt x="349" y="380"/>
                </a:cubicBezTo>
                <a:cubicBezTo>
                  <a:pt x="349" y="380"/>
                  <a:pt x="349" y="381"/>
                  <a:pt x="349" y="381"/>
                </a:cubicBezTo>
                <a:cubicBezTo>
                  <a:pt x="178" y="381"/>
                  <a:pt x="178" y="381"/>
                  <a:pt x="178" y="381"/>
                </a:cubicBezTo>
                <a:cubicBezTo>
                  <a:pt x="150" y="381"/>
                  <a:pt x="127" y="358"/>
                  <a:pt x="127" y="330"/>
                </a:cubicBezTo>
                <a:cubicBezTo>
                  <a:pt x="127" y="310"/>
                  <a:pt x="127" y="310"/>
                  <a:pt x="127" y="310"/>
                </a:cubicBezTo>
                <a:cubicBezTo>
                  <a:pt x="127" y="306"/>
                  <a:pt x="130" y="303"/>
                  <a:pt x="133" y="303"/>
                </a:cubicBezTo>
                <a:cubicBezTo>
                  <a:pt x="216" y="303"/>
                  <a:pt x="216" y="303"/>
                  <a:pt x="216" y="303"/>
                </a:cubicBezTo>
                <a:cubicBezTo>
                  <a:pt x="223" y="303"/>
                  <a:pt x="228" y="298"/>
                  <a:pt x="228" y="291"/>
                </a:cubicBezTo>
                <a:cubicBezTo>
                  <a:pt x="228" y="215"/>
                  <a:pt x="228" y="215"/>
                  <a:pt x="228" y="215"/>
                </a:cubicBezTo>
                <a:cubicBezTo>
                  <a:pt x="228" y="208"/>
                  <a:pt x="223" y="202"/>
                  <a:pt x="216" y="202"/>
                </a:cubicBezTo>
                <a:cubicBezTo>
                  <a:pt x="133" y="202"/>
                  <a:pt x="133" y="202"/>
                  <a:pt x="133" y="202"/>
                </a:cubicBezTo>
                <a:cubicBezTo>
                  <a:pt x="130" y="202"/>
                  <a:pt x="127" y="199"/>
                  <a:pt x="127" y="196"/>
                </a:cubicBezTo>
                <a:cubicBezTo>
                  <a:pt x="127" y="178"/>
                  <a:pt x="127" y="178"/>
                  <a:pt x="127" y="178"/>
                </a:cubicBezTo>
                <a:cubicBezTo>
                  <a:pt x="127" y="150"/>
                  <a:pt x="150" y="127"/>
                  <a:pt x="178" y="127"/>
                </a:cubicBezTo>
                <a:cubicBezTo>
                  <a:pt x="305" y="127"/>
                  <a:pt x="305" y="127"/>
                  <a:pt x="305" y="127"/>
                </a:cubicBezTo>
                <a:cubicBezTo>
                  <a:pt x="312" y="127"/>
                  <a:pt x="318" y="121"/>
                  <a:pt x="318" y="114"/>
                </a:cubicBezTo>
                <a:cubicBezTo>
                  <a:pt x="318" y="13"/>
                  <a:pt x="318" y="13"/>
                  <a:pt x="318" y="13"/>
                </a:cubicBezTo>
                <a:cubicBezTo>
                  <a:pt x="318" y="6"/>
                  <a:pt x="312" y="0"/>
                  <a:pt x="305" y="0"/>
                </a:cubicBezTo>
                <a:cubicBezTo>
                  <a:pt x="127" y="0"/>
                  <a:pt x="127" y="0"/>
                  <a:pt x="127" y="0"/>
                </a:cubicBezTo>
                <a:cubicBezTo>
                  <a:pt x="57" y="0"/>
                  <a:pt x="0" y="57"/>
                  <a:pt x="0" y="127"/>
                </a:cubicBezTo>
                <a:cubicBezTo>
                  <a:pt x="0" y="381"/>
                  <a:pt x="0" y="381"/>
                  <a:pt x="0" y="381"/>
                </a:cubicBezTo>
                <a:cubicBezTo>
                  <a:pt x="0" y="451"/>
                  <a:pt x="57" y="508"/>
                  <a:pt x="127" y="508"/>
                </a:cubicBezTo>
                <a:cubicBezTo>
                  <a:pt x="597" y="508"/>
                  <a:pt x="597" y="508"/>
                  <a:pt x="597" y="508"/>
                </a:cubicBezTo>
                <a:cubicBezTo>
                  <a:pt x="601" y="508"/>
                  <a:pt x="604" y="505"/>
                  <a:pt x="604" y="501"/>
                </a:cubicBezTo>
                <a:cubicBezTo>
                  <a:pt x="604" y="387"/>
                  <a:pt x="604" y="387"/>
                  <a:pt x="604" y="387"/>
                </a:cubicBezTo>
                <a:cubicBezTo>
                  <a:pt x="604" y="384"/>
                  <a:pt x="601" y="381"/>
                  <a:pt x="597" y="381"/>
                </a:cubicBezTo>
                <a:cubicBezTo>
                  <a:pt x="527" y="381"/>
                  <a:pt x="527" y="381"/>
                  <a:pt x="527" y="381"/>
                </a:cubicBezTo>
                <a:cubicBezTo>
                  <a:pt x="499" y="381"/>
                  <a:pt x="476" y="358"/>
                  <a:pt x="476" y="330"/>
                </a:cubicBezTo>
                <a:cubicBezTo>
                  <a:pt x="476" y="178"/>
                  <a:pt x="476" y="178"/>
                  <a:pt x="476" y="178"/>
                </a:cubicBezTo>
                <a:cubicBezTo>
                  <a:pt x="476" y="150"/>
                  <a:pt x="499" y="127"/>
                  <a:pt x="527" y="127"/>
                </a:cubicBezTo>
                <a:cubicBezTo>
                  <a:pt x="585" y="127"/>
                  <a:pt x="585" y="127"/>
                  <a:pt x="585" y="127"/>
                </a:cubicBezTo>
                <a:cubicBezTo>
                  <a:pt x="613" y="127"/>
                  <a:pt x="635" y="150"/>
                  <a:pt x="635" y="178"/>
                </a:cubicBezTo>
                <a:cubicBezTo>
                  <a:pt x="635" y="507"/>
                  <a:pt x="635" y="507"/>
                  <a:pt x="635" y="507"/>
                </a:cubicBezTo>
                <a:cubicBezTo>
                  <a:pt x="635" y="590"/>
                  <a:pt x="635" y="590"/>
                  <a:pt x="635" y="590"/>
                </a:cubicBezTo>
                <a:cubicBezTo>
                  <a:pt x="635" y="597"/>
                  <a:pt x="641" y="603"/>
                  <a:pt x="648" y="603"/>
                </a:cubicBezTo>
                <a:cubicBezTo>
                  <a:pt x="749" y="603"/>
                  <a:pt x="749" y="603"/>
                  <a:pt x="749" y="603"/>
                </a:cubicBezTo>
                <a:cubicBezTo>
                  <a:pt x="756" y="603"/>
                  <a:pt x="762" y="597"/>
                  <a:pt x="762" y="590"/>
                </a:cubicBezTo>
                <a:cubicBezTo>
                  <a:pt x="762" y="380"/>
                  <a:pt x="762" y="380"/>
                  <a:pt x="762" y="380"/>
                </a:cubicBezTo>
                <a:cubicBezTo>
                  <a:pt x="762" y="127"/>
                  <a:pt x="762" y="127"/>
                  <a:pt x="762" y="127"/>
                </a:cubicBezTo>
                <a:cubicBezTo>
                  <a:pt x="762" y="57"/>
                  <a:pt x="705" y="0"/>
                  <a:pt x="635" y="0"/>
                </a:cubicBezTo>
              </a:path>
            </a:pathLst>
          </a:custGeom>
          <a:solidFill>
            <a:srgbClr val="E90055"/>
          </a:solidFill>
          <a:ln>
            <a:noFill/>
          </a:ln>
        </p:spPr>
        <p:txBody>
          <a:bodyPr vert="horz" wrap="square" lIns="91440" tIns="45720" rIns="91440" bIns="45720" numCol="1" anchor="t" anchorCtr="0" compatLnSpc="1">
            <a:prstTxWarp prst="textNoShape">
              <a:avLst/>
            </a:prstTxWarp>
          </a:bodyPr>
          <a:lstStyle/>
          <a:p>
            <a:endParaRPr lang="de-DE"/>
          </a:p>
        </p:txBody>
      </p:sp>
    </p:spTree>
    <p:extLst>
      <p:ext uri="{BB962C8B-B14F-4D97-AF65-F5344CB8AC3E}">
        <p14:creationId xmlns:p14="http://schemas.microsoft.com/office/powerpoint/2010/main" val="3811290554"/>
      </p:ext>
    </p:extLst>
  </p:cSld>
  <p:clrMapOvr>
    <a:masterClrMapping/>
  </p:clrMapOvr>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Divider | 6">
    <p:bg>
      <p:bgPr>
        <a:solidFill>
          <a:srgbClr val="48E9A3"/>
        </a:solidFill>
        <a:effectLst/>
      </p:bgPr>
    </p:bg>
    <p:spTree>
      <p:nvGrpSpPr>
        <p:cNvPr id="1" name=""/>
        <p:cNvGrpSpPr/>
        <p:nvPr/>
      </p:nvGrpSpPr>
      <p:grpSpPr>
        <a:xfrm>
          <a:off x="0" y="0"/>
          <a:ext cx="0" cy="0"/>
          <a:chOff x="0" y="0"/>
          <a:chExt cx="0" cy="0"/>
        </a:xfrm>
      </p:grpSpPr>
      <p:sp>
        <p:nvSpPr>
          <p:cNvPr id="3" name="Textplatzhalter 2"/>
          <p:cNvSpPr>
            <a:spLocks noGrp="1"/>
          </p:cNvSpPr>
          <p:nvPr>
            <p:ph type="body" idx="1" hasCustomPrompt="1"/>
          </p:nvPr>
        </p:nvSpPr>
        <p:spPr bwMode="gray">
          <a:xfrm>
            <a:off x="1092200" y="1412875"/>
            <a:ext cx="5111750" cy="4356385"/>
          </a:xfrm>
          <a:prstGeom prst="rect">
            <a:avLst/>
          </a:prstGeom>
        </p:spPr>
        <p:txBody>
          <a:bodyPr anchor="t"/>
          <a:lstStyle>
            <a:lvl1pPr marL="0" indent="0">
              <a:lnSpc>
                <a:spcPct val="100000"/>
              </a:lnSpc>
              <a:spcBef>
                <a:spcPts val="0"/>
              </a:spcBef>
              <a:buFont typeface="Yanone Kaffeesatz" pitchFamily="50" charset="0"/>
              <a:buNone/>
              <a:defRPr sz="3700" b="1" i="1" cap="none" baseline="0">
                <a:solidFill>
                  <a:schemeClr val="bg1"/>
                </a:solidFill>
                <a:latin typeface="Barlow ExtraBold" pitchFamily="2" charset="77"/>
              </a:defRPr>
            </a:lvl1pPr>
            <a:lvl2pPr marL="0" indent="0">
              <a:lnSpc>
                <a:spcPct val="110000"/>
              </a:lnSpc>
              <a:spcBef>
                <a:spcPts val="0"/>
              </a:spcBef>
              <a:spcAft>
                <a:spcPts val="0"/>
              </a:spcAft>
              <a:buNone/>
              <a:defRPr sz="2000">
                <a:solidFill>
                  <a:schemeClr val="bg1"/>
                </a:solidFill>
                <a:latin typeface="+mj-lt"/>
              </a:defRPr>
            </a:lvl2pPr>
            <a:lvl3pPr marL="0" indent="0">
              <a:lnSpc>
                <a:spcPct val="110000"/>
              </a:lnSpc>
              <a:spcBef>
                <a:spcPts val="0"/>
              </a:spcBef>
              <a:spcAft>
                <a:spcPts val="0"/>
              </a:spcAft>
              <a:buNone/>
              <a:defRPr sz="2000">
                <a:solidFill>
                  <a:schemeClr val="bg1"/>
                </a:solidFill>
                <a:latin typeface="+mj-lt"/>
              </a:defRPr>
            </a:lvl3pPr>
            <a:lvl4pPr marL="0" indent="0">
              <a:lnSpc>
                <a:spcPct val="110000"/>
              </a:lnSpc>
              <a:spcBef>
                <a:spcPts val="0"/>
              </a:spcBef>
              <a:spcAft>
                <a:spcPts val="0"/>
              </a:spcAft>
              <a:buNone/>
              <a:defRPr sz="2000">
                <a:solidFill>
                  <a:schemeClr val="bg1"/>
                </a:solidFill>
                <a:latin typeface="+mj-lt"/>
              </a:defRPr>
            </a:lvl4pPr>
            <a:lvl5pPr marL="0" indent="0">
              <a:lnSpc>
                <a:spcPct val="110000"/>
              </a:lnSpc>
              <a:spcBef>
                <a:spcPts val="0"/>
              </a:spcBef>
              <a:spcAft>
                <a:spcPts val="0"/>
              </a:spcAft>
              <a:buNone/>
              <a:defRPr sz="2000">
                <a:solidFill>
                  <a:schemeClr val="bg1"/>
                </a:solidFill>
                <a:latin typeface="+mj-lt"/>
              </a:defRPr>
            </a:lvl5pPr>
            <a:lvl6pPr marL="0" indent="0">
              <a:lnSpc>
                <a:spcPct val="110000"/>
              </a:lnSpc>
              <a:spcBef>
                <a:spcPts val="0"/>
              </a:spcBef>
              <a:spcAft>
                <a:spcPts val="0"/>
              </a:spcAft>
              <a:buNone/>
              <a:defRPr sz="2000">
                <a:solidFill>
                  <a:schemeClr val="bg1"/>
                </a:solidFill>
                <a:latin typeface="+mj-lt"/>
              </a:defRPr>
            </a:lvl6pPr>
            <a:lvl7pPr marL="0" indent="0">
              <a:lnSpc>
                <a:spcPct val="110000"/>
              </a:lnSpc>
              <a:spcBef>
                <a:spcPts val="0"/>
              </a:spcBef>
              <a:spcAft>
                <a:spcPts val="0"/>
              </a:spcAft>
              <a:buNone/>
              <a:defRPr sz="2000">
                <a:solidFill>
                  <a:schemeClr val="bg1"/>
                </a:solidFill>
                <a:latin typeface="+mj-lt"/>
              </a:defRPr>
            </a:lvl7pPr>
            <a:lvl8pPr marL="0" indent="0">
              <a:lnSpc>
                <a:spcPct val="110000"/>
              </a:lnSpc>
              <a:spcBef>
                <a:spcPts val="0"/>
              </a:spcBef>
              <a:spcAft>
                <a:spcPts val="0"/>
              </a:spcAft>
              <a:buNone/>
              <a:defRPr sz="2000">
                <a:solidFill>
                  <a:schemeClr val="bg1"/>
                </a:solidFill>
                <a:latin typeface="+mj-lt"/>
              </a:defRPr>
            </a:lvl8pPr>
            <a:lvl9pPr marL="0" indent="0">
              <a:lnSpc>
                <a:spcPct val="110000"/>
              </a:lnSpc>
              <a:spcBef>
                <a:spcPts val="0"/>
              </a:spcBef>
              <a:spcAft>
                <a:spcPts val="0"/>
              </a:spcAft>
              <a:buNone/>
              <a:defRPr sz="2000">
                <a:solidFill>
                  <a:schemeClr val="bg1"/>
                </a:solidFill>
                <a:latin typeface="+mj-lt"/>
              </a:defRPr>
            </a:lvl9pPr>
          </a:lstStyle>
          <a:p>
            <a:pPr lvl="0"/>
            <a:r>
              <a:rPr lang="de-DE" noProof="0" err="1"/>
              <a:t>Chapte</a:t>
            </a:r>
            <a:r>
              <a:rPr lang="de-DE" noProof="0"/>
              <a:t> </a:t>
            </a:r>
            <a:r>
              <a:rPr lang="de-DE" noProof="0" err="1"/>
              <a:t>r</a:t>
            </a:r>
            <a:r>
              <a:rPr lang="de-DE" noProof="0"/>
              <a:t> </a:t>
            </a:r>
            <a:r>
              <a:rPr lang="de-DE" noProof="0" err="1"/>
              <a:t>name</a:t>
            </a:r>
            <a:br>
              <a:rPr lang="de-DE" noProof="0"/>
            </a:br>
            <a:r>
              <a:rPr lang="de-DE" noProof="0"/>
              <a:t> (</a:t>
            </a:r>
            <a:r>
              <a:rPr lang="de-DE" noProof="0" err="1"/>
              <a:t>use</a:t>
            </a:r>
            <a:r>
              <a:rPr lang="de-DE" noProof="0"/>
              <a:t> </a:t>
            </a:r>
            <a:r>
              <a:rPr lang="de-DE" noProof="0" err="1"/>
              <a:t>the</a:t>
            </a:r>
            <a:r>
              <a:rPr lang="de-DE" noProof="0"/>
              <a:t> </a:t>
            </a:r>
            <a:r>
              <a:rPr lang="de-DE" noProof="0" err="1"/>
              <a:t>button</a:t>
            </a:r>
            <a:r>
              <a:rPr lang="de-DE" noProof="0"/>
              <a:t> “</a:t>
            </a:r>
            <a:r>
              <a:rPr lang="de-DE" noProof="0" err="1"/>
              <a:t>increase</a:t>
            </a:r>
            <a:r>
              <a:rPr lang="de-DE" noProof="0"/>
              <a:t> </a:t>
            </a:r>
            <a:r>
              <a:rPr lang="de-DE" noProof="0" err="1"/>
              <a:t>list</a:t>
            </a:r>
            <a:r>
              <a:rPr lang="de-DE" noProof="0"/>
              <a:t> </a:t>
            </a:r>
            <a:r>
              <a:rPr lang="de-DE" noProof="0" err="1"/>
              <a:t>level</a:t>
            </a:r>
            <a:r>
              <a:rPr lang="de-DE" noProof="0"/>
              <a:t>” </a:t>
            </a:r>
            <a:r>
              <a:rPr lang="de-DE" noProof="0" err="1"/>
              <a:t>to</a:t>
            </a:r>
            <a:r>
              <a:rPr lang="de-DE" noProof="0"/>
              <a:t> </a:t>
            </a:r>
            <a:r>
              <a:rPr lang="de-DE" noProof="0" err="1"/>
              <a:t>add</a:t>
            </a:r>
            <a:r>
              <a:rPr lang="de-DE" noProof="0"/>
              <a:t> optional </a:t>
            </a:r>
            <a:r>
              <a:rPr lang="de-DE" noProof="0" err="1"/>
              <a:t>information</a:t>
            </a:r>
            <a:r>
              <a:rPr lang="de-DE" noProof="0"/>
              <a:t>.)</a:t>
            </a:r>
          </a:p>
          <a:p>
            <a:pPr lvl="1"/>
            <a:r>
              <a:rPr lang="de-DE" noProof="0"/>
              <a:t>2. </a:t>
            </a:r>
            <a:r>
              <a:rPr lang="de-DE" noProof="0" err="1"/>
              <a:t>level</a:t>
            </a:r>
            <a:endParaRPr lang="de-DE" noProof="0"/>
          </a:p>
          <a:p>
            <a:pPr lvl="2"/>
            <a:r>
              <a:rPr lang="de-DE" noProof="0"/>
              <a:t>3. </a:t>
            </a:r>
            <a:r>
              <a:rPr lang="de-DE" noProof="0" err="1"/>
              <a:t>level</a:t>
            </a:r>
            <a:endParaRPr lang="de-DE" noProof="0"/>
          </a:p>
          <a:p>
            <a:pPr lvl="3"/>
            <a:r>
              <a:rPr lang="de-DE" noProof="0"/>
              <a:t>4. </a:t>
            </a:r>
            <a:r>
              <a:rPr lang="de-DE" noProof="0" err="1"/>
              <a:t>level</a:t>
            </a:r>
            <a:endParaRPr lang="de-DE" noProof="0"/>
          </a:p>
          <a:p>
            <a:pPr lvl="4"/>
            <a:r>
              <a:rPr lang="de-DE" noProof="0"/>
              <a:t>5. </a:t>
            </a:r>
            <a:r>
              <a:rPr lang="de-DE" noProof="0" err="1"/>
              <a:t>level</a:t>
            </a:r>
            <a:endParaRPr lang="de-DE" noProof="0"/>
          </a:p>
          <a:p>
            <a:pPr lvl="5"/>
            <a:r>
              <a:rPr lang="de-DE" noProof="0"/>
              <a:t>6. </a:t>
            </a:r>
            <a:r>
              <a:rPr lang="de-DE" noProof="0" err="1"/>
              <a:t>level</a:t>
            </a:r>
            <a:endParaRPr lang="de-DE" noProof="0"/>
          </a:p>
          <a:p>
            <a:pPr lvl="6"/>
            <a:r>
              <a:rPr lang="de-DE" noProof="0"/>
              <a:t>7. </a:t>
            </a:r>
            <a:r>
              <a:rPr lang="de-DE" noProof="0" err="1"/>
              <a:t>level</a:t>
            </a:r>
            <a:endParaRPr lang="de-DE" noProof="0"/>
          </a:p>
          <a:p>
            <a:pPr lvl="7"/>
            <a:r>
              <a:rPr lang="de-DE" noProof="0"/>
              <a:t>8. </a:t>
            </a:r>
            <a:r>
              <a:rPr lang="de-DE" noProof="0" err="1"/>
              <a:t>level</a:t>
            </a:r>
            <a:endParaRPr lang="de-DE" noProof="0"/>
          </a:p>
          <a:p>
            <a:pPr lvl="8"/>
            <a:r>
              <a:rPr lang="de-DE" noProof="0"/>
              <a:t>9. </a:t>
            </a:r>
            <a:r>
              <a:rPr lang="de-DE" noProof="0" err="1"/>
              <a:t>level</a:t>
            </a:r>
            <a:endParaRPr lang="de-DE" noProof="0"/>
          </a:p>
        </p:txBody>
      </p:sp>
      <p:sp>
        <p:nvSpPr>
          <p:cNvPr id="2" name="Fußzeilenplatzhalter 1">
            <a:extLst>
              <a:ext uri="{FF2B5EF4-FFF2-40B4-BE49-F238E27FC236}">
                <a16:creationId xmlns:a16="http://schemas.microsoft.com/office/drawing/2014/main" id="{F62F0615-8843-8C57-5CE6-0C378000552A}"/>
              </a:ext>
            </a:extLst>
          </p:cNvPr>
          <p:cNvSpPr>
            <a:spLocks noGrp="1"/>
          </p:cNvSpPr>
          <p:nvPr>
            <p:ph type="ftr" sz="quarter" idx="10"/>
          </p:nvPr>
        </p:nvSpPr>
        <p:spPr bwMode="gray"/>
        <p:txBody>
          <a:bodyPr/>
          <a:lstStyle>
            <a:lvl1pPr>
              <a:defRPr>
                <a:solidFill>
                  <a:schemeClr val="bg1"/>
                </a:solidFill>
              </a:defRPr>
            </a:lvl1pPr>
          </a:lstStyle>
          <a:p>
            <a:r>
              <a:rPr lang="de-DE"/>
              <a:t>Date dd.mm.yyyy  |  Security label</a:t>
            </a:r>
          </a:p>
        </p:txBody>
      </p:sp>
      <p:sp>
        <p:nvSpPr>
          <p:cNvPr id="6" name="Titel 5">
            <a:extLst>
              <a:ext uri="{FF2B5EF4-FFF2-40B4-BE49-F238E27FC236}">
                <a16:creationId xmlns:a16="http://schemas.microsoft.com/office/drawing/2014/main" id="{7BC2A7C5-70DF-273F-56BF-981269B7883A}"/>
              </a:ext>
            </a:extLst>
          </p:cNvPr>
          <p:cNvSpPr>
            <a:spLocks noGrp="1"/>
          </p:cNvSpPr>
          <p:nvPr>
            <p:ph type="title" hasCustomPrompt="1"/>
          </p:nvPr>
        </p:nvSpPr>
        <p:spPr bwMode="gray">
          <a:xfrm>
            <a:off x="6203950" y="2816932"/>
            <a:ext cx="6228754" cy="4041068"/>
          </a:xfrm>
        </p:spPr>
        <p:txBody>
          <a:bodyPr anchor="ctr">
            <a:noAutofit/>
          </a:bodyPr>
          <a:lstStyle>
            <a:lvl1pPr algn="r">
              <a:lnSpc>
                <a:spcPct val="100000"/>
              </a:lnSpc>
              <a:defRPr sz="40000" i="0">
                <a:solidFill>
                  <a:schemeClr val="bg1"/>
                </a:solidFill>
              </a:defRPr>
            </a:lvl1pPr>
          </a:lstStyle>
          <a:p>
            <a:r>
              <a:rPr lang="de-DE"/>
              <a:t>00</a:t>
            </a:r>
          </a:p>
        </p:txBody>
      </p:sp>
      <p:sp>
        <p:nvSpPr>
          <p:cNvPr id="5" name="Freihandform: Form 459">
            <a:extLst>
              <a:ext uri="{FF2B5EF4-FFF2-40B4-BE49-F238E27FC236}">
                <a16:creationId xmlns:a16="http://schemas.microsoft.com/office/drawing/2014/main" id="{11565787-C7C6-55FE-90B9-FF20083BA7CA}"/>
              </a:ext>
            </a:extLst>
          </p:cNvPr>
          <p:cNvSpPr txBox="1">
            <a:spLocks noChangeAspect="1"/>
          </p:cNvSpPr>
          <p:nvPr userDrawn="1"/>
        </p:nvSpPr>
        <p:spPr bwMode="gray">
          <a:xfrm>
            <a:off x="11352648" y="307218"/>
            <a:ext cx="576000" cy="313470"/>
          </a:xfrm>
          <a:custGeom>
            <a:avLst/>
            <a:gdLst>
              <a:gd name="connsiteX0" fmla="*/ 471895 w 4139828"/>
              <a:gd name="connsiteY0" fmla="*/ 507 h 2242189"/>
              <a:gd name="connsiteX1" fmla="*/ 1132548 w 4139828"/>
              <a:gd name="connsiteY1" fmla="*/ 507 h 2242189"/>
              <a:gd name="connsiteX2" fmla="*/ 1179737 w 4139828"/>
              <a:gd name="connsiteY2" fmla="*/ 47691 h 2242189"/>
              <a:gd name="connsiteX3" fmla="*/ 1179737 w 4139828"/>
              <a:gd name="connsiteY3" fmla="*/ 425671 h 2242189"/>
              <a:gd name="connsiteX4" fmla="*/ 1132548 w 4139828"/>
              <a:gd name="connsiteY4" fmla="*/ 472855 h 2242189"/>
              <a:gd name="connsiteX5" fmla="*/ 659508 w 4139828"/>
              <a:gd name="connsiteY5" fmla="*/ 472855 h 2242189"/>
              <a:gd name="connsiteX6" fmla="*/ 470750 w 4139828"/>
              <a:gd name="connsiteY6" fmla="*/ 661591 h 2242189"/>
              <a:gd name="connsiteX7" fmla="*/ 470750 w 4139828"/>
              <a:gd name="connsiteY7" fmla="*/ 728742 h 2242189"/>
              <a:gd name="connsiteX8" fmla="*/ 494281 w 4139828"/>
              <a:gd name="connsiteY8" fmla="*/ 752270 h 2242189"/>
              <a:gd name="connsiteX9" fmla="*/ 800059 w 4139828"/>
              <a:gd name="connsiteY9" fmla="*/ 752270 h 2242189"/>
              <a:gd name="connsiteX10" fmla="*/ 847248 w 4139828"/>
              <a:gd name="connsiteY10" fmla="*/ 799454 h 2242189"/>
              <a:gd name="connsiteX11" fmla="*/ 847248 w 4139828"/>
              <a:gd name="connsiteY11" fmla="*/ 1081668 h 2242189"/>
              <a:gd name="connsiteX12" fmla="*/ 800059 w 4139828"/>
              <a:gd name="connsiteY12" fmla="*/ 1128852 h 2242189"/>
              <a:gd name="connsiteX13" fmla="*/ 494281 w 4139828"/>
              <a:gd name="connsiteY13" fmla="*/ 1128852 h 2242189"/>
              <a:gd name="connsiteX14" fmla="*/ 470750 w 4139828"/>
              <a:gd name="connsiteY14" fmla="*/ 1152380 h 2242189"/>
              <a:gd name="connsiteX15" fmla="*/ 470750 w 4139828"/>
              <a:gd name="connsiteY15" fmla="*/ 1227671 h 2242189"/>
              <a:gd name="connsiteX16" fmla="*/ 659508 w 4139828"/>
              <a:gd name="connsiteY16" fmla="*/ 1416406 h 2242189"/>
              <a:gd name="connsiteX17" fmla="*/ 1297775 w 4139828"/>
              <a:gd name="connsiteY17" fmla="*/ 1416406 h 2242189"/>
              <a:gd name="connsiteX18" fmla="*/ 1297775 w 4139828"/>
              <a:gd name="connsiteY18" fmla="*/ 1413100 h 2242189"/>
              <a:gd name="connsiteX19" fmla="*/ 1297775 w 4139828"/>
              <a:gd name="connsiteY19" fmla="*/ 472728 h 2242189"/>
              <a:gd name="connsiteX20" fmla="*/ 1769797 w 4139828"/>
              <a:gd name="connsiteY20" fmla="*/ 889 h 2242189"/>
              <a:gd name="connsiteX21" fmla="*/ 2359729 w 4139828"/>
              <a:gd name="connsiteY21" fmla="*/ 889 h 2242189"/>
              <a:gd name="connsiteX22" fmla="*/ 2831624 w 4139828"/>
              <a:gd name="connsiteY22" fmla="*/ 472728 h 2242189"/>
              <a:gd name="connsiteX23" fmla="*/ 2831624 w 4139828"/>
              <a:gd name="connsiteY23" fmla="*/ 2195005 h 2242189"/>
              <a:gd name="connsiteX24" fmla="*/ 2784434 w 4139828"/>
              <a:gd name="connsiteY24" fmla="*/ 2242189 h 2242189"/>
              <a:gd name="connsiteX25" fmla="*/ 2408063 w 4139828"/>
              <a:gd name="connsiteY25" fmla="*/ 2242189 h 2242189"/>
              <a:gd name="connsiteX26" fmla="*/ 2360874 w 4139828"/>
              <a:gd name="connsiteY26" fmla="*/ 2195005 h 2242189"/>
              <a:gd name="connsiteX27" fmla="*/ 2360874 w 4139828"/>
              <a:gd name="connsiteY27" fmla="*/ 661336 h 2242189"/>
              <a:gd name="connsiteX28" fmla="*/ 2172116 w 4139828"/>
              <a:gd name="connsiteY28" fmla="*/ 472601 h 2242189"/>
              <a:gd name="connsiteX29" fmla="*/ 1957410 w 4139828"/>
              <a:gd name="connsiteY29" fmla="*/ 472601 h 2242189"/>
              <a:gd name="connsiteX30" fmla="*/ 1768652 w 4139828"/>
              <a:gd name="connsiteY30" fmla="*/ 661336 h 2242189"/>
              <a:gd name="connsiteX31" fmla="*/ 1768652 w 4139828"/>
              <a:gd name="connsiteY31" fmla="*/ 1227671 h 2242189"/>
              <a:gd name="connsiteX32" fmla="*/ 1957410 w 4139828"/>
              <a:gd name="connsiteY32" fmla="*/ 1416406 h 2242189"/>
              <a:gd name="connsiteX33" fmla="*/ 2219305 w 4139828"/>
              <a:gd name="connsiteY33" fmla="*/ 1416406 h 2242189"/>
              <a:gd name="connsiteX34" fmla="*/ 2242963 w 4139828"/>
              <a:gd name="connsiteY34" fmla="*/ 1439935 h 2242189"/>
              <a:gd name="connsiteX35" fmla="*/ 2242963 w 4139828"/>
              <a:gd name="connsiteY35" fmla="*/ 1864717 h 2242189"/>
              <a:gd name="connsiteX36" fmla="*/ 2219305 w 4139828"/>
              <a:gd name="connsiteY36" fmla="*/ 1888246 h 2242189"/>
              <a:gd name="connsiteX37" fmla="*/ 472022 w 4139828"/>
              <a:gd name="connsiteY37" fmla="*/ 1888246 h 2242189"/>
              <a:gd name="connsiteX38" fmla="*/ 0 w 4139828"/>
              <a:gd name="connsiteY38" fmla="*/ 1416406 h 2242189"/>
              <a:gd name="connsiteX39" fmla="*/ 0 w 4139828"/>
              <a:gd name="connsiteY39" fmla="*/ 472346 h 2242189"/>
              <a:gd name="connsiteX40" fmla="*/ 471895 w 4139828"/>
              <a:gd name="connsiteY40" fmla="*/ 507 h 2242189"/>
              <a:gd name="connsiteX41" fmla="*/ 3422701 w 4139828"/>
              <a:gd name="connsiteY41" fmla="*/ 0 h 2242189"/>
              <a:gd name="connsiteX42" fmla="*/ 4021918 w 4139828"/>
              <a:gd name="connsiteY42" fmla="*/ 0 h 2242189"/>
              <a:gd name="connsiteX43" fmla="*/ 4069108 w 4139828"/>
              <a:gd name="connsiteY43" fmla="*/ 47184 h 2242189"/>
              <a:gd name="connsiteX44" fmla="*/ 4069108 w 4139828"/>
              <a:gd name="connsiteY44" fmla="*/ 425546 h 2242189"/>
              <a:gd name="connsiteX45" fmla="*/ 4021918 w 4139828"/>
              <a:gd name="connsiteY45" fmla="*/ 472730 h 2242189"/>
              <a:gd name="connsiteX46" fmla="*/ 3532979 w 4139828"/>
              <a:gd name="connsiteY46" fmla="*/ 472730 h 2242189"/>
              <a:gd name="connsiteX47" fmla="*/ 3532852 w 4139828"/>
              <a:gd name="connsiteY47" fmla="*/ 472857 h 2242189"/>
              <a:gd name="connsiteX48" fmla="*/ 3488969 w 4139828"/>
              <a:gd name="connsiteY48" fmla="*/ 599147 h 2242189"/>
              <a:gd name="connsiteX49" fmla="*/ 3904008 w 4139828"/>
              <a:gd name="connsiteY49" fmla="*/ 927781 h 2242189"/>
              <a:gd name="connsiteX50" fmla="*/ 4139828 w 4139828"/>
              <a:gd name="connsiteY50" fmla="*/ 1415391 h 2242189"/>
              <a:gd name="connsiteX51" fmla="*/ 4001312 w 4139828"/>
              <a:gd name="connsiteY51" fmla="*/ 1749875 h 2242189"/>
              <a:gd name="connsiteX52" fmla="*/ 3666916 w 4139828"/>
              <a:gd name="connsiteY52" fmla="*/ 1888375 h 2242189"/>
              <a:gd name="connsiteX53" fmla="*/ 2973319 w 4139828"/>
              <a:gd name="connsiteY53" fmla="*/ 1888375 h 2242189"/>
              <a:gd name="connsiteX54" fmla="*/ 2949788 w 4139828"/>
              <a:gd name="connsiteY54" fmla="*/ 1864846 h 2242189"/>
              <a:gd name="connsiteX55" fmla="*/ 2949788 w 4139828"/>
              <a:gd name="connsiteY55" fmla="*/ 1439173 h 2242189"/>
              <a:gd name="connsiteX56" fmla="*/ 2973319 w 4139828"/>
              <a:gd name="connsiteY56" fmla="*/ 1415518 h 2242189"/>
              <a:gd name="connsiteX57" fmla="*/ 3556637 w 4139828"/>
              <a:gd name="connsiteY57" fmla="*/ 1415518 h 2242189"/>
              <a:gd name="connsiteX58" fmla="*/ 3600520 w 4139828"/>
              <a:gd name="connsiteY58" fmla="*/ 1289228 h 2242189"/>
              <a:gd name="connsiteX59" fmla="*/ 3185481 w 4139828"/>
              <a:gd name="connsiteY59" fmla="*/ 960594 h 2242189"/>
              <a:gd name="connsiteX60" fmla="*/ 2949661 w 4139828"/>
              <a:gd name="connsiteY60" fmla="*/ 472984 h 2242189"/>
              <a:gd name="connsiteX61" fmla="*/ 3422701 w 4139828"/>
              <a:gd name="connsiteY61" fmla="*/ 0 h 22421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4139828" h="2242189">
                <a:moveTo>
                  <a:pt x="471895" y="507"/>
                </a:moveTo>
                <a:lnTo>
                  <a:pt x="1132548" y="507"/>
                </a:lnTo>
                <a:cubicBezTo>
                  <a:pt x="1158623" y="507"/>
                  <a:pt x="1179737" y="21619"/>
                  <a:pt x="1179737" y="47691"/>
                </a:cubicBezTo>
                <a:lnTo>
                  <a:pt x="1179737" y="425671"/>
                </a:lnTo>
                <a:cubicBezTo>
                  <a:pt x="1179737" y="451743"/>
                  <a:pt x="1158623" y="472855"/>
                  <a:pt x="1132548" y="472855"/>
                </a:cubicBezTo>
                <a:lnTo>
                  <a:pt x="659508" y="472855"/>
                </a:lnTo>
                <a:cubicBezTo>
                  <a:pt x="555208" y="472855"/>
                  <a:pt x="470750" y="557303"/>
                  <a:pt x="470750" y="661591"/>
                </a:cubicBezTo>
                <a:lnTo>
                  <a:pt x="470750" y="728742"/>
                </a:lnTo>
                <a:cubicBezTo>
                  <a:pt x="470750" y="741714"/>
                  <a:pt x="481307" y="752270"/>
                  <a:pt x="494281" y="752270"/>
                </a:cubicBezTo>
                <a:lnTo>
                  <a:pt x="800059" y="752270"/>
                </a:lnTo>
                <a:cubicBezTo>
                  <a:pt x="826134" y="752270"/>
                  <a:pt x="847248" y="773382"/>
                  <a:pt x="847248" y="799454"/>
                </a:cubicBezTo>
                <a:lnTo>
                  <a:pt x="847248" y="1081668"/>
                </a:lnTo>
                <a:cubicBezTo>
                  <a:pt x="847248" y="1107740"/>
                  <a:pt x="826134" y="1128852"/>
                  <a:pt x="800059" y="1128852"/>
                </a:cubicBezTo>
                <a:lnTo>
                  <a:pt x="494281" y="1128852"/>
                </a:lnTo>
                <a:cubicBezTo>
                  <a:pt x="481307" y="1128852"/>
                  <a:pt x="470750" y="1139408"/>
                  <a:pt x="470750" y="1152380"/>
                </a:cubicBezTo>
                <a:lnTo>
                  <a:pt x="470750" y="1227671"/>
                </a:lnTo>
                <a:cubicBezTo>
                  <a:pt x="470750" y="1331832"/>
                  <a:pt x="555208" y="1416406"/>
                  <a:pt x="659508" y="1416406"/>
                </a:cubicBezTo>
                <a:lnTo>
                  <a:pt x="1297775" y="1416406"/>
                </a:lnTo>
                <a:cubicBezTo>
                  <a:pt x="1297775" y="1415389"/>
                  <a:pt x="1297775" y="1414244"/>
                  <a:pt x="1297775" y="1413100"/>
                </a:cubicBezTo>
                <a:lnTo>
                  <a:pt x="1297775" y="472728"/>
                </a:lnTo>
                <a:cubicBezTo>
                  <a:pt x="1297775" y="212135"/>
                  <a:pt x="1509173" y="889"/>
                  <a:pt x="1769797" y="889"/>
                </a:cubicBezTo>
                <a:lnTo>
                  <a:pt x="2359729" y="889"/>
                </a:lnTo>
                <a:cubicBezTo>
                  <a:pt x="2620352" y="889"/>
                  <a:pt x="2831624" y="212135"/>
                  <a:pt x="2831624" y="472728"/>
                </a:cubicBezTo>
                <a:lnTo>
                  <a:pt x="2831624" y="2195005"/>
                </a:lnTo>
                <a:cubicBezTo>
                  <a:pt x="2831624" y="2221077"/>
                  <a:pt x="2810509" y="2242189"/>
                  <a:pt x="2784434" y="2242189"/>
                </a:cubicBezTo>
                <a:lnTo>
                  <a:pt x="2408063" y="2242189"/>
                </a:lnTo>
                <a:cubicBezTo>
                  <a:pt x="2381988" y="2242189"/>
                  <a:pt x="2360874" y="2221077"/>
                  <a:pt x="2360874" y="2195005"/>
                </a:cubicBezTo>
                <a:lnTo>
                  <a:pt x="2360874" y="661336"/>
                </a:lnTo>
                <a:cubicBezTo>
                  <a:pt x="2360874" y="557176"/>
                  <a:pt x="2276289" y="472601"/>
                  <a:pt x="2172116" y="472601"/>
                </a:cubicBezTo>
                <a:lnTo>
                  <a:pt x="1957410" y="472601"/>
                </a:lnTo>
                <a:cubicBezTo>
                  <a:pt x="1853110" y="472601"/>
                  <a:pt x="1768652" y="557176"/>
                  <a:pt x="1768652" y="661336"/>
                </a:cubicBezTo>
                <a:lnTo>
                  <a:pt x="1768652" y="1227671"/>
                </a:lnTo>
                <a:cubicBezTo>
                  <a:pt x="1768652" y="1331832"/>
                  <a:pt x="1853110" y="1416406"/>
                  <a:pt x="1957410" y="1416406"/>
                </a:cubicBezTo>
                <a:lnTo>
                  <a:pt x="2219305" y="1416406"/>
                </a:lnTo>
                <a:cubicBezTo>
                  <a:pt x="2232406" y="1416406"/>
                  <a:pt x="2242963" y="1426962"/>
                  <a:pt x="2242963" y="1439935"/>
                </a:cubicBezTo>
                <a:lnTo>
                  <a:pt x="2242963" y="1864717"/>
                </a:lnTo>
                <a:cubicBezTo>
                  <a:pt x="2242963" y="1877690"/>
                  <a:pt x="2232406" y="1888246"/>
                  <a:pt x="2219305" y="1888246"/>
                </a:cubicBezTo>
                <a:lnTo>
                  <a:pt x="472022" y="1888246"/>
                </a:lnTo>
                <a:cubicBezTo>
                  <a:pt x="211272" y="1888246"/>
                  <a:pt x="0" y="1676999"/>
                  <a:pt x="0" y="1416406"/>
                </a:cubicBezTo>
                <a:lnTo>
                  <a:pt x="0" y="472346"/>
                </a:lnTo>
                <a:cubicBezTo>
                  <a:pt x="0" y="211754"/>
                  <a:pt x="211272" y="507"/>
                  <a:pt x="471895" y="507"/>
                </a:cubicBezTo>
                <a:close/>
                <a:moveTo>
                  <a:pt x="3422701" y="0"/>
                </a:moveTo>
                <a:lnTo>
                  <a:pt x="4021918" y="0"/>
                </a:lnTo>
                <a:cubicBezTo>
                  <a:pt x="4047993" y="0"/>
                  <a:pt x="4069108" y="21112"/>
                  <a:pt x="4069108" y="47184"/>
                </a:cubicBezTo>
                <a:lnTo>
                  <a:pt x="4069108" y="425546"/>
                </a:lnTo>
                <a:cubicBezTo>
                  <a:pt x="4069108" y="451618"/>
                  <a:pt x="4047993" y="472730"/>
                  <a:pt x="4021918" y="472730"/>
                </a:cubicBezTo>
                <a:lnTo>
                  <a:pt x="3532979" y="472730"/>
                </a:lnTo>
                <a:lnTo>
                  <a:pt x="3532852" y="472857"/>
                </a:lnTo>
                <a:cubicBezTo>
                  <a:pt x="3465693" y="472857"/>
                  <a:pt x="3436311" y="557432"/>
                  <a:pt x="3488969" y="599147"/>
                </a:cubicBezTo>
                <a:lnTo>
                  <a:pt x="3904008" y="927781"/>
                </a:lnTo>
                <a:cubicBezTo>
                  <a:pt x="4052954" y="1045804"/>
                  <a:pt x="4139828" y="1225383"/>
                  <a:pt x="4139828" y="1415391"/>
                </a:cubicBezTo>
                <a:cubicBezTo>
                  <a:pt x="4139828" y="1546005"/>
                  <a:pt x="4086915" y="1664156"/>
                  <a:pt x="4001312" y="1749875"/>
                </a:cubicBezTo>
                <a:cubicBezTo>
                  <a:pt x="3915710" y="1835468"/>
                  <a:pt x="3797418" y="1888375"/>
                  <a:pt x="3666916" y="1888375"/>
                </a:cubicBezTo>
                <a:lnTo>
                  <a:pt x="2973319" y="1888375"/>
                </a:lnTo>
                <a:cubicBezTo>
                  <a:pt x="2960346" y="1888375"/>
                  <a:pt x="2949788" y="1877819"/>
                  <a:pt x="2949788" y="1864846"/>
                </a:cubicBezTo>
                <a:lnTo>
                  <a:pt x="2949788" y="1439173"/>
                </a:lnTo>
                <a:cubicBezTo>
                  <a:pt x="2949788" y="1426201"/>
                  <a:pt x="2960346" y="1415518"/>
                  <a:pt x="2973319" y="1415518"/>
                </a:cubicBezTo>
                <a:lnTo>
                  <a:pt x="3556637" y="1415518"/>
                </a:lnTo>
                <a:cubicBezTo>
                  <a:pt x="3623797" y="1415518"/>
                  <a:pt x="3653179" y="1330943"/>
                  <a:pt x="3600520" y="1289228"/>
                </a:cubicBezTo>
                <a:lnTo>
                  <a:pt x="3185481" y="960594"/>
                </a:lnTo>
                <a:cubicBezTo>
                  <a:pt x="3036535" y="842570"/>
                  <a:pt x="2949661" y="662991"/>
                  <a:pt x="2949661" y="472984"/>
                </a:cubicBezTo>
                <a:cubicBezTo>
                  <a:pt x="2949661" y="211755"/>
                  <a:pt x="3161441" y="0"/>
                  <a:pt x="3422701" y="0"/>
                </a:cubicBezTo>
                <a:close/>
              </a:path>
            </a:pathLst>
          </a:custGeom>
          <a:solidFill>
            <a:schemeClr val="bg1"/>
          </a:solidFill>
          <a:ln w="127">
            <a:solidFill>
              <a:schemeClr val="bg1">
                <a:alpha val="0"/>
              </a:schemeClr>
            </a:solidFill>
          </a:ln>
        </p:spPr>
        <p:txBody>
          <a:bodyPr wrap="square">
            <a:noAutofit/>
          </a:bodyPr>
          <a:lstStyle>
            <a:lvl1pPr marL="0" indent="0" algn="l" defTabSz="914400" rtl="0" eaLnBrk="1" latinLnBrk="0" hangingPunct="1">
              <a:lnSpc>
                <a:spcPct val="110000"/>
              </a:lnSpc>
              <a:spcBef>
                <a:spcPts val="600"/>
              </a:spcBef>
              <a:spcAft>
                <a:spcPts val="600"/>
              </a:spcAft>
              <a:buFont typeface="Arial" panose="020B0604020202020204" pitchFamily="34" charset="0"/>
              <a:buNone/>
              <a:defRPr sz="2000" b="1" kern="1200">
                <a:solidFill>
                  <a:schemeClr val="tx1"/>
                </a:solidFill>
                <a:latin typeface="+mj-lt"/>
                <a:ea typeface="+mn-ea"/>
                <a:cs typeface="+mn-cs"/>
              </a:defRPr>
            </a:lvl1pPr>
            <a:lvl2pPr marL="0" indent="0" algn="l" defTabSz="914400" rtl="0" eaLnBrk="1" latinLnBrk="0" hangingPunct="1">
              <a:lnSpc>
                <a:spcPct val="110000"/>
              </a:lnSpc>
              <a:spcBef>
                <a:spcPts val="600"/>
              </a:spcBef>
              <a:spcAft>
                <a:spcPts val="600"/>
              </a:spcAft>
              <a:buFont typeface="Arial" panose="020B0604020202020204" pitchFamily="34" charset="0"/>
              <a:buNone/>
              <a:defRPr sz="2000" kern="1200">
                <a:solidFill>
                  <a:schemeClr val="tx1"/>
                </a:solidFill>
                <a:latin typeface="+mn-lt"/>
                <a:ea typeface="+mn-ea"/>
                <a:cs typeface="+mn-cs"/>
              </a:defRPr>
            </a:lvl2pPr>
            <a:lvl3pPr marL="361950" indent="-361950" algn="l" defTabSz="914400" rtl="0" eaLnBrk="1" latinLnBrk="0" hangingPunct="1">
              <a:lnSpc>
                <a:spcPct val="110000"/>
              </a:lnSpc>
              <a:spcBef>
                <a:spcPts val="600"/>
              </a:spcBef>
              <a:spcAft>
                <a:spcPts val="600"/>
              </a:spcAft>
              <a:buClr>
                <a:schemeClr val="accent1"/>
              </a:buClr>
              <a:buFontTx/>
              <a:buBlip>
                <a:blip r:embed="rId2"/>
              </a:buBlip>
              <a:defRPr sz="2000" kern="1200">
                <a:solidFill>
                  <a:schemeClr val="tx1"/>
                </a:solidFill>
                <a:latin typeface="+mn-lt"/>
                <a:ea typeface="+mn-ea"/>
                <a:cs typeface="+mn-cs"/>
              </a:defRPr>
            </a:lvl3pPr>
            <a:lvl4pPr marL="714375" indent="-352425" algn="l" defTabSz="914400" rtl="0" eaLnBrk="1" latinLnBrk="0" hangingPunct="1">
              <a:lnSpc>
                <a:spcPct val="110000"/>
              </a:lnSpc>
              <a:spcBef>
                <a:spcPts val="600"/>
              </a:spcBef>
              <a:spcAft>
                <a:spcPts val="600"/>
              </a:spcAft>
              <a:buClr>
                <a:schemeClr val="accent1"/>
              </a:buClr>
              <a:buFontTx/>
              <a:buBlip>
                <a:blip r:embed="rId2"/>
              </a:buBlip>
              <a:defRPr sz="2000" kern="1200">
                <a:solidFill>
                  <a:schemeClr val="tx1"/>
                </a:solidFill>
                <a:latin typeface="+mn-lt"/>
                <a:ea typeface="+mn-ea"/>
                <a:cs typeface="+mn-cs"/>
              </a:defRPr>
            </a:lvl4pPr>
            <a:lvl5pPr marL="0" indent="0" algn="l" defTabSz="914400" rtl="0" eaLnBrk="1" latinLnBrk="0" hangingPunct="1">
              <a:lnSpc>
                <a:spcPct val="110000"/>
              </a:lnSpc>
              <a:spcBef>
                <a:spcPts val="600"/>
              </a:spcBef>
              <a:spcAft>
                <a:spcPts val="600"/>
              </a:spcAft>
              <a:buClr>
                <a:schemeClr val="accent1"/>
              </a:buClr>
              <a:buFont typeface="Arial" panose="020B0604020202020204" pitchFamily="34" charset="0"/>
              <a:buNone/>
              <a:defRPr sz="2500" kern="1200">
                <a:solidFill>
                  <a:schemeClr val="tx1"/>
                </a:solidFill>
                <a:latin typeface="+mn-lt"/>
                <a:ea typeface="+mn-ea"/>
                <a:cs typeface="+mn-cs"/>
              </a:defRPr>
            </a:lvl5pPr>
            <a:lvl6pPr marL="361950" indent="-361950" algn="l" defTabSz="914400" rtl="0" eaLnBrk="1" latinLnBrk="0" hangingPunct="1">
              <a:lnSpc>
                <a:spcPct val="110000"/>
              </a:lnSpc>
              <a:spcBef>
                <a:spcPts val="600"/>
              </a:spcBef>
              <a:spcAft>
                <a:spcPts val="600"/>
              </a:spcAft>
              <a:buClr>
                <a:schemeClr val="accent1"/>
              </a:buClr>
              <a:buFontTx/>
              <a:buBlip>
                <a:blip r:embed="rId2"/>
              </a:buBlip>
              <a:defRPr sz="2500" kern="1200">
                <a:solidFill>
                  <a:schemeClr val="tx1"/>
                </a:solidFill>
                <a:latin typeface="+mn-lt"/>
                <a:ea typeface="+mn-ea"/>
                <a:cs typeface="+mn-cs"/>
              </a:defRPr>
            </a:lvl6pPr>
            <a:lvl7pPr marL="360000" indent="-360000" algn="l" defTabSz="914400" rtl="0" eaLnBrk="1" latinLnBrk="0" hangingPunct="1">
              <a:lnSpc>
                <a:spcPct val="110000"/>
              </a:lnSpc>
              <a:spcBef>
                <a:spcPts val="600"/>
              </a:spcBef>
              <a:spcAft>
                <a:spcPts val="600"/>
              </a:spcAft>
              <a:buClr>
                <a:schemeClr val="accent1"/>
              </a:buClr>
              <a:buFont typeface="+mj-lt"/>
              <a:buAutoNum type="arabicPeriod"/>
              <a:defRPr sz="2000" kern="1200">
                <a:solidFill>
                  <a:schemeClr val="tx1"/>
                </a:solidFill>
                <a:latin typeface="+mn-lt"/>
                <a:ea typeface="+mn-ea"/>
                <a:cs typeface="+mn-cs"/>
              </a:defRPr>
            </a:lvl7pPr>
            <a:lvl8pPr marL="714375" indent="-354013" algn="l" defTabSz="914400" rtl="0" eaLnBrk="1" latinLnBrk="0" hangingPunct="1">
              <a:lnSpc>
                <a:spcPct val="110000"/>
              </a:lnSpc>
              <a:spcBef>
                <a:spcPts val="600"/>
              </a:spcBef>
              <a:spcAft>
                <a:spcPts val="600"/>
              </a:spcAft>
              <a:buClr>
                <a:schemeClr val="accent1"/>
              </a:buClr>
              <a:buFontTx/>
              <a:buBlip>
                <a:blip r:embed="rId2"/>
              </a:buBlip>
              <a:defRPr sz="2000" kern="1200">
                <a:solidFill>
                  <a:schemeClr val="tx1"/>
                </a:solidFill>
                <a:latin typeface="+mn-lt"/>
                <a:ea typeface="+mn-ea"/>
                <a:cs typeface="+mn-cs"/>
              </a:defRPr>
            </a:lvl8pPr>
            <a:lvl9pPr marL="1076325" indent="-361950" algn="l" defTabSz="914400" rtl="0" eaLnBrk="1" latinLnBrk="0" hangingPunct="1">
              <a:lnSpc>
                <a:spcPct val="110000"/>
              </a:lnSpc>
              <a:spcBef>
                <a:spcPts val="600"/>
              </a:spcBef>
              <a:spcAft>
                <a:spcPts val="600"/>
              </a:spcAft>
              <a:buClr>
                <a:schemeClr val="accent1"/>
              </a:buClr>
              <a:buFontTx/>
              <a:buBlip>
                <a:blip r:embed="rId2"/>
              </a:buBlip>
              <a:defRPr sz="2000" kern="1200">
                <a:solidFill>
                  <a:schemeClr val="tx1"/>
                </a:solidFill>
                <a:latin typeface="+mn-lt"/>
                <a:ea typeface="+mn-ea"/>
                <a:cs typeface="+mn-cs"/>
              </a:defRPr>
            </a:lvl9pPr>
          </a:lstStyle>
          <a:p>
            <a:r>
              <a:rPr lang="de-DE"/>
              <a:t> </a:t>
            </a:r>
          </a:p>
        </p:txBody>
      </p:sp>
    </p:spTree>
    <p:extLst>
      <p:ext uri="{BB962C8B-B14F-4D97-AF65-F5344CB8AC3E}">
        <p14:creationId xmlns:p14="http://schemas.microsoft.com/office/powerpoint/2010/main" val="403865989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Divider | 7">
    <p:bg>
      <p:bgRef idx="1001">
        <a:schemeClr val="bg1"/>
      </p:bgRef>
    </p:bg>
    <p:spTree>
      <p:nvGrpSpPr>
        <p:cNvPr id="1" name=""/>
        <p:cNvGrpSpPr/>
        <p:nvPr/>
      </p:nvGrpSpPr>
      <p:grpSpPr>
        <a:xfrm>
          <a:off x="0" y="0"/>
          <a:ext cx="0" cy="0"/>
          <a:chOff x="0" y="0"/>
          <a:chExt cx="0" cy="0"/>
        </a:xfrm>
      </p:grpSpPr>
      <p:sp>
        <p:nvSpPr>
          <p:cNvPr id="3" name="Textplatzhalter 2"/>
          <p:cNvSpPr>
            <a:spLocks noGrp="1"/>
          </p:cNvSpPr>
          <p:nvPr>
            <p:ph type="body" idx="1" hasCustomPrompt="1"/>
          </p:nvPr>
        </p:nvSpPr>
        <p:spPr bwMode="gray">
          <a:xfrm>
            <a:off x="1092200" y="1412875"/>
            <a:ext cx="5111750" cy="4356385"/>
          </a:xfrm>
          <a:prstGeom prst="rect">
            <a:avLst/>
          </a:prstGeom>
        </p:spPr>
        <p:txBody>
          <a:bodyPr anchor="t"/>
          <a:lstStyle>
            <a:lvl1pPr marL="0" indent="0">
              <a:lnSpc>
                <a:spcPct val="100000"/>
              </a:lnSpc>
              <a:spcBef>
                <a:spcPts val="0"/>
              </a:spcBef>
              <a:buFont typeface="Yanone Kaffeesatz" pitchFamily="50" charset="0"/>
              <a:buNone/>
              <a:defRPr sz="3700" b="1" i="1" cap="none" baseline="0">
                <a:solidFill>
                  <a:schemeClr val="accent1"/>
                </a:solidFill>
                <a:latin typeface="Barlow ExtraBold" pitchFamily="2" charset="77"/>
              </a:defRPr>
            </a:lvl1pPr>
            <a:lvl2pPr marL="0" indent="0">
              <a:lnSpc>
                <a:spcPct val="110000"/>
              </a:lnSpc>
              <a:spcBef>
                <a:spcPts val="0"/>
              </a:spcBef>
              <a:spcAft>
                <a:spcPts val="0"/>
              </a:spcAft>
              <a:buNone/>
              <a:defRPr sz="2000">
                <a:solidFill>
                  <a:schemeClr val="accent1"/>
                </a:solidFill>
                <a:latin typeface="+mj-lt"/>
              </a:defRPr>
            </a:lvl2pPr>
            <a:lvl3pPr marL="0" indent="0">
              <a:lnSpc>
                <a:spcPct val="110000"/>
              </a:lnSpc>
              <a:spcBef>
                <a:spcPts val="0"/>
              </a:spcBef>
              <a:spcAft>
                <a:spcPts val="0"/>
              </a:spcAft>
              <a:buNone/>
              <a:defRPr sz="2000">
                <a:solidFill>
                  <a:schemeClr val="accent1"/>
                </a:solidFill>
                <a:latin typeface="+mj-lt"/>
              </a:defRPr>
            </a:lvl3pPr>
            <a:lvl4pPr marL="0" indent="0">
              <a:lnSpc>
                <a:spcPct val="110000"/>
              </a:lnSpc>
              <a:spcBef>
                <a:spcPts val="0"/>
              </a:spcBef>
              <a:spcAft>
                <a:spcPts val="0"/>
              </a:spcAft>
              <a:buNone/>
              <a:defRPr sz="2000">
                <a:solidFill>
                  <a:schemeClr val="accent1"/>
                </a:solidFill>
                <a:latin typeface="+mj-lt"/>
              </a:defRPr>
            </a:lvl4pPr>
            <a:lvl5pPr marL="0" indent="0">
              <a:lnSpc>
                <a:spcPct val="110000"/>
              </a:lnSpc>
              <a:spcBef>
                <a:spcPts val="0"/>
              </a:spcBef>
              <a:spcAft>
                <a:spcPts val="0"/>
              </a:spcAft>
              <a:buNone/>
              <a:defRPr sz="2000">
                <a:solidFill>
                  <a:schemeClr val="accent1"/>
                </a:solidFill>
                <a:latin typeface="+mj-lt"/>
              </a:defRPr>
            </a:lvl5pPr>
            <a:lvl6pPr marL="0" indent="0">
              <a:lnSpc>
                <a:spcPct val="110000"/>
              </a:lnSpc>
              <a:spcBef>
                <a:spcPts val="0"/>
              </a:spcBef>
              <a:spcAft>
                <a:spcPts val="0"/>
              </a:spcAft>
              <a:buNone/>
              <a:defRPr sz="2000">
                <a:solidFill>
                  <a:schemeClr val="accent1"/>
                </a:solidFill>
                <a:latin typeface="+mj-lt"/>
              </a:defRPr>
            </a:lvl6pPr>
            <a:lvl7pPr marL="0" indent="0">
              <a:lnSpc>
                <a:spcPct val="110000"/>
              </a:lnSpc>
              <a:spcBef>
                <a:spcPts val="0"/>
              </a:spcBef>
              <a:spcAft>
                <a:spcPts val="0"/>
              </a:spcAft>
              <a:buNone/>
              <a:defRPr sz="2000">
                <a:solidFill>
                  <a:schemeClr val="accent1"/>
                </a:solidFill>
                <a:latin typeface="+mj-lt"/>
              </a:defRPr>
            </a:lvl7pPr>
            <a:lvl8pPr marL="0" indent="0">
              <a:lnSpc>
                <a:spcPct val="110000"/>
              </a:lnSpc>
              <a:spcBef>
                <a:spcPts val="0"/>
              </a:spcBef>
              <a:spcAft>
                <a:spcPts val="0"/>
              </a:spcAft>
              <a:buNone/>
              <a:defRPr sz="2000">
                <a:solidFill>
                  <a:schemeClr val="accent1"/>
                </a:solidFill>
                <a:latin typeface="+mj-lt"/>
              </a:defRPr>
            </a:lvl8pPr>
            <a:lvl9pPr marL="0" indent="0">
              <a:lnSpc>
                <a:spcPct val="110000"/>
              </a:lnSpc>
              <a:spcBef>
                <a:spcPts val="0"/>
              </a:spcBef>
              <a:spcAft>
                <a:spcPts val="0"/>
              </a:spcAft>
              <a:buNone/>
              <a:defRPr sz="2000">
                <a:solidFill>
                  <a:schemeClr val="accent1"/>
                </a:solidFill>
                <a:latin typeface="+mj-lt"/>
              </a:defRPr>
            </a:lvl9pPr>
          </a:lstStyle>
          <a:p>
            <a:pPr lvl="0"/>
            <a:r>
              <a:rPr lang="de-DE" noProof="0" err="1"/>
              <a:t>Chapte</a:t>
            </a:r>
            <a:r>
              <a:rPr lang="de-DE" noProof="0"/>
              <a:t> </a:t>
            </a:r>
            <a:r>
              <a:rPr lang="de-DE" noProof="0" err="1"/>
              <a:t>r</a:t>
            </a:r>
            <a:r>
              <a:rPr lang="de-DE" noProof="0"/>
              <a:t> </a:t>
            </a:r>
            <a:r>
              <a:rPr lang="de-DE" noProof="0" err="1"/>
              <a:t>name</a:t>
            </a:r>
            <a:br>
              <a:rPr lang="de-DE" noProof="0"/>
            </a:br>
            <a:r>
              <a:rPr lang="de-DE" noProof="0"/>
              <a:t> (</a:t>
            </a:r>
            <a:r>
              <a:rPr lang="de-DE" noProof="0" err="1"/>
              <a:t>use</a:t>
            </a:r>
            <a:r>
              <a:rPr lang="de-DE" noProof="0"/>
              <a:t> </a:t>
            </a:r>
            <a:r>
              <a:rPr lang="de-DE" noProof="0" err="1"/>
              <a:t>the</a:t>
            </a:r>
            <a:r>
              <a:rPr lang="de-DE" noProof="0"/>
              <a:t> </a:t>
            </a:r>
            <a:r>
              <a:rPr lang="de-DE" noProof="0" err="1"/>
              <a:t>button</a:t>
            </a:r>
            <a:r>
              <a:rPr lang="de-DE" noProof="0"/>
              <a:t> “</a:t>
            </a:r>
            <a:r>
              <a:rPr lang="de-DE" noProof="0" err="1"/>
              <a:t>increase</a:t>
            </a:r>
            <a:r>
              <a:rPr lang="de-DE" noProof="0"/>
              <a:t> </a:t>
            </a:r>
            <a:r>
              <a:rPr lang="de-DE" noProof="0" err="1"/>
              <a:t>list</a:t>
            </a:r>
            <a:r>
              <a:rPr lang="de-DE" noProof="0"/>
              <a:t> </a:t>
            </a:r>
            <a:r>
              <a:rPr lang="de-DE" noProof="0" err="1"/>
              <a:t>level</a:t>
            </a:r>
            <a:r>
              <a:rPr lang="de-DE" noProof="0"/>
              <a:t>” </a:t>
            </a:r>
            <a:r>
              <a:rPr lang="de-DE" noProof="0" err="1"/>
              <a:t>to</a:t>
            </a:r>
            <a:r>
              <a:rPr lang="de-DE" noProof="0"/>
              <a:t> </a:t>
            </a:r>
            <a:r>
              <a:rPr lang="de-DE" noProof="0" err="1"/>
              <a:t>add</a:t>
            </a:r>
            <a:r>
              <a:rPr lang="de-DE" noProof="0"/>
              <a:t> optional </a:t>
            </a:r>
            <a:r>
              <a:rPr lang="de-DE" noProof="0" err="1"/>
              <a:t>information</a:t>
            </a:r>
            <a:r>
              <a:rPr lang="de-DE" noProof="0"/>
              <a:t>.)</a:t>
            </a:r>
          </a:p>
          <a:p>
            <a:pPr lvl="1"/>
            <a:r>
              <a:rPr lang="de-DE" noProof="0"/>
              <a:t>2. </a:t>
            </a:r>
            <a:r>
              <a:rPr lang="de-DE" noProof="0" err="1"/>
              <a:t>level</a:t>
            </a:r>
            <a:endParaRPr lang="de-DE" noProof="0"/>
          </a:p>
          <a:p>
            <a:pPr lvl="2"/>
            <a:r>
              <a:rPr lang="de-DE" noProof="0"/>
              <a:t>3. </a:t>
            </a:r>
            <a:r>
              <a:rPr lang="de-DE" noProof="0" err="1"/>
              <a:t>level</a:t>
            </a:r>
            <a:endParaRPr lang="de-DE" noProof="0"/>
          </a:p>
          <a:p>
            <a:pPr lvl="3"/>
            <a:r>
              <a:rPr lang="de-DE" noProof="0"/>
              <a:t>4. </a:t>
            </a:r>
            <a:r>
              <a:rPr lang="de-DE" noProof="0" err="1"/>
              <a:t>level</a:t>
            </a:r>
            <a:endParaRPr lang="de-DE" noProof="0"/>
          </a:p>
          <a:p>
            <a:pPr lvl="4"/>
            <a:r>
              <a:rPr lang="de-DE" noProof="0"/>
              <a:t>5. </a:t>
            </a:r>
            <a:r>
              <a:rPr lang="de-DE" noProof="0" err="1"/>
              <a:t>level</a:t>
            </a:r>
            <a:endParaRPr lang="de-DE" noProof="0"/>
          </a:p>
          <a:p>
            <a:pPr lvl="5"/>
            <a:r>
              <a:rPr lang="de-DE" noProof="0"/>
              <a:t>6. </a:t>
            </a:r>
            <a:r>
              <a:rPr lang="de-DE" noProof="0" err="1"/>
              <a:t>level</a:t>
            </a:r>
            <a:endParaRPr lang="de-DE" noProof="0"/>
          </a:p>
          <a:p>
            <a:pPr lvl="6"/>
            <a:r>
              <a:rPr lang="de-DE" noProof="0"/>
              <a:t>7. </a:t>
            </a:r>
            <a:r>
              <a:rPr lang="de-DE" noProof="0" err="1"/>
              <a:t>level</a:t>
            </a:r>
            <a:endParaRPr lang="de-DE" noProof="0"/>
          </a:p>
          <a:p>
            <a:pPr lvl="7"/>
            <a:r>
              <a:rPr lang="de-DE" noProof="0"/>
              <a:t>8. </a:t>
            </a:r>
            <a:r>
              <a:rPr lang="de-DE" noProof="0" err="1"/>
              <a:t>level</a:t>
            </a:r>
            <a:endParaRPr lang="de-DE" noProof="0"/>
          </a:p>
          <a:p>
            <a:pPr lvl="8"/>
            <a:r>
              <a:rPr lang="de-DE" noProof="0"/>
              <a:t>9. </a:t>
            </a:r>
            <a:r>
              <a:rPr lang="de-DE" noProof="0" err="1"/>
              <a:t>level</a:t>
            </a:r>
            <a:endParaRPr lang="de-DE" noProof="0"/>
          </a:p>
        </p:txBody>
      </p:sp>
      <p:sp>
        <p:nvSpPr>
          <p:cNvPr id="2" name="Fußzeilenplatzhalter 1">
            <a:extLst>
              <a:ext uri="{FF2B5EF4-FFF2-40B4-BE49-F238E27FC236}">
                <a16:creationId xmlns:a16="http://schemas.microsoft.com/office/drawing/2014/main" id="{F62F0615-8843-8C57-5CE6-0C378000552A}"/>
              </a:ext>
            </a:extLst>
          </p:cNvPr>
          <p:cNvSpPr>
            <a:spLocks noGrp="1"/>
          </p:cNvSpPr>
          <p:nvPr>
            <p:ph type="ftr" sz="quarter" idx="10"/>
          </p:nvPr>
        </p:nvSpPr>
        <p:spPr bwMode="gray"/>
        <p:txBody>
          <a:bodyPr/>
          <a:lstStyle>
            <a:lvl1pPr>
              <a:defRPr>
                <a:solidFill>
                  <a:srgbClr val="9BA4BF"/>
                </a:solidFill>
              </a:defRPr>
            </a:lvl1pPr>
          </a:lstStyle>
          <a:p>
            <a:r>
              <a:rPr lang="de-DE"/>
              <a:t>Date dd.mm.yyyy  |  Security label</a:t>
            </a:r>
          </a:p>
        </p:txBody>
      </p:sp>
      <p:sp>
        <p:nvSpPr>
          <p:cNvPr id="6" name="Titel 5">
            <a:extLst>
              <a:ext uri="{FF2B5EF4-FFF2-40B4-BE49-F238E27FC236}">
                <a16:creationId xmlns:a16="http://schemas.microsoft.com/office/drawing/2014/main" id="{7BC2A7C5-70DF-273F-56BF-981269B7883A}"/>
              </a:ext>
            </a:extLst>
          </p:cNvPr>
          <p:cNvSpPr>
            <a:spLocks noGrp="1"/>
          </p:cNvSpPr>
          <p:nvPr>
            <p:ph type="title" hasCustomPrompt="1"/>
          </p:nvPr>
        </p:nvSpPr>
        <p:spPr bwMode="gray">
          <a:xfrm>
            <a:off x="6203950" y="2816932"/>
            <a:ext cx="6228754" cy="4041068"/>
          </a:xfrm>
        </p:spPr>
        <p:txBody>
          <a:bodyPr anchor="ctr">
            <a:noAutofit/>
          </a:bodyPr>
          <a:lstStyle>
            <a:lvl1pPr algn="r">
              <a:lnSpc>
                <a:spcPct val="100000"/>
              </a:lnSpc>
              <a:defRPr sz="40000" i="0">
                <a:solidFill>
                  <a:schemeClr val="accent1"/>
                </a:solidFill>
              </a:defRPr>
            </a:lvl1pPr>
          </a:lstStyle>
          <a:p>
            <a:r>
              <a:rPr lang="de-DE"/>
              <a:t>00</a:t>
            </a:r>
          </a:p>
        </p:txBody>
      </p:sp>
    </p:spTree>
    <p:extLst>
      <p:ext uri="{BB962C8B-B14F-4D97-AF65-F5344CB8AC3E}">
        <p14:creationId xmlns:p14="http://schemas.microsoft.com/office/powerpoint/2010/main" val="3793460961"/>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One content">
    <p:spTree>
      <p:nvGrpSpPr>
        <p:cNvPr id="1" name=""/>
        <p:cNvGrpSpPr/>
        <p:nvPr/>
      </p:nvGrpSpPr>
      <p:grpSpPr>
        <a:xfrm>
          <a:off x="0" y="0"/>
          <a:ext cx="0" cy="0"/>
          <a:chOff x="0" y="0"/>
          <a:chExt cx="0" cy="0"/>
        </a:xfrm>
      </p:grpSpPr>
      <p:sp>
        <p:nvSpPr>
          <p:cNvPr id="3" name="Inhaltsplatzhalter 2"/>
          <p:cNvSpPr>
            <a:spLocks noGrp="1"/>
          </p:cNvSpPr>
          <p:nvPr>
            <p:ph idx="1" hasCustomPrompt="1"/>
          </p:nvPr>
        </p:nvSpPr>
        <p:spPr bwMode="gray">
          <a:xfrm>
            <a:off x="1092200" y="2312876"/>
            <a:ext cx="10007600" cy="3745024"/>
          </a:xfrm>
          <a:prstGeom prst="rect">
            <a:avLst/>
          </a:prstGeom>
        </p:spPr>
        <p:txBody>
          <a:bodyPr/>
          <a:lstStyle>
            <a:lvl1pPr>
              <a:lnSpc>
                <a:spcPct val="110000"/>
              </a:lnSpc>
              <a:spcAft>
                <a:spcPts val="600"/>
              </a:spcAft>
              <a:defRPr sz="2000" baseline="0"/>
            </a:lvl1pPr>
            <a:lvl2pPr>
              <a:lnSpc>
                <a:spcPct val="110000"/>
              </a:lnSpc>
              <a:spcAft>
                <a:spcPts val="600"/>
              </a:spcAft>
              <a:defRPr sz="2000"/>
            </a:lvl2pPr>
            <a:lvl3pPr marL="266700" indent="-266700">
              <a:lnSpc>
                <a:spcPct val="110000"/>
              </a:lnSpc>
              <a:spcAft>
                <a:spcPts val="600"/>
              </a:spcAft>
              <a:buFontTx/>
              <a:buBlip>
                <a:blip r:embed="rId2"/>
              </a:buBlip>
              <a:defRPr sz="2000"/>
            </a:lvl3pPr>
            <a:lvl4pPr marL="542925" indent="-276225">
              <a:lnSpc>
                <a:spcPct val="110000"/>
              </a:lnSpc>
              <a:spcAft>
                <a:spcPts val="600"/>
              </a:spcAft>
              <a:buFontTx/>
              <a:buBlip>
                <a:blip r:embed="rId2"/>
              </a:buBlip>
              <a:defRPr sz="2000"/>
            </a:lvl4pPr>
            <a:lvl5pPr>
              <a:lnSpc>
                <a:spcPct val="110000"/>
              </a:lnSpc>
              <a:spcAft>
                <a:spcPts val="600"/>
              </a:spcAft>
              <a:defRPr sz="2500"/>
            </a:lvl5pPr>
            <a:lvl6pPr marL="361950" indent="-361950">
              <a:lnSpc>
                <a:spcPct val="110000"/>
              </a:lnSpc>
              <a:spcAft>
                <a:spcPts val="600"/>
              </a:spcAft>
              <a:buFontTx/>
              <a:buBlip>
                <a:blip r:embed="rId2"/>
              </a:buBlip>
              <a:defRPr sz="2500"/>
            </a:lvl6pPr>
            <a:lvl7pPr>
              <a:lnSpc>
                <a:spcPct val="110000"/>
              </a:lnSpc>
              <a:spcAft>
                <a:spcPts val="600"/>
              </a:spcAft>
              <a:buClr>
                <a:schemeClr val="accent1"/>
              </a:buClr>
              <a:defRPr sz="2000"/>
            </a:lvl7pPr>
            <a:lvl8pPr marL="628650" indent="-268288">
              <a:lnSpc>
                <a:spcPct val="110000"/>
              </a:lnSpc>
              <a:spcAft>
                <a:spcPts val="600"/>
              </a:spcAft>
              <a:buFontTx/>
              <a:buBlip>
                <a:blip r:embed="rId2"/>
              </a:buBlip>
              <a:defRPr sz="2000"/>
            </a:lvl8pPr>
            <a:lvl9pPr marL="895350" indent="-266700">
              <a:lnSpc>
                <a:spcPct val="110000"/>
              </a:lnSpc>
              <a:spcAft>
                <a:spcPts val="600"/>
              </a:spcAft>
              <a:buFontTx/>
              <a:buBlip>
                <a:blip r:embed="rId2"/>
              </a:buBlip>
              <a:defRPr sz="2000"/>
            </a:lvl9pPr>
          </a:lstStyle>
          <a:p>
            <a:pPr lvl="0"/>
            <a:r>
              <a:rPr lang="de-DE" noProof="0"/>
              <a:t>You can use this field to enter text, a table, a diagram or SmartArts. Use the buttons “increase list level” for copytext or bullet levels. Use the icons below to create visual content.</a:t>
            </a:r>
          </a:p>
          <a:p>
            <a:pPr lvl="1"/>
            <a:r>
              <a:rPr lang="de-DE" noProof="0"/>
              <a:t>2. level</a:t>
            </a:r>
          </a:p>
          <a:p>
            <a:pPr lvl="2"/>
            <a:r>
              <a:rPr lang="de-DE" noProof="0"/>
              <a:t>3. level</a:t>
            </a:r>
          </a:p>
          <a:p>
            <a:pPr lvl="3"/>
            <a:r>
              <a:rPr lang="de-DE" noProof="0"/>
              <a:t>4. level</a:t>
            </a:r>
          </a:p>
          <a:p>
            <a:pPr lvl="4"/>
            <a:r>
              <a:rPr lang="de-DE" noProof="0"/>
              <a:t>5. level</a:t>
            </a:r>
          </a:p>
          <a:p>
            <a:pPr lvl="5"/>
            <a:r>
              <a:rPr lang="de-DE" noProof="0"/>
              <a:t>6. level</a:t>
            </a:r>
          </a:p>
          <a:p>
            <a:pPr lvl="6"/>
            <a:r>
              <a:rPr lang="de-DE" noProof="0"/>
              <a:t>7. level</a:t>
            </a:r>
          </a:p>
          <a:p>
            <a:pPr lvl="7"/>
            <a:r>
              <a:rPr lang="de-DE" noProof="0"/>
              <a:t>8. level</a:t>
            </a:r>
          </a:p>
          <a:p>
            <a:pPr lvl="8"/>
            <a:r>
              <a:rPr lang="de-DE" noProof="0"/>
              <a:t>9. level</a:t>
            </a:r>
          </a:p>
        </p:txBody>
      </p:sp>
      <p:sp>
        <p:nvSpPr>
          <p:cNvPr id="4" name="Fußzeilenplatzhalter 3">
            <a:extLst>
              <a:ext uri="{FF2B5EF4-FFF2-40B4-BE49-F238E27FC236}">
                <a16:creationId xmlns:a16="http://schemas.microsoft.com/office/drawing/2014/main" id="{A29141E2-7140-8CFB-C5FE-9380FBB03944}"/>
              </a:ext>
            </a:extLst>
          </p:cNvPr>
          <p:cNvSpPr>
            <a:spLocks noGrp="1"/>
          </p:cNvSpPr>
          <p:nvPr>
            <p:ph type="ftr" sz="quarter" idx="10"/>
          </p:nvPr>
        </p:nvSpPr>
        <p:spPr bwMode="gray"/>
        <p:txBody>
          <a:bodyPr/>
          <a:lstStyle/>
          <a:p>
            <a:r>
              <a:rPr lang="de-DE"/>
              <a:t>Date dd.mm.yyyy  |  Security label</a:t>
            </a:r>
          </a:p>
        </p:txBody>
      </p:sp>
      <p:sp>
        <p:nvSpPr>
          <p:cNvPr id="12" name="Titel 11">
            <a:extLst>
              <a:ext uri="{FF2B5EF4-FFF2-40B4-BE49-F238E27FC236}">
                <a16:creationId xmlns:a16="http://schemas.microsoft.com/office/drawing/2014/main" id="{CE358375-411E-ECEE-2814-C9E34FF9BEA5}"/>
              </a:ext>
            </a:extLst>
          </p:cNvPr>
          <p:cNvSpPr>
            <a:spLocks noGrp="1"/>
          </p:cNvSpPr>
          <p:nvPr>
            <p:ph type="title" hasCustomPrompt="1"/>
          </p:nvPr>
        </p:nvSpPr>
        <p:spPr bwMode="gray"/>
        <p:txBody>
          <a:bodyPr/>
          <a:lstStyle>
            <a:lvl1pPr>
              <a:defRPr/>
            </a:lvl1pPr>
          </a:lstStyle>
          <a:p>
            <a:r>
              <a:rPr lang="de-DE" noProof="0"/>
              <a:t>Headline (max. 2 lines) </a:t>
            </a:r>
            <a:endParaRPr lang="de-DE"/>
          </a:p>
        </p:txBody>
      </p:sp>
      <p:sp>
        <p:nvSpPr>
          <p:cNvPr id="10" name="Untertitel 2">
            <a:extLst>
              <a:ext uri="{FF2B5EF4-FFF2-40B4-BE49-F238E27FC236}">
                <a16:creationId xmlns:a16="http://schemas.microsoft.com/office/drawing/2014/main" id="{C3D67B24-7835-3A7C-8762-EDCFC0ECAAB5}"/>
              </a:ext>
            </a:extLst>
          </p:cNvPr>
          <p:cNvSpPr>
            <a:spLocks noGrp="1"/>
          </p:cNvSpPr>
          <p:nvPr>
            <p:ph type="subTitle" idx="12" hasCustomPrompt="1"/>
          </p:nvPr>
        </p:nvSpPr>
        <p:spPr bwMode="gray">
          <a:xfrm>
            <a:off x="1091444" y="1427305"/>
            <a:ext cx="10009112" cy="381515"/>
          </a:xfrm>
          <a:prstGeom prst="rect">
            <a:avLst/>
          </a:prstGeom>
          <a:noFill/>
        </p:spPr>
        <p:txBody>
          <a:bodyPr wrap="square" lIns="0" tIns="0" rIns="0" bIns="0">
            <a:normAutofit/>
          </a:bodyPr>
          <a:lstStyle>
            <a:lvl1pPr marL="0" indent="0" algn="l">
              <a:lnSpc>
                <a:spcPct val="110000"/>
              </a:lnSpc>
              <a:spcBef>
                <a:spcPts val="1200"/>
              </a:spcBef>
              <a:spcAft>
                <a:spcPts val="0"/>
              </a:spcAft>
              <a:buNone/>
              <a:defRPr sz="2500" b="0" i="1">
                <a:solidFill>
                  <a:schemeClr val="tx1"/>
                </a:solidFill>
                <a:latin typeface="Barlow Medium" panose="00000600000000000000" pitchFamily="2" charset="0"/>
              </a:defRPr>
            </a:lvl1pPr>
            <a:lvl2pPr marL="0" indent="0" algn="l">
              <a:lnSpc>
                <a:spcPct val="110000"/>
              </a:lnSpc>
              <a:spcBef>
                <a:spcPts val="0"/>
              </a:spcBef>
              <a:spcAft>
                <a:spcPts val="0"/>
              </a:spcAft>
              <a:buNone/>
              <a:defRPr sz="2500" b="0">
                <a:solidFill>
                  <a:schemeClr val="tx1"/>
                </a:solidFill>
                <a:latin typeface="Barlow Medium" panose="00000600000000000000" pitchFamily="2" charset="0"/>
              </a:defRPr>
            </a:lvl2pPr>
            <a:lvl3pPr marL="0" indent="0" algn="l">
              <a:lnSpc>
                <a:spcPct val="110000"/>
              </a:lnSpc>
              <a:spcBef>
                <a:spcPts val="0"/>
              </a:spcBef>
              <a:spcAft>
                <a:spcPts val="0"/>
              </a:spcAft>
              <a:buNone/>
              <a:defRPr sz="2500" b="0">
                <a:solidFill>
                  <a:schemeClr val="tx1"/>
                </a:solidFill>
                <a:latin typeface="Barlow Medium" panose="00000600000000000000" pitchFamily="2" charset="0"/>
              </a:defRPr>
            </a:lvl3pPr>
            <a:lvl4pPr marL="0" indent="0" algn="l">
              <a:lnSpc>
                <a:spcPct val="110000"/>
              </a:lnSpc>
              <a:spcBef>
                <a:spcPts val="0"/>
              </a:spcBef>
              <a:spcAft>
                <a:spcPts val="0"/>
              </a:spcAft>
              <a:buNone/>
              <a:defRPr sz="2500" b="0">
                <a:solidFill>
                  <a:schemeClr val="tx1"/>
                </a:solidFill>
                <a:latin typeface="Barlow Medium" panose="00000600000000000000" pitchFamily="2" charset="0"/>
              </a:defRPr>
            </a:lvl4pPr>
            <a:lvl5pPr marL="0" indent="0" algn="l">
              <a:lnSpc>
                <a:spcPct val="110000"/>
              </a:lnSpc>
              <a:spcBef>
                <a:spcPts val="0"/>
              </a:spcBef>
              <a:spcAft>
                <a:spcPts val="0"/>
              </a:spcAft>
              <a:buNone/>
              <a:defRPr sz="2500" b="0">
                <a:solidFill>
                  <a:schemeClr val="tx1"/>
                </a:solidFill>
                <a:latin typeface="Barlow Medium" panose="00000600000000000000" pitchFamily="2" charset="0"/>
              </a:defRPr>
            </a:lvl5pPr>
            <a:lvl6pPr marL="0" indent="0" algn="l">
              <a:lnSpc>
                <a:spcPct val="110000"/>
              </a:lnSpc>
              <a:spcBef>
                <a:spcPts val="0"/>
              </a:spcBef>
              <a:spcAft>
                <a:spcPts val="0"/>
              </a:spcAft>
              <a:buNone/>
              <a:defRPr sz="2500" b="0">
                <a:solidFill>
                  <a:schemeClr val="tx1"/>
                </a:solidFill>
                <a:latin typeface="Barlow Medium" panose="00000600000000000000" pitchFamily="2" charset="0"/>
              </a:defRPr>
            </a:lvl6pPr>
            <a:lvl7pPr marL="0" indent="0" algn="l">
              <a:lnSpc>
                <a:spcPct val="110000"/>
              </a:lnSpc>
              <a:spcBef>
                <a:spcPts val="0"/>
              </a:spcBef>
              <a:spcAft>
                <a:spcPts val="0"/>
              </a:spcAft>
              <a:buNone/>
              <a:defRPr sz="2500" b="0">
                <a:solidFill>
                  <a:schemeClr val="tx1"/>
                </a:solidFill>
                <a:latin typeface="Barlow Medium" panose="00000600000000000000" pitchFamily="2" charset="0"/>
              </a:defRPr>
            </a:lvl7pPr>
            <a:lvl8pPr marL="0" indent="0" algn="l">
              <a:lnSpc>
                <a:spcPct val="110000"/>
              </a:lnSpc>
              <a:spcBef>
                <a:spcPts val="0"/>
              </a:spcBef>
              <a:spcAft>
                <a:spcPts val="0"/>
              </a:spcAft>
              <a:buNone/>
              <a:defRPr sz="2500" b="0">
                <a:solidFill>
                  <a:schemeClr val="tx1"/>
                </a:solidFill>
                <a:latin typeface="Barlow Medium" panose="00000600000000000000" pitchFamily="2" charset="0"/>
              </a:defRPr>
            </a:lvl8pPr>
            <a:lvl9pPr marL="0" indent="0" algn="l">
              <a:lnSpc>
                <a:spcPct val="110000"/>
              </a:lnSpc>
              <a:spcBef>
                <a:spcPts val="0"/>
              </a:spcBef>
              <a:spcAft>
                <a:spcPts val="0"/>
              </a:spcAft>
              <a:buNone/>
              <a:defRPr sz="2500" b="0">
                <a:solidFill>
                  <a:schemeClr val="tx1"/>
                </a:solidFill>
                <a:latin typeface="Barlow Medium" panose="00000600000000000000" pitchFamily="2" charset="0"/>
              </a:defRPr>
            </a:lvl9pPr>
          </a:lstStyle>
          <a:p>
            <a:pPr lvl="0"/>
            <a:r>
              <a:rPr lang="de-DE" noProof="0"/>
              <a:t>Sub-Headline</a:t>
            </a:r>
          </a:p>
        </p:txBody>
      </p:sp>
      <p:sp>
        <p:nvSpPr>
          <p:cNvPr id="2" name="Slide Number Placeholder 1">
            <a:extLst>
              <a:ext uri="{FF2B5EF4-FFF2-40B4-BE49-F238E27FC236}">
                <a16:creationId xmlns:a16="http://schemas.microsoft.com/office/drawing/2014/main" id="{1171F0A7-5B6C-2480-B2B4-377A84CFC222}"/>
              </a:ext>
            </a:extLst>
          </p:cNvPr>
          <p:cNvSpPr>
            <a:spLocks noGrp="1"/>
          </p:cNvSpPr>
          <p:nvPr>
            <p:ph type="sldNum" sz="quarter" idx="13"/>
          </p:nvPr>
        </p:nvSpPr>
        <p:spPr/>
        <p:txBody>
          <a:bodyPr/>
          <a:lstStyle/>
          <a:p>
            <a:fld id="{44661A95-0089-4306-9485-D330C59FE3ED}" type="slidenum">
              <a:rPr lang="de-DE" smtClean="0"/>
              <a:pPr/>
              <a:t>‹#›</a:t>
            </a:fld>
            <a:endParaRPr lang="de-DE"/>
          </a:p>
        </p:txBody>
      </p:sp>
    </p:spTree>
    <p:extLst>
      <p:ext uri="{BB962C8B-B14F-4D97-AF65-F5344CB8AC3E}">
        <p14:creationId xmlns:p14="http://schemas.microsoft.com/office/powerpoint/2010/main" val="315932598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One content &amp; long Headline">
    <p:spTree>
      <p:nvGrpSpPr>
        <p:cNvPr id="1" name=""/>
        <p:cNvGrpSpPr/>
        <p:nvPr/>
      </p:nvGrpSpPr>
      <p:grpSpPr>
        <a:xfrm>
          <a:off x="0" y="0"/>
          <a:ext cx="0" cy="0"/>
          <a:chOff x="0" y="0"/>
          <a:chExt cx="0" cy="0"/>
        </a:xfrm>
      </p:grpSpPr>
      <p:sp>
        <p:nvSpPr>
          <p:cNvPr id="3" name="Inhaltsplatzhalter 2"/>
          <p:cNvSpPr>
            <a:spLocks noGrp="1"/>
          </p:cNvSpPr>
          <p:nvPr>
            <p:ph idx="1" hasCustomPrompt="1"/>
          </p:nvPr>
        </p:nvSpPr>
        <p:spPr bwMode="gray">
          <a:xfrm>
            <a:off x="1092200" y="2528292"/>
            <a:ext cx="10007600" cy="3529608"/>
          </a:xfrm>
          <a:prstGeom prst="rect">
            <a:avLst/>
          </a:prstGeom>
        </p:spPr>
        <p:txBody>
          <a:bodyPr>
            <a:normAutofit/>
          </a:bodyPr>
          <a:lstStyle>
            <a:lvl1pPr>
              <a:lnSpc>
                <a:spcPct val="110000"/>
              </a:lnSpc>
              <a:spcAft>
                <a:spcPts val="600"/>
              </a:spcAft>
              <a:defRPr sz="2000" baseline="0"/>
            </a:lvl1pPr>
            <a:lvl2pPr>
              <a:lnSpc>
                <a:spcPct val="110000"/>
              </a:lnSpc>
              <a:spcAft>
                <a:spcPts val="600"/>
              </a:spcAft>
              <a:defRPr sz="2000"/>
            </a:lvl2pPr>
            <a:lvl3pPr>
              <a:lnSpc>
                <a:spcPct val="110000"/>
              </a:lnSpc>
              <a:spcAft>
                <a:spcPts val="600"/>
              </a:spcAft>
              <a:defRPr sz="2000"/>
            </a:lvl3pPr>
            <a:lvl4pPr>
              <a:lnSpc>
                <a:spcPct val="110000"/>
              </a:lnSpc>
              <a:spcAft>
                <a:spcPts val="600"/>
              </a:spcAft>
              <a:defRPr sz="2000"/>
            </a:lvl4pPr>
            <a:lvl5pPr>
              <a:lnSpc>
                <a:spcPct val="110000"/>
              </a:lnSpc>
              <a:spcAft>
                <a:spcPts val="600"/>
              </a:spcAft>
              <a:defRPr sz="2500"/>
            </a:lvl5pPr>
            <a:lvl6pPr>
              <a:lnSpc>
                <a:spcPct val="110000"/>
              </a:lnSpc>
              <a:spcAft>
                <a:spcPts val="600"/>
              </a:spcAft>
              <a:defRPr sz="2500"/>
            </a:lvl6pPr>
            <a:lvl7pPr>
              <a:lnSpc>
                <a:spcPct val="110000"/>
              </a:lnSpc>
              <a:spcAft>
                <a:spcPts val="600"/>
              </a:spcAft>
              <a:defRPr sz="2000"/>
            </a:lvl7pPr>
            <a:lvl8pPr>
              <a:lnSpc>
                <a:spcPct val="110000"/>
              </a:lnSpc>
              <a:spcAft>
                <a:spcPts val="600"/>
              </a:spcAft>
              <a:defRPr sz="2000"/>
            </a:lvl8pPr>
            <a:lvl9pPr>
              <a:lnSpc>
                <a:spcPct val="110000"/>
              </a:lnSpc>
              <a:spcAft>
                <a:spcPts val="600"/>
              </a:spcAft>
              <a:defRPr sz="2000"/>
            </a:lvl9pPr>
          </a:lstStyle>
          <a:p>
            <a:pPr lvl="0"/>
            <a:r>
              <a:rPr lang="de-DE" noProof="0"/>
              <a:t>You can use this field to enter text, a table, a diagram or SmartArts. Use the buttons “increase list level” for copytext or bullet levels. Use the icons below to create visual content.</a:t>
            </a:r>
          </a:p>
          <a:p>
            <a:pPr lvl="1"/>
            <a:r>
              <a:rPr lang="de-DE" noProof="0"/>
              <a:t>2. level</a:t>
            </a:r>
          </a:p>
          <a:p>
            <a:pPr lvl="2"/>
            <a:r>
              <a:rPr lang="de-DE" noProof="0"/>
              <a:t>3. level</a:t>
            </a:r>
          </a:p>
          <a:p>
            <a:pPr lvl="3"/>
            <a:r>
              <a:rPr lang="de-DE" noProof="0"/>
              <a:t>4. level</a:t>
            </a:r>
          </a:p>
          <a:p>
            <a:pPr lvl="4"/>
            <a:r>
              <a:rPr lang="de-DE" noProof="0"/>
              <a:t>5. level</a:t>
            </a:r>
          </a:p>
          <a:p>
            <a:pPr lvl="5"/>
            <a:r>
              <a:rPr lang="de-DE" noProof="0"/>
              <a:t>6. level</a:t>
            </a:r>
          </a:p>
          <a:p>
            <a:pPr lvl="6"/>
            <a:r>
              <a:rPr lang="de-DE" noProof="0"/>
              <a:t>7. level</a:t>
            </a:r>
          </a:p>
          <a:p>
            <a:pPr lvl="7"/>
            <a:r>
              <a:rPr lang="de-DE" noProof="0"/>
              <a:t>8. level</a:t>
            </a:r>
          </a:p>
          <a:p>
            <a:pPr lvl="8"/>
            <a:r>
              <a:rPr lang="de-DE" noProof="0"/>
              <a:t>9. level</a:t>
            </a:r>
          </a:p>
        </p:txBody>
      </p:sp>
      <p:sp>
        <p:nvSpPr>
          <p:cNvPr id="4" name="Fußzeilenplatzhalter 3">
            <a:extLst>
              <a:ext uri="{FF2B5EF4-FFF2-40B4-BE49-F238E27FC236}">
                <a16:creationId xmlns:a16="http://schemas.microsoft.com/office/drawing/2014/main" id="{A29141E2-7140-8CFB-C5FE-9380FBB03944}"/>
              </a:ext>
            </a:extLst>
          </p:cNvPr>
          <p:cNvSpPr>
            <a:spLocks noGrp="1"/>
          </p:cNvSpPr>
          <p:nvPr>
            <p:ph type="ftr" sz="quarter" idx="10"/>
          </p:nvPr>
        </p:nvSpPr>
        <p:spPr bwMode="gray"/>
        <p:txBody>
          <a:bodyPr/>
          <a:lstStyle/>
          <a:p>
            <a:r>
              <a:rPr lang="de-DE"/>
              <a:t>Date dd.mm.yyyy  |  Security label</a:t>
            </a:r>
          </a:p>
        </p:txBody>
      </p:sp>
      <p:sp>
        <p:nvSpPr>
          <p:cNvPr id="12" name="Titel 11">
            <a:extLst>
              <a:ext uri="{FF2B5EF4-FFF2-40B4-BE49-F238E27FC236}">
                <a16:creationId xmlns:a16="http://schemas.microsoft.com/office/drawing/2014/main" id="{CE358375-411E-ECEE-2814-C9E34FF9BEA5}"/>
              </a:ext>
            </a:extLst>
          </p:cNvPr>
          <p:cNvSpPr>
            <a:spLocks noGrp="1"/>
          </p:cNvSpPr>
          <p:nvPr>
            <p:ph type="title" hasCustomPrompt="1"/>
          </p:nvPr>
        </p:nvSpPr>
        <p:spPr bwMode="gray">
          <a:xfrm>
            <a:off x="1092200" y="789687"/>
            <a:ext cx="10007600" cy="1055137"/>
          </a:xfrm>
        </p:spPr>
        <p:txBody>
          <a:bodyPr>
            <a:normAutofit/>
          </a:bodyPr>
          <a:lstStyle>
            <a:lvl1pPr>
              <a:defRPr/>
            </a:lvl1pPr>
          </a:lstStyle>
          <a:p>
            <a:r>
              <a:rPr lang="de-DE" noProof="0"/>
              <a:t>Headline </a:t>
            </a:r>
            <a:br>
              <a:rPr lang="de-DE" noProof="0"/>
            </a:br>
            <a:r>
              <a:rPr lang="de-DE" noProof="0"/>
              <a:t>(max. 2 lines) </a:t>
            </a:r>
            <a:endParaRPr lang="de-DE"/>
          </a:p>
        </p:txBody>
      </p:sp>
      <p:sp>
        <p:nvSpPr>
          <p:cNvPr id="10" name="Untertitel 2">
            <a:extLst>
              <a:ext uri="{FF2B5EF4-FFF2-40B4-BE49-F238E27FC236}">
                <a16:creationId xmlns:a16="http://schemas.microsoft.com/office/drawing/2014/main" id="{C3D67B24-7835-3A7C-8762-EDCFC0ECAAB5}"/>
              </a:ext>
            </a:extLst>
          </p:cNvPr>
          <p:cNvSpPr>
            <a:spLocks noGrp="1"/>
          </p:cNvSpPr>
          <p:nvPr>
            <p:ph type="subTitle" idx="12" hasCustomPrompt="1"/>
          </p:nvPr>
        </p:nvSpPr>
        <p:spPr bwMode="gray">
          <a:xfrm>
            <a:off x="1091444" y="1931361"/>
            <a:ext cx="10009112" cy="381515"/>
          </a:xfrm>
          <a:prstGeom prst="rect">
            <a:avLst/>
          </a:prstGeom>
          <a:noFill/>
        </p:spPr>
        <p:txBody>
          <a:bodyPr wrap="square" lIns="0" tIns="0" rIns="0" bIns="0">
            <a:normAutofit/>
          </a:bodyPr>
          <a:lstStyle>
            <a:lvl1pPr marL="0" indent="0" algn="l">
              <a:lnSpc>
                <a:spcPct val="110000"/>
              </a:lnSpc>
              <a:spcBef>
                <a:spcPts val="1200"/>
              </a:spcBef>
              <a:spcAft>
                <a:spcPts val="0"/>
              </a:spcAft>
              <a:buNone/>
              <a:defRPr sz="2500" b="0" i="1">
                <a:solidFill>
                  <a:schemeClr val="tx1"/>
                </a:solidFill>
                <a:latin typeface="Barlow Medium" panose="00000600000000000000" pitchFamily="2" charset="0"/>
              </a:defRPr>
            </a:lvl1pPr>
            <a:lvl2pPr marL="0" indent="0" algn="l">
              <a:lnSpc>
                <a:spcPct val="110000"/>
              </a:lnSpc>
              <a:spcBef>
                <a:spcPts val="0"/>
              </a:spcBef>
              <a:spcAft>
                <a:spcPts val="0"/>
              </a:spcAft>
              <a:buNone/>
              <a:defRPr sz="2500" b="0">
                <a:solidFill>
                  <a:schemeClr val="tx1"/>
                </a:solidFill>
                <a:latin typeface="Barlow Medium" panose="00000600000000000000" pitchFamily="2" charset="0"/>
              </a:defRPr>
            </a:lvl2pPr>
            <a:lvl3pPr marL="0" indent="0" algn="l">
              <a:lnSpc>
                <a:spcPct val="110000"/>
              </a:lnSpc>
              <a:spcBef>
                <a:spcPts val="0"/>
              </a:spcBef>
              <a:spcAft>
                <a:spcPts val="0"/>
              </a:spcAft>
              <a:buNone/>
              <a:defRPr sz="2500" b="0">
                <a:solidFill>
                  <a:schemeClr val="tx1"/>
                </a:solidFill>
                <a:latin typeface="Barlow Medium" panose="00000600000000000000" pitchFamily="2" charset="0"/>
              </a:defRPr>
            </a:lvl3pPr>
            <a:lvl4pPr marL="0" indent="0" algn="l">
              <a:lnSpc>
                <a:spcPct val="110000"/>
              </a:lnSpc>
              <a:spcBef>
                <a:spcPts val="0"/>
              </a:spcBef>
              <a:spcAft>
                <a:spcPts val="0"/>
              </a:spcAft>
              <a:buNone/>
              <a:defRPr sz="2500" b="0">
                <a:solidFill>
                  <a:schemeClr val="tx1"/>
                </a:solidFill>
                <a:latin typeface="Barlow Medium" panose="00000600000000000000" pitchFamily="2" charset="0"/>
              </a:defRPr>
            </a:lvl4pPr>
            <a:lvl5pPr marL="0" indent="0" algn="l">
              <a:lnSpc>
                <a:spcPct val="110000"/>
              </a:lnSpc>
              <a:spcBef>
                <a:spcPts val="0"/>
              </a:spcBef>
              <a:spcAft>
                <a:spcPts val="0"/>
              </a:spcAft>
              <a:buNone/>
              <a:defRPr sz="2500" b="0">
                <a:solidFill>
                  <a:schemeClr val="tx1"/>
                </a:solidFill>
                <a:latin typeface="Barlow Medium" panose="00000600000000000000" pitchFamily="2" charset="0"/>
              </a:defRPr>
            </a:lvl5pPr>
            <a:lvl6pPr marL="0" indent="0" algn="l">
              <a:lnSpc>
                <a:spcPct val="110000"/>
              </a:lnSpc>
              <a:spcBef>
                <a:spcPts val="0"/>
              </a:spcBef>
              <a:spcAft>
                <a:spcPts val="0"/>
              </a:spcAft>
              <a:buNone/>
              <a:defRPr sz="2500" b="0">
                <a:solidFill>
                  <a:schemeClr val="tx1"/>
                </a:solidFill>
                <a:latin typeface="Barlow Medium" panose="00000600000000000000" pitchFamily="2" charset="0"/>
              </a:defRPr>
            </a:lvl6pPr>
            <a:lvl7pPr marL="0" indent="0" algn="l">
              <a:lnSpc>
                <a:spcPct val="110000"/>
              </a:lnSpc>
              <a:spcBef>
                <a:spcPts val="0"/>
              </a:spcBef>
              <a:spcAft>
                <a:spcPts val="0"/>
              </a:spcAft>
              <a:buNone/>
              <a:defRPr sz="2500" b="0">
                <a:solidFill>
                  <a:schemeClr val="tx1"/>
                </a:solidFill>
                <a:latin typeface="Barlow Medium" panose="00000600000000000000" pitchFamily="2" charset="0"/>
              </a:defRPr>
            </a:lvl7pPr>
            <a:lvl8pPr marL="0" indent="0" algn="l">
              <a:lnSpc>
                <a:spcPct val="110000"/>
              </a:lnSpc>
              <a:spcBef>
                <a:spcPts val="0"/>
              </a:spcBef>
              <a:spcAft>
                <a:spcPts val="0"/>
              </a:spcAft>
              <a:buNone/>
              <a:defRPr sz="2500" b="0">
                <a:solidFill>
                  <a:schemeClr val="tx1"/>
                </a:solidFill>
                <a:latin typeface="Barlow Medium" panose="00000600000000000000" pitchFamily="2" charset="0"/>
              </a:defRPr>
            </a:lvl8pPr>
            <a:lvl9pPr marL="0" indent="0" algn="l">
              <a:lnSpc>
                <a:spcPct val="110000"/>
              </a:lnSpc>
              <a:spcBef>
                <a:spcPts val="0"/>
              </a:spcBef>
              <a:spcAft>
                <a:spcPts val="0"/>
              </a:spcAft>
              <a:buNone/>
              <a:defRPr sz="2500" b="0">
                <a:solidFill>
                  <a:schemeClr val="tx1"/>
                </a:solidFill>
                <a:latin typeface="Barlow Medium" panose="00000600000000000000" pitchFamily="2" charset="0"/>
              </a:defRPr>
            </a:lvl9pPr>
          </a:lstStyle>
          <a:p>
            <a:pPr lvl="0"/>
            <a:r>
              <a:rPr lang="de-DE" noProof="0"/>
              <a:t>Sub-Headline</a:t>
            </a:r>
          </a:p>
        </p:txBody>
      </p:sp>
      <p:sp>
        <p:nvSpPr>
          <p:cNvPr id="2" name="Slide Number Placeholder 1">
            <a:extLst>
              <a:ext uri="{FF2B5EF4-FFF2-40B4-BE49-F238E27FC236}">
                <a16:creationId xmlns:a16="http://schemas.microsoft.com/office/drawing/2014/main" id="{BFB8CA55-5B3E-11D0-6D08-83A1C8AF7289}"/>
              </a:ext>
            </a:extLst>
          </p:cNvPr>
          <p:cNvSpPr>
            <a:spLocks noGrp="1"/>
          </p:cNvSpPr>
          <p:nvPr>
            <p:ph type="sldNum" sz="quarter" idx="13"/>
          </p:nvPr>
        </p:nvSpPr>
        <p:spPr/>
        <p:txBody>
          <a:bodyPr/>
          <a:lstStyle/>
          <a:p>
            <a:fld id="{44661A95-0089-4306-9485-D330C59FE3ED}" type="slidenum">
              <a:rPr lang="de-DE" smtClean="0"/>
              <a:pPr/>
              <a:t>‹#›</a:t>
            </a:fld>
            <a:endParaRPr lang="de-DE"/>
          </a:p>
        </p:txBody>
      </p:sp>
    </p:spTree>
    <p:extLst>
      <p:ext uri="{BB962C8B-B14F-4D97-AF65-F5344CB8AC3E}">
        <p14:creationId xmlns:p14="http://schemas.microsoft.com/office/powerpoint/2010/main" val="272138595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wo contents ">
    <p:spTree>
      <p:nvGrpSpPr>
        <p:cNvPr id="1" name=""/>
        <p:cNvGrpSpPr/>
        <p:nvPr/>
      </p:nvGrpSpPr>
      <p:grpSpPr>
        <a:xfrm>
          <a:off x="0" y="0"/>
          <a:ext cx="0" cy="0"/>
          <a:chOff x="0" y="0"/>
          <a:chExt cx="0" cy="0"/>
        </a:xfrm>
      </p:grpSpPr>
      <p:sp>
        <p:nvSpPr>
          <p:cNvPr id="3" name="Inhaltsplatzhalter 2"/>
          <p:cNvSpPr>
            <a:spLocks noGrp="1"/>
          </p:cNvSpPr>
          <p:nvPr>
            <p:ph sz="half" idx="1" hasCustomPrompt="1"/>
          </p:nvPr>
        </p:nvSpPr>
        <p:spPr bwMode="gray">
          <a:xfrm>
            <a:off x="1092200" y="2312988"/>
            <a:ext cx="4824413" cy="3744912"/>
          </a:xfrm>
          <a:prstGeom prst="rect">
            <a:avLst/>
          </a:prstGeom>
        </p:spPr>
        <p:txBody>
          <a:bodyPr>
            <a:normAutofit/>
          </a:bodyPr>
          <a:lstStyle>
            <a:lvl1pPr>
              <a:defRPr/>
            </a:lvl1pPr>
            <a:lvl2pPr>
              <a:defRPr/>
            </a:lvl2pPr>
            <a:lvl3pPr>
              <a:defRPr/>
            </a:lvl3pPr>
            <a:lvl4pPr>
              <a:defRPr/>
            </a:lvl4pPr>
            <a:lvl5pPr>
              <a:defRPr/>
            </a:lvl5pPr>
            <a:lvl6pPr>
              <a:defRPr/>
            </a:lvl6pPr>
            <a:lvl7pPr>
              <a:defRPr/>
            </a:lvl7pPr>
            <a:lvl8pPr>
              <a:defRPr/>
            </a:lvl8pPr>
            <a:lvl9pPr>
              <a:defRPr/>
            </a:lvl9pPr>
          </a:lstStyle>
          <a:p>
            <a:pPr lvl="0"/>
            <a:r>
              <a:rPr lang="de-DE" noProof="0"/>
              <a:t>You can use this field to enter text, a table, a diagram or SmartArts. Use the buttons “increase list level” for copytext or bullet levels. Use the icons below to create visual content.</a:t>
            </a:r>
          </a:p>
          <a:p>
            <a:pPr lvl="1"/>
            <a:r>
              <a:rPr lang="de-DE" noProof="0"/>
              <a:t>2. level</a:t>
            </a:r>
          </a:p>
          <a:p>
            <a:pPr lvl="2"/>
            <a:r>
              <a:rPr lang="de-DE" noProof="0"/>
              <a:t>3. level</a:t>
            </a:r>
          </a:p>
          <a:p>
            <a:pPr lvl="3"/>
            <a:r>
              <a:rPr lang="de-DE" noProof="0"/>
              <a:t>4. level</a:t>
            </a:r>
          </a:p>
          <a:p>
            <a:pPr lvl="4"/>
            <a:r>
              <a:rPr lang="de-DE" noProof="0"/>
              <a:t>5. level</a:t>
            </a:r>
          </a:p>
          <a:p>
            <a:pPr lvl="5"/>
            <a:r>
              <a:rPr lang="de-DE" noProof="0"/>
              <a:t>6. level</a:t>
            </a:r>
          </a:p>
        </p:txBody>
      </p:sp>
      <p:sp>
        <p:nvSpPr>
          <p:cNvPr id="4" name="Inhaltsplatzhalter 3"/>
          <p:cNvSpPr>
            <a:spLocks noGrp="1"/>
          </p:cNvSpPr>
          <p:nvPr>
            <p:ph sz="half" idx="2" hasCustomPrompt="1"/>
          </p:nvPr>
        </p:nvSpPr>
        <p:spPr bwMode="gray">
          <a:xfrm>
            <a:off x="6275388" y="2312988"/>
            <a:ext cx="4824412" cy="3744912"/>
          </a:xfrm>
          <a:prstGeom prst="rect">
            <a:avLst/>
          </a:prstGeom>
        </p:spPr>
        <p:txBody>
          <a:bodyPr>
            <a:normAutofit/>
          </a:bodyPr>
          <a:lstStyle>
            <a:lvl1pPr>
              <a:defRPr/>
            </a:lvl1pPr>
            <a:lvl2pPr>
              <a:defRPr/>
            </a:lvl2pPr>
            <a:lvl3pPr>
              <a:defRPr/>
            </a:lvl3pPr>
            <a:lvl4pPr>
              <a:defRPr/>
            </a:lvl4pPr>
            <a:lvl5pPr>
              <a:defRPr/>
            </a:lvl5pPr>
            <a:lvl6pPr>
              <a:defRPr/>
            </a:lvl6pPr>
          </a:lstStyle>
          <a:p>
            <a:pPr lvl="0"/>
            <a:r>
              <a:rPr lang="de-DE" noProof="0"/>
              <a:t>You can use this field to enter text, a table, a diagram or SmartArts. Use the buttons “increase list level” for copytext or bullet levels. Use the icons below to create visual content.</a:t>
            </a:r>
          </a:p>
          <a:p>
            <a:pPr lvl="1"/>
            <a:r>
              <a:rPr lang="de-DE" noProof="0"/>
              <a:t>2. level</a:t>
            </a:r>
          </a:p>
          <a:p>
            <a:pPr lvl="2"/>
            <a:r>
              <a:rPr lang="de-DE" noProof="0"/>
              <a:t>3. level</a:t>
            </a:r>
          </a:p>
          <a:p>
            <a:pPr lvl="3"/>
            <a:r>
              <a:rPr lang="de-DE" noProof="0"/>
              <a:t>4. level</a:t>
            </a:r>
          </a:p>
          <a:p>
            <a:pPr lvl="4"/>
            <a:r>
              <a:rPr lang="de-DE" noProof="0"/>
              <a:t>5. level</a:t>
            </a:r>
          </a:p>
          <a:p>
            <a:pPr lvl="5"/>
            <a:r>
              <a:rPr lang="de-DE" noProof="0"/>
              <a:t>6. level</a:t>
            </a:r>
          </a:p>
        </p:txBody>
      </p:sp>
      <p:sp>
        <p:nvSpPr>
          <p:cNvPr id="5" name="Fußzeilenplatzhalter 4">
            <a:extLst>
              <a:ext uri="{FF2B5EF4-FFF2-40B4-BE49-F238E27FC236}">
                <a16:creationId xmlns:a16="http://schemas.microsoft.com/office/drawing/2014/main" id="{6FD39134-45F2-8CCF-8D2C-0179C43E6D65}"/>
              </a:ext>
            </a:extLst>
          </p:cNvPr>
          <p:cNvSpPr>
            <a:spLocks noGrp="1"/>
          </p:cNvSpPr>
          <p:nvPr>
            <p:ph type="ftr" sz="quarter" idx="10"/>
          </p:nvPr>
        </p:nvSpPr>
        <p:spPr bwMode="gray"/>
        <p:txBody>
          <a:bodyPr/>
          <a:lstStyle/>
          <a:p>
            <a:r>
              <a:rPr lang="de-DE"/>
              <a:t>Date dd.mm.yyyy  |  Security label</a:t>
            </a:r>
          </a:p>
        </p:txBody>
      </p:sp>
      <p:sp>
        <p:nvSpPr>
          <p:cNvPr id="10" name="Titel 9">
            <a:extLst>
              <a:ext uri="{FF2B5EF4-FFF2-40B4-BE49-F238E27FC236}">
                <a16:creationId xmlns:a16="http://schemas.microsoft.com/office/drawing/2014/main" id="{105C2B0F-86E7-5643-93AA-5CEF72C3A9B5}"/>
              </a:ext>
            </a:extLst>
          </p:cNvPr>
          <p:cNvSpPr>
            <a:spLocks noGrp="1"/>
          </p:cNvSpPr>
          <p:nvPr>
            <p:ph type="title" hasCustomPrompt="1"/>
          </p:nvPr>
        </p:nvSpPr>
        <p:spPr bwMode="gray"/>
        <p:txBody>
          <a:bodyPr>
            <a:normAutofit/>
          </a:bodyPr>
          <a:lstStyle/>
          <a:p>
            <a:r>
              <a:rPr lang="de-DE" noProof="0"/>
              <a:t>Headline (max. 2 lines)</a:t>
            </a:r>
            <a:endParaRPr lang="de-DE"/>
          </a:p>
        </p:txBody>
      </p:sp>
      <p:sp>
        <p:nvSpPr>
          <p:cNvPr id="11" name="Untertitel 2">
            <a:extLst>
              <a:ext uri="{FF2B5EF4-FFF2-40B4-BE49-F238E27FC236}">
                <a16:creationId xmlns:a16="http://schemas.microsoft.com/office/drawing/2014/main" id="{01474A71-2520-2B50-369F-130BB95FF6BE}"/>
              </a:ext>
            </a:extLst>
          </p:cNvPr>
          <p:cNvSpPr>
            <a:spLocks noGrp="1"/>
          </p:cNvSpPr>
          <p:nvPr>
            <p:ph type="subTitle" idx="12" hasCustomPrompt="1"/>
          </p:nvPr>
        </p:nvSpPr>
        <p:spPr bwMode="gray">
          <a:xfrm>
            <a:off x="1091444" y="1427305"/>
            <a:ext cx="10009112" cy="381515"/>
          </a:xfrm>
          <a:prstGeom prst="rect">
            <a:avLst/>
          </a:prstGeom>
          <a:noFill/>
        </p:spPr>
        <p:txBody>
          <a:bodyPr wrap="square" lIns="0" tIns="0" rIns="0" bIns="0">
            <a:normAutofit/>
          </a:bodyPr>
          <a:lstStyle>
            <a:lvl1pPr marL="0" indent="0" algn="l">
              <a:lnSpc>
                <a:spcPct val="110000"/>
              </a:lnSpc>
              <a:spcBef>
                <a:spcPts val="0"/>
              </a:spcBef>
              <a:spcAft>
                <a:spcPts val="0"/>
              </a:spcAft>
              <a:buNone/>
              <a:defRPr sz="2500" b="0" i="1">
                <a:solidFill>
                  <a:schemeClr val="tx1"/>
                </a:solidFill>
                <a:latin typeface="Barlow Medium" panose="00000600000000000000" pitchFamily="2" charset="0"/>
              </a:defRPr>
            </a:lvl1pPr>
            <a:lvl2pPr marL="0" indent="0" algn="l">
              <a:lnSpc>
                <a:spcPct val="110000"/>
              </a:lnSpc>
              <a:spcBef>
                <a:spcPts val="0"/>
              </a:spcBef>
              <a:spcAft>
                <a:spcPts val="0"/>
              </a:spcAft>
              <a:buNone/>
              <a:defRPr sz="2500" b="0">
                <a:solidFill>
                  <a:schemeClr val="tx1"/>
                </a:solidFill>
                <a:latin typeface="Barlow Medium" panose="00000600000000000000" pitchFamily="2" charset="0"/>
              </a:defRPr>
            </a:lvl2pPr>
            <a:lvl3pPr marL="0" indent="0" algn="l">
              <a:lnSpc>
                <a:spcPct val="110000"/>
              </a:lnSpc>
              <a:spcBef>
                <a:spcPts val="0"/>
              </a:spcBef>
              <a:spcAft>
                <a:spcPts val="0"/>
              </a:spcAft>
              <a:buNone/>
              <a:defRPr sz="2500" b="0">
                <a:solidFill>
                  <a:schemeClr val="tx1"/>
                </a:solidFill>
                <a:latin typeface="Barlow Medium" panose="00000600000000000000" pitchFamily="2" charset="0"/>
              </a:defRPr>
            </a:lvl3pPr>
            <a:lvl4pPr marL="0" indent="0" algn="l">
              <a:lnSpc>
                <a:spcPct val="110000"/>
              </a:lnSpc>
              <a:spcBef>
                <a:spcPts val="0"/>
              </a:spcBef>
              <a:spcAft>
                <a:spcPts val="0"/>
              </a:spcAft>
              <a:buNone/>
              <a:defRPr sz="2500" b="0">
                <a:solidFill>
                  <a:schemeClr val="tx1"/>
                </a:solidFill>
                <a:latin typeface="Barlow Medium" panose="00000600000000000000" pitchFamily="2" charset="0"/>
              </a:defRPr>
            </a:lvl4pPr>
            <a:lvl5pPr marL="0" indent="0" algn="l">
              <a:lnSpc>
                <a:spcPct val="110000"/>
              </a:lnSpc>
              <a:spcBef>
                <a:spcPts val="0"/>
              </a:spcBef>
              <a:spcAft>
                <a:spcPts val="0"/>
              </a:spcAft>
              <a:buNone/>
              <a:defRPr sz="2500" b="0">
                <a:solidFill>
                  <a:schemeClr val="tx1"/>
                </a:solidFill>
                <a:latin typeface="Barlow Medium" panose="00000600000000000000" pitchFamily="2" charset="0"/>
              </a:defRPr>
            </a:lvl5pPr>
            <a:lvl6pPr marL="0" indent="0" algn="l">
              <a:lnSpc>
                <a:spcPct val="110000"/>
              </a:lnSpc>
              <a:spcBef>
                <a:spcPts val="0"/>
              </a:spcBef>
              <a:spcAft>
                <a:spcPts val="0"/>
              </a:spcAft>
              <a:buNone/>
              <a:defRPr sz="2500" b="0">
                <a:solidFill>
                  <a:schemeClr val="tx1"/>
                </a:solidFill>
                <a:latin typeface="Barlow Medium" panose="00000600000000000000" pitchFamily="2" charset="0"/>
              </a:defRPr>
            </a:lvl6pPr>
            <a:lvl7pPr marL="0" indent="0" algn="l">
              <a:lnSpc>
                <a:spcPct val="110000"/>
              </a:lnSpc>
              <a:spcBef>
                <a:spcPts val="0"/>
              </a:spcBef>
              <a:spcAft>
                <a:spcPts val="0"/>
              </a:spcAft>
              <a:buNone/>
              <a:defRPr sz="2500" b="0">
                <a:solidFill>
                  <a:schemeClr val="tx1"/>
                </a:solidFill>
                <a:latin typeface="Barlow Medium" panose="00000600000000000000" pitchFamily="2" charset="0"/>
              </a:defRPr>
            </a:lvl7pPr>
            <a:lvl8pPr marL="0" indent="0" algn="l">
              <a:lnSpc>
                <a:spcPct val="110000"/>
              </a:lnSpc>
              <a:spcBef>
                <a:spcPts val="0"/>
              </a:spcBef>
              <a:spcAft>
                <a:spcPts val="0"/>
              </a:spcAft>
              <a:buNone/>
              <a:defRPr sz="2500" b="0">
                <a:solidFill>
                  <a:schemeClr val="tx1"/>
                </a:solidFill>
                <a:latin typeface="Barlow Medium" panose="00000600000000000000" pitchFamily="2" charset="0"/>
              </a:defRPr>
            </a:lvl8pPr>
            <a:lvl9pPr marL="0" indent="0" algn="l">
              <a:lnSpc>
                <a:spcPct val="110000"/>
              </a:lnSpc>
              <a:spcBef>
                <a:spcPts val="0"/>
              </a:spcBef>
              <a:spcAft>
                <a:spcPts val="0"/>
              </a:spcAft>
              <a:buNone/>
              <a:defRPr sz="2500" b="0">
                <a:solidFill>
                  <a:schemeClr val="tx1"/>
                </a:solidFill>
                <a:latin typeface="Barlow Medium" panose="00000600000000000000" pitchFamily="2" charset="0"/>
              </a:defRPr>
            </a:lvl9pPr>
          </a:lstStyle>
          <a:p>
            <a:pPr lvl="0"/>
            <a:r>
              <a:rPr lang="de-DE" noProof="0"/>
              <a:t>Sub-Headline</a:t>
            </a:r>
          </a:p>
        </p:txBody>
      </p:sp>
      <p:sp>
        <p:nvSpPr>
          <p:cNvPr id="2" name="Slide Number Placeholder 1">
            <a:extLst>
              <a:ext uri="{FF2B5EF4-FFF2-40B4-BE49-F238E27FC236}">
                <a16:creationId xmlns:a16="http://schemas.microsoft.com/office/drawing/2014/main" id="{259B4C30-12CD-2EB4-C13B-0CA8A7BFC2CE}"/>
              </a:ext>
            </a:extLst>
          </p:cNvPr>
          <p:cNvSpPr>
            <a:spLocks noGrp="1"/>
          </p:cNvSpPr>
          <p:nvPr>
            <p:ph type="sldNum" sz="quarter" idx="13"/>
          </p:nvPr>
        </p:nvSpPr>
        <p:spPr/>
        <p:txBody>
          <a:bodyPr/>
          <a:lstStyle/>
          <a:p>
            <a:fld id="{44661A95-0089-4306-9485-D330C59FE3ED}" type="slidenum">
              <a:rPr lang="de-DE" smtClean="0"/>
              <a:pPr/>
              <a:t>‹#›</a:t>
            </a:fld>
            <a:endParaRPr lang="de-DE"/>
          </a:p>
        </p:txBody>
      </p:sp>
    </p:spTree>
    <p:extLst>
      <p:ext uri="{BB962C8B-B14F-4D97-AF65-F5344CB8AC3E}">
        <p14:creationId xmlns:p14="http://schemas.microsoft.com/office/powerpoint/2010/main" val="35122528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hree contents">
    <p:spTree>
      <p:nvGrpSpPr>
        <p:cNvPr id="1" name=""/>
        <p:cNvGrpSpPr/>
        <p:nvPr/>
      </p:nvGrpSpPr>
      <p:grpSpPr>
        <a:xfrm>
          <a:off x="0" y="0"/>
          <a:ext cx="0" cy="0"/>
          <a:chOff x="0" y="0"/>
          <a:chExt cx="0" cy="0"/>
        </a:xfrm>
      </p:grpSpPr>
      <p:sp>
        <p:nvSpPr>
          <p:cNvPr id="3" name="Inhaltsplatzhalter 2"/>
          <p:cNvSpPr>
            <a:spLocks noGrp="1"/>
          </p:cNvSpPr>
          <p:nvPr>
            <p:ph sz="half" idx="1" hasCustomPrompt="1"/>
          </p:nvPr>
        </p:nvSpPr>
        <p:spPr bwMode="gray">
          <a:xfrm>
            <a:off x="1092200" y="1628776"/>
            <a:ext cx="3095588" cy="4429126"/>
          </a:xfrm>
          <a:prstGeom prst="rect">
            <a:avLst/>
          </a:prstGeom>
        </p:spPr>
        <p:txBody>
          <a:bodyPr/>
          <a:lstStyle>
            <a:lvl1pPr>
              <a:defRPr sz="2500" b="0">
                <a:latin typeface="Barlow Light" panose="00000400000000000000" pitchFamily="2" charset="0"/>
              </a:defRPr>
            </a:lvl1pPr>
            <a:lvl2pPr>
              <a:defRPr b="0"/>
            </a:lvl2pPr>
            <a:lvl3pPr>
              <a:defRPr b="0"/>
            </a:lvl3pPr>
            <a:lvl4pPr>
              <a:defRPr b="0"/>
            </a:lvl4pPr>
            <a:lvl5pPr>
              <a:defRPr b="0"/>
            </a:lvl5pPr>
            <a:lvl6pPr>
              <a:defRPr b="0"/>
            </a:lvl6pPr>
          </a:lstStyle>
          <a:p>
            <a:pPr lvl="0"/>
            <a:r>
              <a:rPr lang="de-DE" noProof="0"/>
              <a:t>You can use this field to enter text, a table, a diagram or SmartArts. Use the buttons “increase list level” for copytext or bullet levels. Use the icons below to create visual content.</a:t>
            </a:r>
          </a:p>
          <a:p>
            <a:pPr lvl="1"/>
            <a:r>
              <a:rPr lang="de-DE" noProof="0"/>
              <a:t>2. level</a:t>
            </a:r>
          </a:p>
          <a:p>
            <a:pPr lvl="2"/>
            <a:r>
              <a:rPr lang="de-DE" noProof="0"/>
              <a:t>3. level</a:t>
            </a:r>
          </a:p>
          <a:p>
            <a:pPr lvl="3"/>
            <a:r>
              <a:rPr lang="de-DE" noProof="0"/>
              <a:t>4. level</a:t>
            </a:r>
          </a:p>
          <a:p>
            <a:pPr lvl="4"/>
            <a:r>
              <a:rPr lang="de-DE" noProof="0"/>
              <a:t>5. level</a:t>
            </a:r>
          </a:p>
          <a:p>
            <a:pPr lvl="5"/>
            <a:r>
              <a:rPr lang="de-DE" noProof="0"/>
              <a:t>6. level</a:t>
            </a:r>
          </a:p>
        </p:txBody>
      </p:sp>
      <p:sp>
        <p:nvSpPr>
          <p:cNvPr id="4" name="Inhaltsplatzhalter 3"/>
          <p:cNvSpPr>
            <a:spLocks noGrp="1"/>
          </p:cNvSpPr>
          <p:nvPr>
            <p:ph sz="half" idx="2" hasCustomPrompt="1"/>
          </p:nvPr>
        </p:nvSpPr>
        <p:spPr bwMode="gray">
          <a:xfrm>
            <a:off x="4547828" y="1628776"/>
            <a:ext cx="3096344" cy="4429126"/>
          </a:xfrm>
          <a:prstGeom prst="rect">
            <a:avLst/>
          </a:prstGeom>
        </p:spPr>
        <p:txBody>
          <a:bodyPr/>
          <a:lstStyle>
            <a:lvl1pPr>
              <a:defRPr sz="2500" b="0">
                <a:latin typeface="Barlow Light" panose="00000400000000000000" pitchFamily="2" charset="0"/>
              </a:defRPr>
            </a:lvl1pPr>
            <a:lvl2pPr>
              <a:defRPr b="0"/>
            </a:lvl2pPr>
            <a:lvl3pPr>
              <a:defRPr b="0"/>
            </a:lvl3pPr>
            <a:lvl4pPr>
              <a:defRPr b="0"/>
            </a:lvl4pPr>
            <a:lvl5pPr>
              <a:defRPr b="0"/>
            </a:lvl5pPr>
            <a:lvl6pPr>
              <a:defRPr b="0"/>
            </a:lvl6pPr>
          </a:lstStyle>
          <a:p>
            <a:pPr lvl="0"/>
            <a:r>
              <a:rPr lang="de-DE" noProof="0"/>
              <a:t>You can use this field to enter text, a table, a diagram or SmartArts. Use the buttons “increase list level” for copytext or bullet levels. Use the icons below to create visual content.</a:t>
            </a:r>
          </a:p>
          <a:p>
            <a:pPr lvl="1"/>
            <a:r>
              <a:rPr lang="de-DE" noProof="0"/>
              <a:t>2. level</a:t>
            </a:r>
          </a:p>
          <a:p>
            <a:pPr lvl="2"/>
            <a:r>
              <a:rPr lang="de-DE" noProof="0"/>
              <a:t>3. level</a:t>
            </a:r>
          </a:p>
          <a:p>
            <a:pPr lvl="3"/>
            <a:r>
              <a:rPr lang="de-DE" noProof="0"/>
              <a:t>4. level</a:t>
            </a:r>
          </a:p>
          <a:p>
            <a:pPr lvl="4"/>
            <a:r>
              <a:rPr lang="de-DE" noProof="0"/>
              <a:t>5. level</a:t>
            </a:r>
          </a:p>
          <a:p>
            <a:pPr lvl="5"/>
            <a:r>
              <a:rPr lang="de-DE" noProof="0"/>
              <a:t>6. level</a:t>
            </a:r>
          </a:p>
        </p:txBody>
      </p:sp>
      <p:sp>
        <p:nvSpPr>
          <p:cNvPr id="7" name="Inhaltsplatzhalter 3"/>
          <p:cNvSpPr>
            <a:spLocks noGrp="1"/>
          </p:cNvSpPr>
          <p:nvPr>
            <p:ph sz="half" idx="12" hasCustomPrompt="1"/>
          </p:nvPr>
        </p:nvSpPr>
        <p:spPr bwMode="gray">
          <a:xfrm>
            <a:off x="8004212" y="1628775"/>
            <a:ext cx="3095988" cy="4428030"/>
          </a:xfrm>
          <a:prstGeom prst="rect">
            <a:avLst/>
          </a:prstGeom>
        </p:spPr>
        <p:txBody>
          <a:bodyPr/>
          <a:lstStyle>
            <a:lvl1pPr>
              <a:defRPr sz="2500" b="0">
                <a:latin typeface="Barlow Light" panose="00000400000000000000" pitchFamily="2" charset="0"/>
              </a:defRPr>
            </a:lvl1pPr>
            <a:lvl2pPr>
              <a:defRPr b="0"/>
            </a:lvl2pPr>
            <a:lvl3pPr>
              <a:defRPr b="0"/>
            </a:lvl3pPr>
            <a:lvl4pPr>
              <a:defRPr b="0"/>
            </a:lvl4pPr>
            <a:lvl5pPr>
              <a:defRPr b="0"/>
            </a:lvl5pPr>
            <a:lvl6pPr>
              <a:defRPr b="0"/>
            </a:lvl6pPr>
          </a:lstStyle>
          <a:p>
            <a:pPr lvl="0"/>
            <a:r>
              <a:rPr lang="de-DE" noProof="0"/>
              <a:t>You can use this field to enter text, a table, a diagram or SmartArts. Use the buttons “increase list level” for copytext or bullet levels. Use the icons below to create visual content.</a:t>
            </a:r>
          </a:p>
          <a:p>
            <a:pPr lvl="1"/>
            <a:r>
              <a:rPr lang="de-DE" noProof="0"/>
              <a:t>2. level</a:t>
            </a:r>
          </a:p>
          <a:p>
            <a:pPr lvl="2"/>
            <a:r>
              <a:rPr lang="de-DE" noProof="0"/>
              <a:t>3. level</a:t>
            </a:r>
          </a:p>
          <a:p>
            <a:pPr lvl="3"/>
            <a:r>
              <a:rPr lang="de-DE" noProof="0"/>
              <a:t>4. level</a:t>
            </a:r>
          </a:p>
          <a:p>
            <a:pPr lvl="4"/>
            <a:r>
              <a:rPr lang="de-DE" noProof="0"/>
              <a:t>5. level</a:t>
            </a:r>
          </a:p>
          <a:p>
            <a:pPr lvl="5"/>
            <a:r>
              <a:rPr lang="de-DE" noProof="0"/>
              <a:t>6. level</a:t>
            </a:r>
          </a:p>
        </p:txBody>
      </p:sp>
      <p:sp>
        <p:nvSpPr>
          <p:cNvPr id="5" name="Fußzeilenplatzhalter 4">
            <a:extLst>
              <a:ext uri="{FF2B5EF4-FFF2-40B4-BE49-F238E27FC236}">
                <a16:creationId xmlns:a16="http://schemas.microsoft.com/office/drawing/2014/main" id="{E89E1A06-8DAE-5935-FDDF-892A7C92FAA2}"/>
              </a:ext>
            </a:extLst>
          </p:cNvPr>
          <p:cNvSpPr>
            <a:spLocks noGrp="1"/>
          </p:cNvSpPr>
          <p:nvPr>
            <p:ph type="ftr" sz="quarter" idx="13"/>
          </p:nvPr>
        </p:nvSpPr>
        <p:spPr bwMode="gray"/>
        <p:txBody>
          <a:bodyPr/>
          <a:lstStyle/>
          <a:p>
            <a:r>
              <a:rPr lang="de-DE"/>
              <a:t>Date dd.mm.yyyy  |  Security label</a:t>
            </a:r>
          </a:p>
        </p:txBody>
      </p:sp>
      <p:sp>
        <p:nvSpPr>
          <p:cNvPr id="10" name="Titel 9">
            <a:extLst>
              <a:ext uri="{FF2B5EF4-FFF2-40B4-BE49-F238E27FC236}">
                <a16:creationId xmlns:a16="http://schemas.microsoft.com/office/drawing/2014/main" id="{F27B1B10-8EAF-4C5F-9EC2-A2F03DED5B79}"/>
              </a:ext>
            </a:extLst>
          </p:cNvPr>
          <p:cNvSpPr>
            <a:spLocks noGrp="1"/>
          </p:cNvSpPr>
          <p:nvPr>
            <p:ph type="title" hasCustomPrompt="1"/>
          </p:nvPr>
        </p:nvSpPr>
        <p:spPr bwMode="gray"/>
        <p:txBody>
          <a:bodyPr/>
          <a:lstStyle/>
          <a:p>
            <a:r>
              <a:rPr lang="de-DE" noProof="0"/>
              <a:t>Headline (max. 2 lines)</a:t>
            </a:r>
            <a:endParaRPr lang="de-DE"/>
          </a:p>
        </p:txBody>
      </p:sp>
      <p:sp>
        <p:nvSpPr>
          <p:cNvPr id="2" name="Slide Number Placeholder 1">
            <a:extLst>
              <a:ext uri="{FF2B5EF4-FFF2-40B4-BE49-F238E27FC236}">
                <a16:creationId xmlns:a16="http://schemas.microsoft.com/office/drawing/2014/main" id="{88D51BDA-69CF-1532-A5F8-978B7EE259A8}"/>
              </a:ext>
            </a:extLst>
          </p:cNvPr>
          <p:cNvSpPr>
            <a:spLocks noGrp="1"/>
          </p:cNvSpPr>
          <p:nvPr>
            <p:ph type="sldNum" sz="quarter" idx="14"/>
          </p:nvPr>
        </p:nvSpPr>
        <p:spPr/>
        <p:txBody>
          <a:bodyPr/>
          <a:lstStyle/>
          <a:p>
            <a:fld id="{44661A95-0089-4306-9485-D330C59FE3ED}" type="slidenum">
              <a:rPr lang="de-DE" smtClean="0"/>
              <a:pPr/>
              <a:t>‹#›</a:t>
            </a:fld>
            <a:endParaRPr lang="de-DE"/>
          </a:p>
        </p:txBody>
      </p:sp>
    </p:spTree>
    <p:extLst>
      <p:ext uri="{BB962C8B-B14F-4D97-AF65-F5344CB8AC3E}">
        <p14:creationId xmlns:p14="http://schemas.microsoft.com/office/powerpoint/2010/main" val="199698207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Only title">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userDrawn="1">
            <p:custDataLst>
              <p:tags r:id="rId1"/>
            </p:custDataLst>
            <p:extLst>
              <p:ext uri="{D42A27DB-BD31-4B8C-83A1-F6EECF244321}">
                <p14:modId xmlns:p14="http://schemas.microsoft.com/office/powerpoint/2010/main" val="74794165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3" imgW="360" imgH="360" progId="TCLayout.ActiveDocument.1">
                  <p:embed/>
                </p:oleObj>
              </mc:Choice>
              <mc:Fallback>
                <p:oleObj name="think-cell Folie" r:id="rId3" imgW="360" imgH="360" progId="TCLayout.ActiveDocument.1">
                  <p:embed/>
                  <p:pic>
                    <p:nvPicPr>
                      <p:cNvPr id="3" name="Objekt 2"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Fußzeilenplatzhalter 3">
            <a:extLst>
              <a:ext uri="{FF2B5EF4-FFF2-40B4-BE49-F238E27FC236}">
                <a16:creationId xmlns:a16="http://schemas.microsoft.com/office/drawing/2014/main" id="{E97A0641-E514-C122-AE9B-F58B4FC6BADF}"/>
              </a:ext>
            </a:extLst>
          </p:cNvPr>
          <p:cNvSpPr>
            <a:spLocks noGrp="1"/>
          </p:cNvSpPr>
          <p:nvPr>
            <p:ph type="ftr" sz="quarter" idx="10"/>
          </p:nvPr>
        </p:nvSpPr>
        <p:spPr bwMode="gray"/>
        <p:txBody>
          <a:bodyPr/>
          <a:lstStyle/>
          <a:p>
            <a:r>
              <a:rPr lang="de-DE"/>
              <a:t>Date dd.mm.yyyy  |  Security label</a:t>
            </a:r>
          </a:p>
        </p:txBody>
      </p:sp>
      <p:sp>
        <p:nvSpPr>
          <p:cNvPr id="9" name="Untertitel 2">
            <a:extLst>
              <a:ext uri="{FF2B5EF4-FFF2-40B4-BE49-F238E27FC236}">
                <a16:creationId xmlns:a16="http://schemas.microsoft.com/office/drawing/2014/main" id="{FEAD5AD3-62CE-EFD3-6595-ADDFF077A488}"/>
              </a:ext>
            </a:extLst>
          </p:cNvPr>
          <p:cNvSpPr>
            <a:spLocks noGrp="1"/>
          </p:cNvSpPr>
          <p:nvPr>
            <p:ph type="subTitle" idx="12" hasCustomPrompt="1"/>
          </p:nvPr>
        </p:nvSpPr>
        <p:spPr bwMode="gray">
          <a:xfrm>
            <a:off x="1091444" y="1427305"/>
            <a:ext cx="10009112" cy="381515"/>
          </a:xfrm>
          <a:prstGeom prst="rect">
            <a:avLst/>
          </a:prstGeom>
          <a:noFill/>
        </p:spPr>
        <p:txBody>
          <a:bodyPr wrap="square" lIns="0" tIns="0" rIns="0" bIns="0">
            <a:normAutofit/>
          </a:bodyPr>
          <a:lstStyle>
            <a:lvl1pPr marL="0" indent="0" algn="l">
              <a:lnSpc>
                <a:spcPct val="110000"/>
              </a:lnSpc>
              <a:spcBef>
                <a:spcPts val="0"/>
              </a:spcBef>
              <a:spcAft>
                <a:spcPts val="0"/>
              </a:spcAft>
              <a:buNone/>
              <a:defRPr sz="2500" b="0" i="1">
                <a:solidFill>
                  <a:schemeClr val="tx1"/>
                </a:solidFill>
                <a:latin typeface="Barlow Medium" panose="00000600000000000000" pitchFamily="2" charset="0"/>
              </a:defRPr>
            </a:lvl1pPr>
            <a:lvl2pPr marL="0" indent="0" algn="l">
              <a:lnSpc>
                <a:spcPct val="110000"/>
              </a:lnSpc>
              <a:spcBef>
                <a:spcPts val="0"/>
              </a:spcBef>
              <a:spcAft>
                <a:spcPts val="0"/>
              </a:spcAft>
              <a:buNone/>
              <a:defRPr sz="2500" b="0">
                <a:solidFill>
                  <a:schemeClr val="tx1"/>
                </a:solidFill>
                <a:latin typeface="Barlow Medium" panose="00000600000000000000" pitchFamily="2" charset="0"/>
              </a:defRPr>
            </a:lvl2pPr>
            <a:lvl3pPr marL="0" indent="0" algn="l">
              <a:lnSpc>
                <a:spcPct val="110000"/>
              </a:lnSpc>
              <a:spcBef>
                <a:spcPts val="0"/>
              </a:spcBef>
              <a:spcAft>
                <a:spcPts val="0"/>
              </a:spcAft>
              <a:buNone/>
              <a:defRPr sz="2500" b="0">
                <a:solidFill>
                  <a:schemeClr val="tx1"/>
                </a:solidFill>
                <a:latin typeface="Barlow Medium" panose="00000600000000000000" pitchFamily="2" charset="0"/>
              </a:defRPr>
            </a:lvl3pPr>
            <a:lvl4pPr marL="0" indent="0" algn="l">
              <a:lnSpc>
                <a:spcPct val="110000"/>
              </a:lnSpc>
              <a:spcBef>
                <a:spcPts val="0"/>
              </a:spcBef>
              <a:spcAft>
                <a:spcPts val="0"/>
              </a:spcAft>
              <a:buNone/>
              <a:defRPr sz="2500" b="0">
                <a:solidFill>
                  <a:schemeClr val="tx1"/>
                </a:solidFill>
                <a:latin typeface="Barlow Medium" panose="00000600000000000000" pitchFamily="2" charset="0"/>
              </a:defRPr>
            </a:lvl4pPr>
            <a:lvl5pPr marL="0" indent="0" algn="l">
              <a:lnSpc>
                <a:spcPct val="110000"/>
              </a:lnSpc>
              <a:spcBef>
                <a:spcPts val="0"/>
              </a:spcBef>
              <a:spcAft>
                <a:spcPts val="0"/>
              </a:spcAft>
              <a:buNone/>
              <a:defRPr sz="2500" b="0">
                <a:solidFill>
                  <a:schemeClr val="tx1"/>
                </a:solidFill>
                <a:latin typeface="Barlow Medium" panose="00000600000000000000" pitchFamily="2" charset="0"/>
              </a:defRPr>
            </a:lvl5pPr>
            <a:lvl6pPr marL="0" indent="0" algn="l">
              <a:lnSpc>
                <a:spcPct val="110000"/>
              </a:lnSpc>
              <a:spcBef>
                <a:spcPts val="0"/>
              </a:spcBef>
              <a:spcAft>
                <a:spcPts val="0"/>
              </a:spcAft>
              <a:buNone/>
              <a:defRPr sz="2500" b="0">
                <a:solidFill>
                  <a:schemeClr val="tx1"/>
                </a:solidFill>
                <a:latin typeface="Barlow Medium" panose="00000600000000000000" pitchFamily="2" charset="0"/>
              </a:defRPr>
            </a:lvl6pPr>
            <a:lvl7pPr marL="0" indent="0" algn="l">
              <a:lnSpc>
                <a:spcPct val="110000"/>
              </a:lnSpc>
              <a:spcBef>
                <a:spcPts val="0"/>
              </a:spcBef>
              <a:spcAft>
                <a:spcPts val="0"/>
              </a:spcAft>
              <a:buNone/>
              <a:defRPr sz="2500" b="0">
                <a:solidFill>
                  <a:schemeClr val="tx1"/>
                </a:solidFill>
                <a:latin typeface="Barlow Medium" panose="00000600000000000000" pitchFamily="2" charset="0"/>
              </a:defRPr>
            </a:lvl7pPr>
            <a:lvl8pPr marL="0" indent="0" algn="l">
              <a:lnSpc>
                <a:spcPct val="110000"/>
              </a:lnSpc>
              <a:spcBef>
                <a:spcPts val="0"/>
              </a:spcBef>
              <a:spcAft>
                <a:spcPts val="0"/>
              </a:spcAft>
              <a:buNone/>
              <a:defRPr sz="2500" b="0">
                <a:solidFill>
                  <a:schemeClr val="tx1"/>
                </a:solidFill>
                <a:latin typeface="Barlow Medium" panose="00000600000000000000" pitchFamily="2" charset="0"/>
              </a:defRPr>
            </a:lvl8pPr>
            <a:lvl9pPr marL="0" indent="0" algn="l">
              <a:lnSpc>
                <a:spcPct val="110000"/>
              </a:lnSpc>
              <a:spcBef>
                <a:spcPts val="0"/>
              </a:spcBef>
              <a:spcAft>
                <a:spcPts val="0"/>
              </a:spcAft>
              <a:buNone/>
              <a:defRPr sz="2500" b="0">
                <a:solidFill>
                  <a:schemeClr val="tx1"/>
                </a:solidFill>
                <a:latin typeface="Barlow Medium" panose="00000600000000000000" pitchFamily="2" charset="0"/>
              </a:defRPr>
            </a:lvl9pPr>
          </a:lstStyle>
          <a:p>
            <a:pPr lvl="0"/>
            <a:r>
              <a:rPr lang="de-DE" noProof="0"/>
              <a:t>Sub-Headline</a:t>
            </a:r>
          </a:p>
        </p:txBody>
      </p:sp>
      <p:sp>
        <p:nvSpPr>
          <p:cNvPr id="2" name="Title 1">
            <a:extLst>
              <a:ext uri="{FF2B5EF4-FFF2-40B4-BE49-F238E27FC236}">
                <a16:creationId xmlns:a16="http://schemas.microsoft.com/office/drawing/2014/main" id="{F5FB7EC7-7C5A-3E99-97D6-E3163BB33E82}"/>
              </a:ext>
            </a:extLst>
          </p:cNvPr>
          <p:cNvSpPr>
            <a:spLocks noGrp="1"/>
          </p:cNvSpPr>
          <p:nvPr>
            <p:ph type="title" hasCustomPrompt="1"/>
          </p:nvPr>
        </p:nvSpPr>
        <p:spPr/>
        <p:txBody>
          <a:bodyPr>
            <a:normAutofit/>
          </a:bodyPr>
          <a:lstStyle/>
          <a:p>
            <a:r>
              <a:rPr lang="de-DE" noProof="0"/>
              <a:t>Headline (max. 2 lines) </a:t>
            </a:r>
            <a:endParaRPr lang="de-DE"/>
          </a:p>
        </p:txBody>
      </p:sp>
      <p:sp>
        <p:nvSpPr>
          <p:cNvPr id="6" name="Slide Number Placeholder 5">
            <a:extLst>
              <a:ext uri="{FF2B5EF4-FFF2-40B4-BE49-F238E27FC236}">
                <a16:creationId xmlns:a16="http://schemas.microsoft.com/office/drawing/2014/main" id="{D2D491E3-A58B-2BBE-4C22-6A54D9006C70}"/>
              </a:ext>
            </a:extLst>
          </p:cNvPr>
          <p:cNvSpPr>
            <a:spLocks noGrp="1"/>
          </p:cNvSpPr>
          <p:nvPr>
            <p:ph type="sldNum" sz="quarter" idx="13"/>
          </p:nvPr>
        </p:nvSpPr>
        <p:spPr/>
        <p:txBody>
          <a:bodyPr/>
          <a:lstStyle/>
          <a:p>
            <a:fld id="{44661A95-0089-4306-9485-D330C59FE3ED}" type="slidenum">
              <a:rPr lang="de-DE" smtClean="0"/>
              <a:pPr/>
              <a:t>‹#›</a:t>
            </a:fld>
            <a:endParaRPr lang="de-DE"/>
          </a:p>
        </p:txBody>
      </p:sp>
    </p:spTree>
    <p:extLst>
      <p:ext uri="{BB962C8B-B14F-4D97-AF65-F5344CB8AC3E}">
        <p14:creationId xmlns:p14="http://schemas.microsoft.com/office/powerpoint/2010/main" val="413079520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Empty">
    <p:spTree>
      <p:nvGrpSpPr>
        <p:cNvPr id="1" name=""/>
        <p:cNvGrpSpPr/>
        <p:nvPr/>
      </p:nvGrpSpPr>
      <p:grpSpPr>
        <a:xfrm>
          <a:off x="0" y="0"/>
          <a:ext cx="0" cy="0"/>
          <a:chOff x="0" y="0"/>
          <a:chExt cx="0" cy="0"/>
        </a:xfrm>
      </p:grpSpPr>
      <p:sp>
        <p:nvSpPr>
          <p:cNvPr id="2" name="Fußzeilenplatzhalter 1">
            <a:extLst>
              <a:ext uri="{FF2B5EF4-FFF2-40B4-BE49-F238E27FC236}">
                <a16:creationId xmlns:a16="http://schemas.microsoft.com/office/drawing/2014/main" id="{4E88D79A-9C7F-D07D-DF47-6368028F561B}"/>
              </a:ext>
            </a:extLst>
          </p:cNvPr>
          <p:cNvSpPr>
            <a:spLocks noGrp="1"/>
          </p:cNvSpPr>
          <p:nvPr>
            <p:ph type="ftr" sz="quarter" idx="10"/>
          </p:nvPr>
        </p:nvSpPr>
        <p:spPr bwMode="gray"/>
        <p:txBody>
          <a:bodyPr/>
          <a:lstStyle/>
          <a:p>
            <a:r>
              <a:rPr lang="de-DE"/>
              <a:t>Date dd.mm.yyyy  |  Security label</a:t>
            </a:r>
          </a:p>
        </p:txBody>
      </p:sp>
      <p:sp>
        <p:nvSpPr>
          <p:cNvPr id="4" name="Slide Number Placeholder 3">
            <a:extLst>
              <a:ext uri="{FF2B5EF4-FFF2-40B4-BE49-F238E27FC236}">
                <a16:creationId xmlns:a16="http://schemas.microsoft.com/office/drawing/2014/main" id="{EAAF5096-0FAB-B4B1-B7EF-A757EAC1E898}"/>
              </a:ext>
            </a:extLst>
          </p:cNvPr>
          <p:cNvSpPr>
            <a:spLocks noGrp="1"/>
          </p:cNvSpPr>
          <p:nvPr>
            <p:ph type="sldNum" sz="quarter" idx="11"/>
          </p:nvPr>
        </p:nvSpPr>
        <p:spPr/>
        <p:txBody>
          <a:bodyPr/>
          <a:lstStyle/>
          <a:p>
            <a:fld id="{44661A95-0089-4306-9485-D330C59FE3ED}" type="slidenum">
              <a:rPr lang="de-DE" smtClean="0"/>
              <a:pPr/>
              <a:t>‹#›</a:t>
            </a:fld>
            <a:endParaRPr lang="de-DE"/>
          </a:p>
        </p:txBody>
      </p:sp>
    </p:spTree>
    <p:extLst>
      <p:ext uri="{BB962C8B-B14F-4D97-AF65-F5344CB8AC3E}">
        <p14:creationId xmlns:p14="http://schemas.microsoft.com/office/powerpoint/2010/main" val="419975670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Picture and content">
    <p:spTree>
      <p:nvGrpSpPr>
        <p:cNvPr id="1" name=""/>
        <p:cNvGrpSpPr/>
        <p:nvPr/>
      </p:nvGrpSpPr>
      <p:grpSpPr>
        <a:xfrm>
          <a:off x="0" y="0"/>
          <a:ext cx="0" cy="0"/>
          <a:chOff x="0" y="0"/>
          <a:chExt cx="0" cy="0"/>
        </a:xfrm>
      </p:grpSpPr>
      <p:sp>
        <p:nvSpPr>
          <p:cNvPr id="3" name="Inhaltsplatzhalter 2"/>
          <p:cNvSpPr>
            <a:spLocks noGrp="1"/>
          </p:cNvSpPr>
          <p:nvPr>
            <p:ph idx="1" hasCustomPrompt="1"/>
          </p:nvPr>
        </p:nvSpPr>
        <p:spPr bwMode="gray">
          <a:xfrm>
            <a:off x="5411924" y="1628775"/>
            <a:ext cx="5687876" cy="4429126"/>
          </a:xfrm>
          <a:prstGeom prst="rect">
            <a:avLst/>
          </a:prstGeom>
        </p:spPr>
        <p:txBody>
          <a:bodyPr/>
          <a:lstStyle>
            <a:lvl1pPr>
              <a:defRPr/>
            </a:lvl1pPr>
            <a:lvl2pPr>
              <a:defRPr/>
            </a:lvl2pPr>
            <a:lvl3pPr>
              <a:defRPr/>
            </a:lvl3pPr>
            <a:lvl4pPr>
              <a:defRPr/>
            </a:lvl4pPr>
            <a:lvl5pPr>
              <a:defRPr/>
            </a:lvl5pPr>
            <a:lvl6pPr>
              <a:defRPr/>
            </a:lvl6pPr>
          </a:lstStyle>
          <a:p>
            <a:pPr lvl="0"/>
            <a:r>
              <a:rPr lang="de-DE" noProof="0"/>
              <a:t>You can use this field to enter text, a table, a diagram or SmartArts. Use the buttons “increase list level” for copytext or bullet levels. Use the icons below to create visual content.</a:t>
            </a:r>
          </a:p>
          <a:p>
            <a:pPr lvl="1"/>
            <a:r>
              <a:rPr lang="de-DE" noProof="0"/>
              <a:t>2. level</a:t>
            </a:r>
          </a:p>
          <a:p>
            <a:pPr lvl="2"/>
            <a:r>
              <a:rPr lang="de-DE" noProof="0"/>
              <a:t>3. level</a:t>
            </a:r>
          </a:p>
          <a:p>
            <a:pPr lvl="3"/>
            <a:r>
              <a:rPr lang="de-DE" noProof="0"/>
              <a:t>4. level</a:t>
            </a:r>
          </a:p>
          <a:p>
            <a:pPr lvl="4"/>
            <a:r>
              <a:rPr lang="de-DE" noProof="0"/>
              <a:t>5. level</a:t>
            </a:r>
          </a:p>
          <a:p>
            <a:pPr lvl="5"/>
            <a:r>
              <a:rPr lang="de-DE" noProof="0"/>
              <a:t>6. level</a:t>
            </a:r>
          </a:p>
        </p:txBody>
      </p:sp>
      <p:sp>
        <p:nvSpPr>
          <p:cNvPr id="9" name="Bildplatzhalter 5"/>
          <p:cNvSpPr>
            <a:spLocks noGrp="1"/>
          </p:cNvSpPr>
          <p:nvPr>
            <p:ph type="pic" sz="quarter" idx="13" hasCustomPrompt="1"/>
          </p:nvPr>
        </p:nvSpPr>
        <p:spPr bwMode="gray">
          <a:xfrm>
            <a:off x="1092200" y="1628775"/>
            <a:ext cx="3959684" cy="4429125"/>
          </a:xfrm>
          <a:prstGeom prst="roundRect">
            <a:avLst>
              <a:gd name="adj" fmla="val 3554"/>
            </a:avLst>
          </a:prstGeom>
          <a:solidFill>
            <a:schemeClr val="bg1">
              <a:lumMod val="95000"/>
            </a:schemeClr>
          </a:solidFill>
        </p:spPr>
        <p:txBody>
          <a:bodyPr tIns="864000" anchor="ctr"/>
          <a:lstStyle>
            <a:lvl1pPr marL="0" marR="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sz="1200"/>
            </a:lvl1pPr>
          </a:lstStyle>
          <a:p>
            <a:r>
              <a:rPr lang="de-DE" noProof="0"/>
              <a:t> </a:t>
            </a:r>
          </a:p>
        </p:txBody>
      </p:sp>
      <p:sp>
        <p:nvSpPr>
          <p:cNvPr id="4" name="Fußzeilenplatzhalter 3">
            <a:extLst>
              <a:ext uri="{FF2B5EF4-FFF2-40B4-BE49-F238E27FC236}">
                <a16:creationId xmlns:a16="http://schemas.microsoft.com/office/drawing/2014/main" id="{AFDD563A-8E8C-DA87-ADEA-D34CC7C7576D}"/>
              </a:ext>
            </a:extLst>
          </p:cNvPr>
          <p:cNvSpPr>
            <a:spLocks noGrp="1"/>
          </p:cNvSpPr>
          <p:nvPr>
            <p:ph type="ftr" sz="quarter" idx="14"/>
          </p:nvPr>
        </p:nvSpPr>
        <p:spPr bwMode="gray"/>
        <p:txBody>
          <a:bodyPr/>
          <a:lstStyle/>
          <a:p>
            <a:r>
              <a:rPr lang="de-DE"/>
              <a:t>Date dd.mm.yyyy  |  Security label</a:t>
            </a:r>
          </a:p>
        </p:txBody>
      </p:sp>
      <p:sp>
        <p:nvSpPr>
          <p:cNvPr id="6" name="Titel 5">
            <a:extLst>
              <a:ext uri="{FF2B5EF4-FFF2-40B4-BE49-F238E27FC236}">
                <a16:creationId xmlns:a16="http://schemas.microsoft.com/office/drawing/2014/main" id="{D7E6710B-1DF6-5645-16C1-6565BF44116E}"/>
              </a:ext>
            </a:extLst>
          </p:cNvPr>
          <p:cNvSpPr>
            <a:spLocks noGrp="1"/>
          </p:cNvSpPr>
          <p:nvPr>
            <p:ph type="title" hasCustomPrompt="1"/>
          </p:nvPr>
        </p:nvSpPr>
        <p:spPr bwMode="gray"/>
        <p:txBody>
          <a:bodyPr/>
          <a:lstStyle/>
          <a:p>
            <a:r>
              <a:rPr lang="de-DE" noProof="0"/>
              <a:t>Headline (max. 2 lines) </a:t>
            </a:r>
            <a:endParaRPr lang="de-DE"/>
          </a:p>
        </p:txBody>
      </p:sp>
      <p:sp>
        <p:nvSpPr>
          <p:cNvPr id="2" name="Slide Number Placeholder 1">
            <a:extLst>
              <a:ext uri="{FF2B5EF4-FFF2-40B4-BE49-F238E27FC236}">
                <a16:creationId xmlns:a16="http://schemas.microsoft.com/office/drawing/2014/main" id="{DBCB3381-8899-0A65-3C16-227D1E059494}"/>
              </a:ext>
            </a:extLst>
          </p:cNvPr>
          <p:cNvSpPr>
            <a:spLocks noGrp="1"/>
          </p:cNvSpPr>
          <p:nvPr>
            <p:ph type="sldNum" sz="quarter" idx="15"/>
          </p:nvPr>
        </p:nvSpPr>
        <p:spPr/>
        <p:txBody>
          <a:bodyPr/>
          <a:lstStyle/>
          <a:p>
            <a:fld id="{44661A95-0089-4306-9485-D330C59FE3ED}" type="slidenum">
              <a:rPr lang="de-DE" smtClean="0"/>
              <a:pPr/>
              <a:t>‹#›</a:t>
            </a:fld>
            <a:endParaRPr lang="de-DE"/>
          </a:p>
        </p:txBody>
      </p:sp>
    </p:spTree>
    <p:extLst>
      <p:ext uri="{BB962C8B-B14F-4D97-AF65-F5344CB8AC3E}">
        <p14:creationId xmlns:p14="http://schemas.microsoft.com/office/powerpoint/2010/main" val="240506937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Picture right">
    <p:spTree>
      <p:nvGrpSpPr>
        <p:cNvPr id="1" name=""/>
        <p:cNvGrpSpPr/>
        <p:nvPr/>
      </p:nvGrpSpPr>
      <p:grpSpPr>
        <a:xfrm>
          <a:off x="0" y="0"/>
          <a:ext cx="0" cy="0"/>
          <a:chOff x="0" y="0"/>
          <a:chExt cx="0" cy="0"/>
        </a:xfrm>
      </p:grpSpPr>
      <p:sp>
        <p:nvSpPr>
          <p:cNvPr id="3" name="Inhaltsplatzhalter 2"/>
          <p:cNvSpPr>
            <a:spLocks noGrp="1"/>
          </p:cNvSpPr>
          <p:nvPr>
            <p:ph idx="1" hasCustomPrompt="1"/>
          </p:nvPr>
        </p:nvSpPr>
        <p:spPr bwMode="gray">
          <a:xfrm>
            <a:off x="1092200" y="2312988"/>
            <a:ext cx="4823780" cy="3744912"/>
          </a:xfrm>
          <a:prstGeom prst="rect">
            <a:avLst/>
          </a:prstGeom>
        </p:spPr>
        <p:txBody>
          <a:bodyPr/>
          <a:lstStyle>
            <a:lvl1pPr>
              <a:defRPr/>
            </a:lvl1pPr>
            <a:lvl2pPr>
              <a:defRPr/>
            </a:lvl2pPr>
            <a:lvl3pPr>
              <a:defRPr/>
            </a:lvl3pPr>
            <a:lvl4pPr>
              <a:defRPr/>
            </a:lvl4pPr>
            <a:lvl5pPr>
              <a:defRPr/>
            </a:lvl5pPr>
            <a:lvl6pPr>
              <a:defRPr/>
            </a:lvl6pPr>
          </a:lstStyle>
          <a:p>
            <a:pPr lvl="0"/>
            <a:r>
              <a:rPr lang="de-DE" noProof="0"/>
              <a:t>You can use this field to enter text, a table, a diagram or SmartArts. Use the buttons “increase list level” for copytext or bullet levels. Use the icons below to create visual content.</a:t>
            </a:r>
          </a:p>
          <a:p>
            <a:pPr lvl="1"/>
            <a:r>
              <a:rPr lang="de-DE" noProof="0"/>
              <a:t>2. level</a:t>
            </a:r>
          </a:p>
          <a:p>
            <a:pPr lvl="2"/>
            <a:r>
              <a:rPr lang="de-DE" noProof="0"/>
              <a:t>3. level</a:t>
            </a:r>
          </a:p>
          <a:p>
            <a:pPr lvl="3"/>
            <a:r>
              <a:rPr lang="de-DE" noProof="0"/>
              <a:t>4. level</a:t>
            </a:r>
          </a:p>
          <a:p>
            <a:pPr lvl="4"/>
            <a:r>
              <a:rPr lang="de-DE" noProof="0"/>
              <a:t>5. level</a:t>
            </a:r>
          </a:p>
          <a:p>
            <a:pPr lvl="5"/>
            <a:r>
              <a:rPr lang="de-DE" noProof="0"/>
              <a:t>6. level</a:t>
            </a:r>
          </a:p>
        </p:txBody>
      </p:sp>
      <p:sp>
        <p:nvSpPr>
          <p:cNvPr id="9" name="Bildplatzhalter 5"/>
          <p:cNvSpPr>
            <a:spLocks noGrp="1"/>
          </p:cNvSpPr>
          <p:nvPr>
            <p:ph type="pic" sz="quarter" idx="13" hasCustomPrompt="1"/>
          </p:nvPr>
        </p:nvSpPr>
        <p:spPr bwMode="gray">
          <a:xfrm>
            <a:off x="6276020" y="908050"/>
            <a:ext cx="4823780" cy="5149851"/>
          </a:xfrm>
          <a:prstGeom prst="roundRect">
            <a:avLst>
              <a:gd name="adj" fmla="val 2905"/>
            </a:avLst>
          </a:prstGeom>
          <a:solidFill>
            <a:schemeClr val="bg1">
              <a:lumMod val="95000"/>
            </a:schemeClr>
          </a:solidFill>
        </p:spPr>
        <p:txBody>
          <a:bodyPr tIns="864000" anchor="ctr"/>
          <a:lstStyle>
            <a:lvl1pPr marL="0" marR="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sz="1200"/>
            </a:lvl1pPr>
          </a:lstStyle>
          <a:p>
            <a:r>
              <a:rPr lang="de-DE" noProof="0"/>
              <a:t> </a:t>
            </a:r>
          </a:p>
        </p:txBody>
      </p:sp>
      <p:sp>
        <p:nvSpPr>
          <p:cNvPr id="4" name="Fußzeilenplatzhalter 3">
            <a:extLst>
              <a:ext uri="{FF2B5EF4-FFF2-40B4-BE49-F238E27FC236}">
                <a16:creationId xmlns:a16="http://schemas.microsoft.com/office/drawing/2014/main" id="{AFDD563A-8E8C-DA87-ADEA-D34CC7C7576D}"/>
              </a:ext>
            </a:extLst>
          </p:cNvPr>
          <p:cNvSpPr>
            <a:spLocks noGrp="1"/>
          </p:cNvSpPr>
          <p:nvPr>
            <p:ph type="ftr" sz="quarter" idx="14"/>
          </p:nvPr>
        </p:nvSpPr>
        <p:spPr bwMode="gray"/>
        <p:txBody>
          <a:bodyPr/>
          <a:lstStyle/>
          <a:p>
            <a:r>
              <a:rPr lang="de-DE"/>
              <a:t>Date dd.mm.yyyy  |  Security label</a:t>
            </a:r>
          </a:p>
        </p:txBody>
      </p:sp>
      <p:sp>
        <p:nvSpPr>
          <p:cNvPr id="6" name="Titel 5">
            <a:extLst>
              <a:ext uri="{FF2B5EF4-FFF2-40B4-BE49-F238E27FC236}">
                <a16:creationId xmlns:a16="http://schemas.microsoft.com/office/drawing/2014/main" id="{D7E6710B-1DF6-5645-16C1-6565BF44116E}"/>
              </a:ext>
            </a:extLst>
          </p:cNvPr>
          <p:cNvSpPr>
            <a:spLocks noGrp="1"/>
          </p:cNvSpPr>
          <p:nvPr>
            <p:ph type="title" hasCustomPrompt="1"/>
          </p:nvPr>
        </p:nvSpPr>
        <p:spPr bwMode="gray">
          <a:xfrm>
            <a:off x="1092200" y="789687"/>
            <a:ext cx="4823780" cy="1127145"/>
          </a:xfrm>
        </p:spPr>
        <p:txBody>
          <a:bodyPr/>
          <a:lstStyle/>
          <a:p>
            <a:r>
              <a:rPr lang="de-DE" noProof="0"/>
              <a:t>Headline (max. 2 lines) </a:t>
            </a:r>
            <a:endParaRPr lang="de-DE"/>
          </a:p>
        </p:txBody>
      </p:sp>
      <p:sp>
        <p:nvSpPr>
          <p:cNvPr id="2" name="Slide Number Placeholder 1">
            <a:extLst>
              <a:ext uri="{FF2B5EF4-FFF2-40B4-BE49-F238E27FC236}">
                <a16:creationId xmlns:a16="http://schemas.microsoft.com/office/drawing/2014/main" id="{E2C54E44-332C-8676-B6F4-9490DBA83BCF}"/>
              </a:ext>
            </a:extLst>
          </p:cNvPr>
          <p:cNvSpPr>
            <a:spLocks noGrp="1"/>
          </p:cNvSpPr>
          <p:nvPr>
            <p:ph type="sldNum" sz="quarter" idx="15"/>
          </p:nvPr>
        </p:nvSpPr>
        <p:spPr/>
        <p:txBody>
          <a:bodyPr/>
          <a:lstStyle/>
          <a:p>
            <a:fld id="{44661A95-0089-4306-9485-D330C59FE3ED}" type="slidenum">
              <a:rPr lang="de-DE" smtClean="0"/>
              <a:pPr/>
              <a:t>‹#›</a:t>
            </a:fld>
            <a:endParaRPr lang="de-DE"/>
          </a:p>
        </p:txBody>
      </p:sp>
    </p:spTree>
    <p:extLst>
      <p:ext uri="{BB962C8B-B14F-4D97-AF65-F5344CB8AC3E}">
        <p14:creationId xmlns:p14="http://schemas.microsoft.com/office/powerpoint/2010/main" val="75527339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 3 lines">
    <p:spTree>
      <p:nvGrpSpPr>
        <p:cNvPr id="1" name=""/>
        <p:cNvGrpSpPr/>
        <p:nvPr/>
      </p:nvGrpSpPr>
      <p:grpSpPr>
        <a:xfrm>
          <a:off x="0" y="0"/>
          <a:ext cx="0" cy="0"/>
          <a:chOff x="0" y="0"/>
          <a:chExt cx="0" cy="0"/>
        </a:xfrm>
      </p:grpSpPr>
      <p:sp>
        <p:nvSpPr>
          <p:cNvPr id="11" name="Bildplatzhalter 10">
            <a:extLst>
              <a:ext uri="{FF2B5EF4-FFF2-40B4-BE49-F238E27FC236}">
                <a16:creationId xmlns:a16="http://schemas.microsoft.com/office/drawing/2014/main" id="{8E5167FF-D8C6-6FCD-3CF2-EC8397ECCD23}"/>
              </a:ext>
            </a:extLst>
          </p:cNvPr>
          <p:cNvSpPr>
            <a:spLocks noGrp="1"/>
          </p:cNvSpPr>
          <p:nvPr>
            <p:ph type="pic" sz="quarter" idx="12" hasCustomPrompt="1"/>
          </p:nvPr>
        </p:nvSpPr>
        <p:spPr bwMode="gray">
          <a:xfrm>
            <a:off x="0" y="0"/>
            <a:ext cx="12192000" cy="6857999"/>
          </a:xfrm>
          <a:custGeom>
            <a:avLst/>
            <a:gdLst>
              <a:gd name="connsiteX0" fmla="*/ 0 w 12192000"/>
              <a:gd name="connsiteY0" fmla="*/ 0 h 6857999"/>
              <a:gd name="connsiteX1" fmla="*/ 12192000 w 12192000"/>
              <a:gd name="connsiteY1" fmla="*/ 0 h 6857999"/>
              <a:gd name="connsiteX2" fmla="*/ 12192000 w 12192000"/>
              <a:gd name="connsiteY2" fmla="*/ 6857999 h 6857999"/>
              <a:gd name="connsiteX3" fmla="*/ 6444101 w 12192000"/>
              <a:gd name="connsiteY3" fmla="*/ 6857999 h 6857999"/>
              <a:gd name="connsiteX4" fmla="*/ 6507215 w 12192000"/>
              <a:gd name="connsiteY4" fmla="*/ 6604487 h 6857999"/>
              <a:gd name="connsiteX5" fmla="*/ 7230389 w 12192000"/>
              <a:gd name="connsiteY5" fmla="*/ 3699934 h 6857999"/>
              <a:gd name="connsiteX6" fmla="*/ 6710398 w 12192000"/>
              <a:gd name="connsiteY6" fmla="*/ 2833138 h 6857999"/>
              <a:gd name="connsiteX7" fmla="*/ 6710271 w 12192000"/>
              <a:gd name="connsiteY7" fmla="*/ 2833138 h 6857999"/>
              <a:gd name="connsiteX8" fmla="*/ 2066260 w 12192000"/>
              <a:gd name="connsiteY8" fmla="*/ 1673557 h 6857999"/>
              <a:gd name="connsiteX9" fmla="*/ 1161542 w 12192000"/>
              <a:gd name="connsiteY9" fmla="*/ 1988963 h 6857999"/>
              <a:gd name="connsiteX10" fmla="*/ 0 w 12192000"/>
              <a:gd name="connsiteY10" fmla="*/ 2731858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192000" h="6857999">
                <a:moveTo>
                  <a:pt x="0" y="0"/>
                </a:moveTo>
                <a:lnTo>
                  <a:pt x="12192000" y="0"/>
                </a:lnTo>
                <a:lnTo>
                  <a:pt x="12192000" y="6857999"/>
                </a:lnTo>
                <a:lnTo>
                  <a:pt x="6444101" y="6857999"/>
                </a:lnTo>
                <a:lnTo>
                  <a:pt x="6507215" y="6604487"/>
                </a:lnTo>
                <a:cubicBezTo>
                  <a:pt x="6835707" y="5285027"/>
                  <a:pt x="7230389" y="3699934"/>
                  <a:pt x="7230389" y="3699934"/>
                </a:cubicBezTo>
                <a:cubicBezTo>
                  <a:pt x="7325809" y="3316795"/>
                  <a:pt x="7092968" y="2928701"/>
                  <a:pt x="6710398" y="2833138"/>
                </a:cubicBezTo>
                <a:lnTo>
                  <a:pt x="6710271" y="2833138"/>
                </a:lnTo>
                <a:lnTo>
                  <a:pt x="2066260" y="1673557"/>
                </a:lnTo>
                <a:cubicBezTo>
                  <a:pt x="1708053" y="1574055"/>
                  <a:pt x="1437906" y="1814231"/>
                  <a:pt x="1161542" y="1988963"/>
                </a:cubicBezTo>
                <a:cubicBezTo>
                  <a:pt x="774403" y="2236510"/>
                  <a:pt x="387138" y="2484184"/>
                  <a:pt x="0" y="2731858"/>
                </a:cubicBezTo>
                <a:close/>
              </a:path>
            </a:pathLst>
          </a:custGeom>
          <a:solidFill>
            <a:schemeClr val="bg1">
              <a:lumMod val="95000"/>
            </a:schemeClr>
          </a:solidFill>
        </p:spPr>
        <p:txBody>
          <a:bodyPr wrap="square" bIns="792000" anchor="ctr">
            <a:noAutofit/>
          </a:bodyPr>
          <a:lstStyle>
            <a:lvl1pPr algn="ctr">
              <a:spcBef>
                <a:spcPts val="0"/>
              </a:spcBef>
              <a:spcAft>
                <a:spcPts val="0"/>
              </a:spcAft>
              <a:defRPr sz="1200" baseline="0"/>
            </a:lvl1pPr>
          </a:lstStyle>
          <a:p>
            <a:r>
              <a:rPr lang="de-DE" noProof="0"/>
              <a:t> </a:t>
            </a:r>
          </a:p>
        </p:txBody>
      </p:sp>
      <p:sp>
        <p:nvSpPr>
          <p:cNvPr id="2" name="Titel 1"/>
          <p:cNvSpPr>
            <a:spLocks noGrp="1"/>
          </p:cNvSpPr>
          <p:nvPr>
            <p:ph type="ctrTitle" hasCustomPrompt="1"/>
          </p:nvPr>
        </p:nvSpPr>
        <p:spPr bwMode="gray">
          <a:xfrm>
            <a:off x="1092200" y="2836993"/>
            <a:ext cx="4895850" cy="1708160"/>
          </a:xfrm>
          <a:prstGeom prst="rect">
            <a:avLst/>
          </a:prstGeom>
          <a:noFill/>
        </p:spPr>
        <p:txBody>
          <a:bodyPr wrap="square" lIns="0" tIns="0" rIns="0" bIns="0" anchor="b">
            <a:normAutofit/>
          </a:bodyPr>
          <a:lstStyle>
            <a:lvl1pPr marL="0" indent="0" algn="l">
              <a:buFont typeface="Yanone Kaffeesatz" panose="00000500000000000000" pitchFamily="50" charset="0"/>
              <a:buNone/>
              <a:defRPr sz="3700" b="1" i="0" cap="none" baseline="0">
                <a:solidFill>
                  <a:schemeClr val="tx1"/>
                </a:solidFill>
                <a:latin typeface="Barlow Black" pitchFamily="2" charset="77"/>
              </a:defRPr>
            </a:lvl1pPr>
          </a:lstStyle>
          <a:p>
            <a:r>
              <a:rPr lang="de-DE" noProof="0"/>
              <a:t>TITLE OF THE PRESENTATION IN MAXIMAL THREE LINES</a:t>
            </a:r>
          </a:p>
        </p:txBody>
      </p:sp>
      <p:sp>
        <p:nvSpPr>
          <p:cNvPr id="3" name="Untertitel 2"/>
          <p:cNvSpPr>
            <a:spLocks noGrp="1"/>
          </p:cNvSpPr>
          <p:nvPr>
            <p:ph type="subTitle" idx="1" hasCustomPrompt="1"/>
          </p:nvPr>
        </p:nvSpPr>
        <p:spPr bwMode="gray">
          <a:xfrm>
            <a:off x="1092200" y="4761146"/>
            <a:ext cx="4895850" cy="1296753"/>
          </a:xfrm>
          <a:prstGeom prst="rect">
            <a:avLst/>
          </a:prstGeom>
          <a:noFill/>
        </p:spPr>
        <p:txBody>
          <a:bodyPr wrap="square" lIns="0" tIns="0" rIns="0" bIns="0">
            <a:normAutofit/>
          </a:bodyPr>
          <a:lstStyle>
            <a:lvl1pPr marL="0" indent="0" algn="l">
              <a:lnSpc>
                <a:spcPct val="110000"/>
              </a:lnSpc>
              <a:spcBef>
                <a:spcPts val="0"/>
              </a:spcBef>
              <a:spcAft>
                <a:spcPts val="0"/>
              </a:spcAft>
              <a:buNone/>
              <a:defRPr sz="2500" b="0" i="0">
                <a:solidFill>
                  <a:schemeClr val="tx1"/>
                </a:solidFill>
                <a:latin typeface="+mj-lt"/>
              </a:defRPr>
            </a:lvl1pPr>
            <a:lvl2pPr marL="0" indent="0" algn="l">
              <a:lnSpc>
                <a:spcPct val="110000"/>
              </a:lnSpc>
              <a:spcBef>
                <a:spcPts val="1200"/>
              </a:spcBef>
              <a:spcAft>
                <a:spcPts val="0"/>
              </a:spcAft>
              <a:buNone/>
              <a:defRPr sz="2000" b="0">
                <a:solidFill>
                  <a:schemeClr val="tx1"/>
                </a:solidFill>
                <a:latin typeface="+mj-lt"/>
              </a:defRPr>
            </a:lvl2pPr>
            <a:lvl3pPr marL="0" indent="0" algn="l">
              <a:lnSpc>
                <a:spcPct val="110000"/>
              </a:lnSpc>
              <a:spcBef>
                <a:spcPts val="0"/>
              </a:spcBef>
              <a:spcAft>
                <a:spcPts val="0"/>
              </a:spcAft>
              <a:buNone/>
              <a:defRPr sz="2000" b="0">
                <a:solidFill>
                  <a:schemeClr val="tx1"/>
                </a:solidFill>
                <a:latin typeface="+mj-lt"/>
              </a:defRPr>
            </a:lvl3pPr>
            <a:lvl4pPr marL="0" indent="0" algn="l">
              <a:lnSpc>
                <a:spcPct val="110000"/>
              </a:lnSpc>
              <a:spcBef>
                <a:spcPts val="0"/>
              </a:spcBef>
              <a:spcAft>
                <a:spcPts val="0"/>
              </a:spcAft>
              <a:buNone/>
              <a:defRPr sz="2000" b="0">
                <a:solidFill>
                  <a:schemeClr val="tx1"/>
                </a:solidFill>
                <a:latin typeface="+mj-lt"/>
              </a:defRPr>
            </a:lvl4pPr>
            <a:lvl5pPr marL="0" indent="0" algn="l">
              <a:lnSpc>
                <a:spcPct val="110000"/>
              </a:lnSpc>
              <a:spcBef>
                <a:spcPts val="0"/>
              </a:spcBef>
              <a:spcAft>
                <a:spcPts val="0"/>
              </a:spcAft>
              <a:buNone/>
              <a:defRPr sz="2000" b="0">
                <a:solidFill>
                  <a:schemeClr val="tx1"/>
                </a:solidFill>
                <a:latin typeface="+mj-lt"/>
              </a:defRPr>
            </a:lvl5pPr>
            <a:lvl6pPr marL="0" indent="0" algn="l">
              <a:lnSpc>
                <a:spcPct val="110000"/>
              </a:lnSpc>
              <a:spcBef>
                <a:spcPts val="0"/>
              </a:spcBef>
              <a:spcAft>
                <a:spcPts val="0"/>
              </a:spcAft>
              <a:buNone/>
              <a:defRPr sz="2000" b="0">
                <a:solidFill>
                  <a:schemeClr val="tx1"/>
                </a:solidFill>
                <a:latin typeface="+mj-lt"/>
              </a:defRPr>
            </a:lvl6pPr>
            <a:lvl7pPr marL="0" indent="0" algn="l">
              <a:lnSpc>
                <a:spcPct val="110000"/>
              </a:lnSpc>
              <a:spcBef>
                <a:spcPts val="0"/>
              </a:spcBef>
              <a:spcAft>
                <a:spcPts val="0"/>
              </a:spcAft>
              <a:buNone/>
              <a:defRPr sz="2000" b="0">
                <a:solidFill>
                  <a:schemeClr val="tx1"/>
                </a:solidFill>
                <a:latin typeface="+mj-lt"/>
              </a:defRPr>
            </a:lvl7pPr>
            <a:lvl8pPr marL="0" indent="0" algn="l">
              <a:lnSpc>
                <a:spcPct val="110000"/>
              </a:lnSpc>
              <a:spcBef>
                <a:spcPts val="0"/>
              </a:spcBef>
              <a:spcAft>
                <a:spcPts val="0"/>
              </a:spcAft>
              <a:buNone/>
              <a:defRPr sz="2000" b="0">
                <a:solidFill>
                  <a:schemeClr val="tx1"/>
                </a:solidFill>
                <a:latin typeface="+mj-lt"/>
              </a:defRPr>
            </a:lvl8pPr>
            <a:lvl9pPr marL="0" indent="0" algn="l">
              <a:lnSpc>
                <a:spcPct val="110000"/>
              </a:lnSpc>
              <a:spcBef>
                <a:spcPts val="0"/>
              </a:spcBef>
              <a:spcAft>
                <a:spcPts val="0"/>
              </a:spcAft>
              <a:buNone/>
              <a:defRPr sz="2000" b="0">
                <a:solidFill>
                  <a:schemeClr val="tx1"/>
                </a:solidFill>
                <a:latin typeface="+mj-lt"/>
              </a:defRPr>
            </a:lvl9pPr>
          </a:lstStyle>
          <a:p>
            <a:pPr lvl="0"/>
            <a:r>
              <a:rPr lang="de-DE" noProof="0" err="1"/>
              <a:t>Subtitle</a:t>
            </a:r>
            <a:r>
              <a:rPr lang="de-DE" noProof="0"/>
              <a:t> and </a:t>
            </a:r>
            <a:r>
              <a:rPr lang="de-DE" noProof="0" err="1"/>
              <a:t>other</a:t>
            </a:r>
            <a:r>
              <a:rPr lang="de-DE" noProof="0"/>
              <a:t> </a:t>
            </a:r>
            <a:r>
              <a:rPr lang="de-DE" noProof="0" err="1"/>
              <a:t>information</a:t>
            </a:r>
            <a:r>
              <a:rPr lang="de-DE" noProof="0"/>
              <a:t> </a:t>
            </a:r>
            <a:br>
              <a:rPr lang="de-DE" noProof="0"/>
            </a:br>
            <a:r>
              <a:rPr lang="de-DE" noProof="0"/>
              <a:t>Place &amp; Date in </a:t>
            </a:r>
            <a:r>
              <a:rPr lang="de-DE" noProof="0" err="1"/>
              <a:t>second</a:t>
            </a:r>
            <a:r>
              <a:rPr lang="de-DE" noProof="0"/>
              <a:t> </a:t>
            </a:r>
            <a:r>
              <a:rPr lang="de-DE" noProof="0" err="1"/>
              <a:t>text</a:t>
            </a:r>
            <a:r>
              <a:rPr lang="de-DE" noProof="0"/>
              <a:t> </a:t>
            </a:r>
            <a:r>
              <a:rPr lang="de-DE" noProof="0" err="1"/>
              <a:t>level</a:t>
            </a:r>
            <a:endParaRPr lang="de-DE" noProof="0"/>
          </a:p>
        </p:txBody>
      </p:sp>
      <p:sp>
        <p:nvSpPr>
          <p:cNvPr id="12" name="Freeform 5">
            <a:extLst>
              <a:ext uri="{FF2B5EF4-FFF2-40B4-BE49-F238E27FC236}">
                <a16:creationId xmlns:a16="http://schemas.microsoft.com/office/drawing/2014/main" id="{04FAF496-2E25-1A40-A075-80578E6ECB75}"/>
              </a:ext>
            </a:extLst>
          </p:cNvPr>
          <p:cNvSpPr>
            <a:spLocks noChangeAspect="1" noEditPoints="1"/>
          </p:cNvSpPr>
          <p:nvPr userDrawn="1"/>
        </p:nvSpPr>
        <p:spPr bwMode="gray">
          <a:xfrm>
            <a:off x="1091444" y="2312876"/>
            <a:ext cx="797172" cy="432000"/>
          </a:xfrm>
          <a:custGeom>
            <a:avLst/>
            <a:gdLst>
              <a:gd name="T0" fmla="*/ 951 w 1114"/>
              <a:gd name="T1" fmla="*/ 127 h 603"/>
              <a:gd name="T2" fmla="*/ 939 w 1114"/>
              <a:gd name="T3" fmla="*/ 161 h 603"/>
              <a:gd name="T4" fmla="*/ 1050 w 1114"/>
              <a:gd name="T5" fmla="*/ 249 h 603"/>
              <a:gd name="T6" fmla="*/ 1114 w 1114"/>
              <a:gd name="T7" fmla="*/ 381 h 603"/>
              <a:gd name="T8" fmla="*/ 1077 w 1114"/>
              <a:gd name="T9" fmla="*/ 471 h 603"/>
              <a:gd name="T10" fmla="*/ 987 w 1114"/>
              <a:gd name="T11" fmla="*/ 508 h 603"/>
              <a:gd name="T12" fmla="*/ 800 w 1114"/>
              <a:gd name="T13" fmla="*/ 508 h 603"/>
              <a:gd name="T14" fmla="*/ 794 w 1114"/>
              <a:gd name="T15" fmla="*/ 501 h 603"/>
              <a:gd name="T16" fmla="*/ 794 w 1114"/>
              <a:gd name="T17" fmla="*/ 387 h 603"/>
              <a:gd name="T18" fmla="*/ 800 w 1114"/>
              <a:gd name="T19" fmla="*/ 381 h 603"/>
              <a:gd name="T20" fmla="*/ 957 w 1114"/>
              <a:gd name="T21" fmla="*/ 381 h 603"/>
              <a:gd name="T22" fmla="*/ 969 w 1114"/>
              <a:gd name="T23" fmla="*/ 347 h 603"/>
              <a:gd name="T24" fmla="*/ 857 w 1114"/>
              <a:gd name="T25" fmla="*/ 258 h 603"/>
              <a:gd name="T26" fmla="*/ 794 w 1114"/>
              <a:gd name="T27" fmla="*/ 127 h 603"/>
              <a:gd name="T28" fmla="*/ 921 w 1114"/>
              <a:gd name="T29" fmla="*/ 0 h 603"/>
              <a:gd name="T30" fmla="*/ 1082 w 1114"/>
              <a:gd name="T31" fmla="*/ 0 h 603"/>
              <a:gd name="T32" fmla="*/ 1095 w 1114"/>
              <a:gd name="T33" fmla="*/ 12 h 603"/>
              <a:gd name="T34" fmla="*/ 1095 w 1114"/>
              <a:gd name="T35" fmla="*/ 114 h 603"/>
              <a:gd name="T36" fmla="*/ 1082 w 1114"/>
              <a:gd name="T37" fmla="*/ 127 h 603"/>
              <a:gd name="T38" fmla="*/ 951 w 1114"/>
              <a:gd name="T39" fmla="*/ 127 h 603"/>
              <a:gd name="T40" fmla="*/ 635 w 1114"/>
              <a:gd name="T41" fmla="*/ 0 h 603"/>
              <a:gd name="T42" fmla="*/ 476 w 1114"/>
              <a:gd name="T43" fmla="*/ 0 h 603"/>
              <a:gd name="T44" fmla="*/ 349 w 1114"/>
              <a:gd name="T45" fmla="*/ 127 h 603"/>
              <a:gd name="T46" fmla="*/ 349 w 1114"/>
              <a:gd name="T47" fmla="*/ 380 h 603"/>
              <a:gd name="T48" fmla="*/ 349 w 1114"/>
              <a:gd name="T49" fmla="*/ 381 h 603"/>
              <a:gd name="T50" fmla="*/ 178 w 1114"/>
              <a:gd name="T51" fmla="*/ 381 h 603"/>
              <a:gd name="T52" fmla="*/ 127 w 1114"/>
              <a:gd name="T53" fmla="*/ 330 h 603"/>
              <a:gd name="T54" fmla="*/ 127 w 1114"/>
              <a:gd name="T55" fmla="*/ 310 h 603"/>
              <a:gd name="T56" fmla="*/ 133 w 1114"/>
              <a:gd name="T57" fmla="*/ 303 h 603"/>
              <a:gd name="T58" fmla="*/ 216 w 1114"/>
              <a:gd name="T59" fmla="*/ 303 h 603"/>
              <a:gd name="T60" fmla="*/ 228 w 1114"/>
              <a:gd name="T61" fmla="*/ 291 h 603"/>
              <a:gd name="T62" fmla="*/ 228 w 1114"/>
              <a:gd name="T63" fmla="*/ 215 h 603"/>
              <a:gd name="T64" fmla="*/ 216 w 1114"/>
              <a:gd name="T65" fmla="*/ 202 h 603"/>
              <a:gd name="T66" fmla="*/ 133 w 1114"/>
              <a:gd name="T67" fmla="*/ 202 h 603"/>
              <a:gd name="T68" fmla="*/ 127 w 1114"/>
              <a:gd name="T69" fmla="*/ 196 h 603"/>
              <a:gd name="T70" fmla="*/ 127 w 1114"/>
              <a:gd name="T71" fmla="*/ 178 h 603"/>
              <a:gd name="T72" fmla="*/ 178 w 1114"/>
              <a:gd name="T73" fmla="*/ 127 h 603"/>
              <a:gd name="T74" fmla="*/ 305 w 1114"/>
              <a:gd name="T75" fmla="*/ 127 h 603"/>
              <a:gd name="T76" fmla="*/ 318 w 1114"/>
              <a:gd name="T77" fmla="*/ 114 h 603"/>
              <a:gd name="T78" fmla="*/ 318 w 1114"/>
              <a:gd name="T79" fmla="*/ 13 h 603"/>
              <a:gd name="T80" fmla="*/ 305 w 1114"/>
              <a:gd name="T81" fmla="*/ 0 h 603"/>
              <a:gd name="T82" fmla="*/ 127 w 1114"/>
              <a:gd name="T83" fmla="*/ 0 h 603"/>
              <a:gd name="T84" fmla="*/ 0 w 1114"/>
              <a:gd name="T85" fmla="*/ 127 h 603"/>
              <a:gd name="T86" fmla="*/ 0 w 1114"/>
              <a:gd name="T87" fmla="*/ 381 h 603"/>
              <a:gd name="T88" fmla="*/ 127 w 1114"/>
              <a:gd name="T89" fmla="*/ 508 h 603"/>
              <a:gd name="T90" fmla="*/ 597 w 1114"/>
              <a:gd name="T91" fmla="*/ 508 h 603"/>
              <a:gd name="T92" fmla="*/ 604 w 1114"/>
              <a:gd name="T93" fmla="*/ 501 h 603"/>
              <a:gd name="T94" fmla="*/ 604 w 1114"/>
              <a:gd name="T95" fmla="*/ 387 h 603"/>
              <a:gd name="T96" fmla="*/ 597 w 1114"/>
              <a:gd name="T97" fmla="*/ 381 h 603"/>
              <a:gd name="T98" fmla="*/ 527 w 1114"/>
              <a:gd name="T99" fmla="*/ 381 h 603"/>
              <a:gd name="T100" fmla="*/ 476 w 1114"/>
              <a:gd name="T101" fmla="*/ 330 h 603"/>
              <a:gd name="T102" fmla="*/ 476 w 1114"/>
              <a:gd name="T103" fmla="*/ 178 h 603"/>
              <a:gd name="T104" fmla="*/ 527 w 1114"/>
              <a:gd name="T105" fmla="*/ 127 h 603"/>
              <a:gd name="T106" fmla="*/ 585 w 1114"/>
              <a:gd name="T107" fmla="*/ 127 h 603"/>
              <a:gd name="T108" fmla="*/ 635 w 1114"/>
              <a:gd name="T109" fmla="*/ 178 h 603"/>
              <a:gd name="T110" fmla="*/ 635 w 1114"/>
              <a:gd name="T111" fmla="*/ 507 h 603"/>
              <a:gd name="T112" fmla="*/ 635 w 1114"/>
              <a:gd name="T113" fmla="*/ 590 h 603"/>
              <a:gd name="T114" fmla="*/ 648 w 1114"/>
              <a:gd name="T115" fmla="*/ 603 h 603"/>
              <a:gd name="T116" fmla="*/ 749 w 1114"/>
              <a:gd name="T117" fmla="*/ 603 h 603"/>
              <a:gd name="T118" fmla="*/ 762 w 1114"/>
              <a:gd name="T119" fmla="*/ 590 h 603"/>
              <a:gd name="T120" fmla="*/ 762 w 1114"/>
              <a:gd name="T121" fmla="*/ 380 h 603"/>
              <a:gd name="T122" fmla="*/ 762 w 1114"/>
              <a:gd name="T123" fmla="*/ 127 h 603"/>
              <a:gd name="T124" fmla="*/ 635 w 1114"/>
              <a:gd name="T125" fmla="*/ 0 h 6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114" h="603">
                <a:moveTo>
                  <a:pt x="951" y="127"/>
                </a:moveTo>
                <a:cubicBezTo>
                  <a:pt x="933" y="127"/>
                  <a:pt x="925" y="150"/>
                  <a:pt x="939" y="161"/>
                </a:cubicBezTo>
                <a:cubicBezTo>
                  <a:pt x="1050" y="249"/>
                  <a:pt x="1050" y="249"/>
                  <a:pt x="1050" y="249"/>
                </a:cubicBezTo>
                <a:cubicBezTo>
                  <a:pt x="1090" y="281"/>
                  <a:pt x="1114" y="329"/>
                  <a:pt x="1114" y="381"/>
                </a:cubicBezTo>
                <a:cubicBezTo>
                  <a:pt x="1114" y="416"/>
                  <a:pt x="1100" y="447"/>
                  <a:pt x="1077" y="471"/>
                </a:cubicBezTo>
                <a:cubicBezTo>
                  <a:pt x="1054" y="494"/>
                  <a:pt x="1022" y="508"/>
                  <a:pt x="987" y="508"/>
                </a:cubicBezTo>
                <a:cubicBezTo>
                  <a:pt x="800" y="508"/>
                  <a:pt x="800" y="508"/>
                  <a:pt x="800" y="508"/>
                </a:cubicBezTo>
                <a:cubicBezTo>
                  <a:pt x="797" y="508"/>
                  <a:pt x="794" y="505"/>
                  <a:pt x="794" y="501"/>
                </a:cubicBezTo>
                <a:cubicBezTo>
                  <a:pt x="794" y="387"/>
                  <a:pt x="794" y="387"/>
                  <a:pt x="794" y="387"/>
                </a:cubicBezTo>
                <a:cubicBezTo>
                  <a:pt x="794" y="383"/>
                  <a:pt x="797" y="381"/>
                  <a:pt x="800" y="381"/>
                </a:cubicBezTo>
                <a:cubicBezTo>
                  <a:pt x="957" y="381"/>
                  <a:pt x="957" y="381"/>
                  <a:pt x="957" y="381"/>
                </a:cubicBezTo>
                <a:cubicBezTo>
                  <a:pt x="975" y="381"/>
                  <a:pt x="983" y="358"/>
                  <a:pt x="969" y="347"/>
                </a:cubicBezTo>
                <a:cubicBezTo>
                  <a:pt x="857" y="258"/>
                  <a:pt x="857" y="258"/>
                  <a:pt x="857" y="258"/>
                </a:cubicBezTo>
                <a:cubicBezTo>
                  <a:pt x="817" y="226"/>
                  <a:pt x="794" y="178"/>
                  <a:pt x="794" y="127"/>
                </a:cubicBezTo>
                <a:cubicBezTo>
                  <a:pt x="794" y="57"/>
                  <a:pt x="851" y="0"/>
                  <a:pt x="921" y="0"/>
                </a:cubicBezTo>
                <a:cubicBezTo>
                  <a:pt x="1082" y="0"/>
                  <a:pt x="1082" y="0"/>
                  <a:pt x="1082" y="0"/>
                </a:cubicBezTo>
                <a:cubicBezTo>
                  <a:pt x="1089" y="0"/>
                  <a:pt x="1095" y="5"/>
                  <a:pt x="1095" y="12"/>
                </a:cubicBezTo>
                <a:cubicBezTo>
                  <a:pt x="1095" y="114"/>
                  <a:pt x="1095" y="114"/>
                  <a:pt x="1095" y="114"/>
                </a:cubicBezTo>
                <a:cubicBezTo>
                  <a:pt x="1095" y="121"/>
                  <a:pt x="1089" y="127"/>
                  <a:pt x="1082" y="127"/>
                </a:cubicBezTo>
                <a:lnTo>
                  <a:pt x="951" y="127"/>
                </a:lnTo>
                <a:close/>
                <a:moveTo>
                  <a:pt x="635" y="0"/>
                </a:moveTo>
                <a:cubicBezTo>
                  <a:pt x="476" y="0"/>
                  <a:pt x="476" y="0"/>
                  <a:pt x="476" y="0"/>
                </a:cubicBezTo>
                <a:cubicBezTo>
                  <a:pt x="406" y="0"/>
                  <a:pt x="349" y="57"/>
                  <a:pt x="349" y="127"/>
                </a:cubicBezTo>
                <a:cubicBezTo>
                  <a:pt x="349" y="380"/>
                  <a:pt x="349" y="380"/>
                  <a:pt x="349" y="380"/>
                </a:cubicBezTo>
                <a:cubicBezTo>
                  <a:pt x="349" y="380"/>
                  <a:pt x="349" y="381"/>
                  <a:pt x="349" y="381"/>
                </a:cubicBezTo>
                <a:cubicBezTo>
                  <a:pt x="178" y="381"/>
                  <a:pt x="178" y="381"/>
                  <a:pt x="178" y="381"/>
                </a:cubicBezTo>
                <a:cubicBezTo>
                  <a:pt x="150" y="381"/>
                  <a:pt x="127" y="358"/>
                  <a:pt x="127" y="330"/>
                </a:cubicBezTo>
                <a:cubicBezTo>
                  <a:pt x="127" y="310"/>
                  <a:pt x="127" y="310"/>
                  <a:pt x="127" y="310"/>
                </a:cubicBezTo>
                <a:cubicBezTo>
                  <a:pt x="127" y="306"/>
                  <a:pt x="130" y="303"/>
                  <a:pt x="133" y="303"/>
                </a:cubicBezTo>
                <a:cubicBezTo>
                  <a:pt x="216" y="303"/>
                  <a:pt x="216" y="303"/>
                  <a:pt x="216" y="303"/>
                </a:cubicBezTo>
                <a:cubicBezTo>
                  <a:pt x="223" y="303"/>
                  <a:pt x="228" y="298"/>
                  <a:pt x="228" y="291"/>
                </a:cubicBezTo>
                <a:cubicBezTo>
                  <a:pt x="228" y="215"/>
                  <a:pt x="228" y="215"/>
                  <a:pt x="228" y="215"/>
                </a:cubicBezTo>
                <a:cubicBezTo>
                  <a:pt x="228" y="208"/>
                  <a:pt x="223" y="202"/>
                  <a:pt x="216" y="202"/>
                </a:cubicBezTo>
                <a:cubicBezTo>
                  <a:pt x="133" y="202"/>
                  <a:pt x="133" y="202"/>
                  <a:pt x="133" y="202"/>
                </a:cubicBezTo>
                <a:cubicBezTo>
                  <a:pt x="130" y="202"/>
                  <a:pt x="127" y="199"/>
                  <a:pt x="127" y="196"/>
                </a:cubicBezTo>
                <a:cubicBezTo>
                  <a:pt x="127" y="178"/>
                  <a:pt x="127" y="178"/>
                  <a:pt x="127" y="178"/>
                </a:cubicBezTo>
                <a:cubicBezTo>
                  <a:pt x="127" y="150"/>
                  <a:pt x="150" y="127"/>
                  <a:pt x="178" y="127"/>
                </a:cubicBezTo>
                <a:cubicBezTo>
                  <a:pt x="305" y="127"/>
                  <a:pt x="305" y="127"/>
                  <a:pt x="305" y="127"/>
                </a:cubicBezTo>
                <a:cubicBezTo>
                  <a:pt x="312" y="127"/>
                  <a:pt x="318" y="121"/>
                  <a:pt x="318" y="114"/>
                </a:cubicBezTo>
                <a:cubicBezTo>
                  <a:pt x="318" y="13"/>
                  <a:pt x="318" y="13"/>
                  <a:pt x="318" y="13"/>
                </a:cubicBezTo>
                <a:cubicBezTo>
                  <a:pt x="318" y="6"/>
                  <a:pt x="312" y="0"/>
                  <a:pt x="305" y="0"/>
                </a:cubicBezTo>
                <a:cubicBezTo>
                  <a:pt x="127" y="0"/>
                  <a:pt x="127" y="0"/>
                  <a:pt x="127" y="0"/>
                </a:cubicBezTo>
                <a:cubicBezTo>
                  <a:pt x="57" y="0"/>
                  <a:pt x="0" y="57"/>
                  <a:pt x="0" y="127"/>
                </a:cubicBezTo>
                <a:cubicBezTo>
                  <a:pt x="0" y="381"/>
                  <a:pt x="0" y="381"/>
                  <a:pt x="0" y="381"/>
                </a:cubicBezTo>
                <a:cubicBezTo>
                  <a:pt x="0" y="451"/>
                  <a:pt x="57" y="508"/>
                  <a:pt x="127" y="508"/>
                </a:cubicBezTo>
                <a:cubicBezTo>
                  <a:pt x="597" y="508"/>
                  <a:pt x="597" y="508"/>
                  <a:pt x="597" y="508"/>
                </a:cubicBezTo>
                <a:cubicBezTo>
                  <a:pt x="601" y="508"/>
                  <a:pt x="604" y="505"/>
                  <a:pt x="604" y="501"/>
                </a:cubicBezTo>
                <a:cubicBezTo>
                  <a:pt x="604" y="387"/>
                  <a:pt x="604" y="387"/>
                  <a:pt x="604" y="387"/>
                </a:cubicBezTo>
                <a:cubicBezTo>
                  <a:pt x="604" y="384"/>
                  <a:pt x="601" y="381"/>
                  <a:pt x="597" y="381"/>
                </a:cubicBezTo>
                <a:cubicBezTo>
                  <a:pt x="527" y="381"/>
                  <a:pt x="527" y="381"/>
                  <a:pt x="527" y="381"/>
                </a:cubicBezTo>
                <a:cubicBezTo>
                  <a:pt x="499" y="381"/>
                  <a:pt x="476" y="358"/>
                  <a:pt x="476" y="330"/>
                </a:cubicBezTo>
                <a:cubicBezTo>
                  <a:pt x="476" y="178"/>
                  <a:pt x="476" y="178"/>
                  <a:pt x="476" y="178"/>
                </a:cubicBezTo>
                <a:cubicBezTo>
                  <a:pt x="476" y="150"/>
                  <a:pt x="499" y="127"/>
                  <a:pt x="527" y="127"/>
                </a:cubicBezTo>
                <a:cubicBezTo>
                  <a:pt x="585" y="127"/>
                  <a:pt x="585" y="127"/>
                  <a:pt x="585" y="127"/>
                </a:cubicBezTo>
                <a:cubicBezTo>
                  <a:pt x="613" y="127"/>
                  <a:pt x="635" y="150"/>
                  <a:pt x="635" y="178"/>
                </a:cubicBezTo>
                <a:cubicBezTo>
                  <a:pt x="635" y="507"/>
                  <a:pt x="635" y="507"/>
                  <a:pt x="635" y="507"/>
                </a:cubicBezTo>
                <a:cubicBezTo>
                  <a:pt x="635" y="590"/>
                  <a:pt x="635" y="590"/>
                  <a:pt x="635" y="590"/>
                </a:cubicBezTo>
                <a:cubicBezTo>
                  <a:pt x="635" y="597"/>
                  <a:pt x="641" y="603"/>
                  <a:pt x="648" y="603"/>
                </a:cubicBezTo>
                <a:cubicBezTo>
                  <a:pt x="749" y="603"/>
                  <a:pt x="749" y="603"/>
                  <a:pt x="749" y="603"/>
                </a:cubicBezTo>
                <a:cubicBezTo>
                  <a:pt x="756" y="603"/>
                  <a:pt x="762" y="597"/>
                  <a:pt x="762" y="590"/>
                </a:cubicBezTo>
                <a:cubicBezTo>
                  <a:pt x="762" y="380"/>
                  <a:pt x="762" y="380"/>
                  <a:pt x="762" y="380"/>
                </a:cubicBezTo>
                <a:cubicBezTo>
                  <a:pt x="762" y="127"/>
                  <a:pt x="762" y="127"/>
                  <a:pt x="762" y="127"/>
                </a:cubicBezTo>
                <a:cubicBezTo>
                  <a:pt x="762" y="57"/>
                  <a:pt x="705" y="0"/>
                  <a:pt x="635" y="0"/>
                </a:cubicBezTo>
              </a:path>
            </a:pathLst>
          </a:custGeom>
          <a:solidFill>
            <a:srgbClr val="E90055"/>
          </a:solidFill>
          <a:ln>
            <a:noFill/>
          </a:ln>
        </p:spPr>
        <p:txBody>
          <a:bodyPr vert="horz" wrap="square" lIns="91440" tIns="45720" rIns="91440" bIns="45720" numCol="1" anchor="t" anchorCtr="0" compatLnSpc="1">
            <a:prstTxWarp prst="textNoShape">
              <a:avLst/>
            </a:prstTxWarp>
          </a:bodyPr>
          <a:lstStyle/>
          <a:p>
            <a:endParaRPr lang="de-DE"/>
          </a:p>
        </p:txBody>
      </p:sp>
    </p:spTree>
    <p:extLst>
      <p:ext uri="{BB962C8B-B14F-4D97-AF65-F5344CB8AC3E}">
        <p14:creationId xmlns:p14="http://schemas.microsoft.com/office/powerpoint/2010/main" val="2010311599"/>
      </p:ext>
    </p:extLst>
  </p:cSld>
  <p:clrMapOvr>
    <a:masterClrMapping/>
  </p:clrMapOvr>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wo pictures and text">
    <p:spTree>
      <p:nvGrpSpPr>
        <p:cNvPr id="1" name=""/>
        <p:cNvGrpSpPr/>
        <p:nvPr/>
      </p:nvGrpSpPr>
      <p:grpSpPr>
        <a:xfrm>
          <a:off x="0" y="0"/>
          <a:ext cx="0" cy="0"/>
          <a:chOff x="0" y="0"/>
          <a:chExt cx="0" cy="0"/>
        </a:xfrm>
      </p:grpSpPr>
      <p:sp>
        <p:nvSpPr>
          <p:cNvPr id="9" name="Bildplatzhalter 5"/>
          <p:cNvSpPr>
            <a:spLocks noGrp="1"/>
          </p:cNvSpPr>
          <p:nvPr>
            <p:ph type="pic" sz="quarter" idx="13" hasCustomPrompt="1"/>
          </p:nvPr>
        </p:nvSpPr>
        <p:spPr bwMode="gray">
          <a:xfrm>
            <a:off x="1092200" y="1628775"/>
            <a:ext cx="4823780" cy="2124262"/>
          </a:xfrm>
          <a:prstGeom prst="roundRect">
            <a:avLst>
              <a:gd name="adj" fmla="val 6969"/>
            </a:avLst>
          </a:prstGeom>
          <a:solidFill>
            <a:schemeClr val="bg1">
              <a:lumMod val="95000"/>
            </a:schemeClr>
          </a:solidFill>
        </p:spPr>
        <p:txBody>
          <a:bodyPr tIns="864000" anchor="ctr"/>
          <a:lstStyle>
            <a:lvl1pPr algn="ctr">
              <a:spcBef>
                <a:spcPts val="0"/>
              </a:spcBef>
              <a:spcAft>
                <a:spcPts val="0"/>
              </a:spcAft>
              <a:defRPr sz="1200"/>
            </a:lvl1pPr>
          </a:lstStyle>
          <a:p>
            <a:r>
              <a:rPr lang="de-DE" noProof="0"/>
              <a:t> </a:t>
            </a:r>
          </a:p>
        </p:txBody>
      </p:sp>
      <p:sp>
        <p:nvSpPr>
          <p:cNvPr id="10" name="Bildplatzhalter 5"/>
          <p:cNvSpPr>
            <a:spLocks noGrp="1"/>
          </p:cNvSpPr>
          <p:nvPr>
            <p:ph type="pic" sz="quarter" idx="14" hasCustomPrompt="1"/>
          </p:nvPr>
        </p:nvSpPr>
        <p:spPr bwMode="gray">
          <a:xfrm>
            <a:off x="6276556" y="1628775"/>
            <a:ext cx="4824000" cy="2124261"/>
          </a:xfrm>
          <a:prstGeom prst="roundRect">
            <a:avLst>
              <a:gd name="adj" fmla="val 6528"/>
            </a:avLst>
          </a:prstGeom>
          <a:solidFill>
            <a:schemeClr val="bg1">
              <a:lumMod val="95000"/>
            </a:schemeClr>
          </a:solidFill>
        </p:spPr>
        <p:txBody>
          <a:bodyPr tIns="864000" anchor="ctr"/>
          <a:lstStyle>
            <a:lvl1pPr algn="ctr">
              <a:spcBef>
                <a:spcPts val="0"/>
              </a:spcBef>
              <a:spcAft>
                <a:spcPts val="0"/>
              </a:spcAft>
              <a:defRPr sz="1200"/>
            </a:lvl1pPr>
          </a:lstStyle>
          <a:p>
            <a:r>
              <a:rPr lang="de-DE" noProof="0"/>
              <a:t> </a:t>
            </a:r>
          </a:p>
        </p:txBody>
      </p:sp>
      <p:sp>
        <p:nvSpPr>
          <p:cNvPr id="5" name="Textplatzhalter 4"/>
          <p:cNvSpPr>
            <a:spLocks noGrp="1"/>
          </p:cNvSpPr>
          <p:nvPr>
            <p:ph type="body" sz="quarter" idx="15" hasCustomPrompt="1"/>
          </p:nvPr>
        </p:nvSpPr>
        <p:spPr bwMode="gray">
          <a:xfrm>
            <a:off x="1092199" y="3933056"/>
            <a:ext cx="10007601" cy="2124844"/>
          </a:xfrm>
          <a:prstGeom prst="rect">
            <a:avLst/>
          </a:prstGeom>
        </p:spPr>
        <p:txBody>
          <a:bodyPr/>
          <a:lstStyle>
            <a:lvl1pPr>
              <a:defRPr/>
            </a:lvl1pPr>
            <a:lvl2pPr>
              <a:defRPr/>
            </a:lvl2pPr>
            <a:lvl3pPr>
              <a:defRPr/>
            </a:lvl3pPr>
            <a:lvl4pPr>
              <a:defRPr/>
            </a:lvl4pPr>
            <a:lvl5pPr>
              <a:defRPr/>
            </a:lvl5pPr>
            <a:lvl6pPr>
              <a:defRPr/>
            </a:lvl6pPr>
          </a:lstStyle>
          <a:p>
            <a:pPr lvl="0"/>
            <a:r>
              <a:rPr lang="de-DE" noProof="0"/>
              <a:t>You can use this field to enter text, a table, a diagram or SmartArts. Use the buttons “increase list level” for copytext or bullet levels. Use the icons below to create visual content.</a:t>
            </a:r>
          </a:p>
        </p:txBody>
      </p:sp>
      <p:sp>
        <p:nvSpPr>
          <p:cNvPr id="3" name="Fußzeilenplatzhalter 2">
            <a:extLst>
              <a:ext uri="{FF2B5EF4-FFF2-40B4-BE49-F238E27FC236}">
                <a16:creationId xmlns:a16="http://schemas.microsoft.com/office/drawing/2014/main" id="{A3D93327-5C5B-D6BB-676E-FE363E72E396}"/>
              </a:ext>
            </a:extLst>
          </p:cNvPr>
          <p:cNvSpPr>
            <a:spLocks noGrp="1"/>
          </p:cNvSpPr>
          <p:nvPr>
            <p:ph type="ftr" sz="quarter" idx="16"/>
          </p:nvPr>
        </p:nvSpPr>
        <p:spPr bwMode="gray"/>
        <p:txBody>
          <a:bodyPr/>
          <a:lstStyle/>
          <a:p>
            <a:r>
              <a:rPr lang="de-DE"/>
              <a:t>Date dd.mm.yyyy  |  Security label</a:t>
            </a:r>
          </a:p>
        </p:txBody>
      </p:sp>
      <p:sp>
        <p:nvSpPr>
          <p:cNvPr id="6" name="Titel 5">
            <a:extLst>
              <a:ext uri="{FF2B5EF4-FFF2-40B4-BE49-F238E27FC236}">
                <a16:creationId xmlns:a16="http://schemas.microsoft.com/office/drawing/2014/main" id="{FAF854F9-C88D-C030-D34E-E9BD073B6FB9}"/>
              </a:ext>
            </a:extLst>
          </p:cNvPr>
          <p:cNvSpPr>
            <a:spLocks noGrp="1"/>
          </p:cNvSpPr>
          <p:nvPr>
            <p:ph type="title" hasCustomPrompt="1"/>
          </p:nvPr>
        </p:nvSpPr>
        <p:spPr bwMode="gray"/>
        <p:txBody>
          <a:bodyPr/>
          <a:lstStyle/>
          <a:p>
            <a:r>
              <a:rPr lang="de-DE" noProof="0"/>
              <a:t>Headline (max. 2 lines) </a:t>
            </a:r>
            <a:endParaRPr lang="de-DE"/>
          </a:p>
        </p:txBody>
      </p:sp>
      <p:sp>
        <p:nvSpPr>
          <p:cNvPr id="2" name="Slide Number Placeholder 1">
            <a:extLst>
              <a:ext uri="{FF2B5EF4-FFF2-40B4-BE49-F238E27FC236}">
                <a16:creationId xmlns:a16="http://schemas.microsoft.com/office/drawing/2014/main" id="{DA195368-4729-B6F0-1E9A-CCF9CD4972A0}"/>
              </a:ext>
            </a:extLst>
          </p:cNvPr>
          <p:cNvSpPr>
            <a:spLocks noGrp="1"/>
          </p:cNvSpPr>
          <p:nvPr>
            <p:ph type="sldNum" sz="quarter" idx="17"/>
          </p:nvPr>
        </p:nvSpPr>
        <p:spPr/>
        <p:txBody>
          <a:bodyPr/>
          <a:lstStyle/>
          <a:p>
            <a:fld id="{44661A95-0089-4306-9485-D330C59FE3ED}" type="slidenum">
              <a:rPr lang="de-DE" smtClean="0"/>
              <a:pPr/>
              <a:t>‹#›</a:t>
            </a:fld>
            <a:endParaRPr lang="de-DE"/>
          </a:p>
        </p:txBody>
      </p:sp>
    </p:spTree>
    <p:extLst>
      <p:ext uri="{BB962C8B-B14F-4D97-AF65-F5344CB8AC3E}">
        <p14:creationId xmlns:p14="http://schemas.microsoft.com/office/powerpoint/2010/main" val="50890665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hree pictures and text">
    <p:spTree>
      <p:nvGrpSpPr>
        <p:cNvPr id="1" name=""/>
        <p:cNvGrpSpPr/>
        <p:nvPr/>
      </p:nvGrpSpPr>
      <p:grpSpPr>
        <a:xfrm>
          <a:off x="0" y="0"/>
          <a:ext cx="0" cy="0"/>
          <a:chOff x="0" y="0"/>
          <a:chExt cx="0" cy="0"/>
        </a:xfrm>
      </p:grpSpPr>
      <p:sp>
        <p:nvSpPr>
          <p:cNvPr id="9" name="Bildplatzhalter 5"/>
          <p:cNvSpPr>
            <a:spLocks noGrp="1"/>
          </p:cNvSpPr>
          <p:nvPr>
            <p:ph type="pic" sz="quarter" idx="13" hasCustomPrompt="1"/>
          </p:nvPr>
        </p:nvSpPr>
        <p:spPr bwMode="gray">
          <a:xfrm>
            <a:off x="1092200" y="3104964"/>
            <a:ext cx="3095588" cy="2952936"/>
          </a:xfrm>
          <a:prstGeom prst="roundRect">
            <a:avLst>
              <a:gd name="adj" fmla="val 4747"/>
            </a:avLst>
          </a:prstGeom>
          <a:solidFill>
            <a:schemeClr val="bg1">
              <a:lumMod val="95000"/>
            </a:schemeClr>
          </a:solidFill>
        </p:spPr>
        <p:txBody>
          <a:bodyPr tIns="864000" anchor="ctr"/>
          <a:lstStyle>
            <a:lvl1pPr algn="ctr">
              <a:spcBef>
                <a:spcPts val="0"/>
              </a:spcBef>
              <a:spcAft>
                <a:spcPts val="0"/>
              </a:spcAft>
              <a:defRPr sz="1200"/>
            </a:lvl1pPr>
          </a:lstStyle>
          <a:p>
            <a:r>
              <a:rPr lang="de-DE" noProof="0"/>
              <a:t> </a:t>
            </a:r>
          </a:p>
        </p:txBody>
      </p:sp>
      <p:sp>
        <p:nvSpPr>
          <p:cNvPr id="10" name="Bildplatzhalter 5"/>
          <p:cNvSpPr>
            <a:spLocks noGrp="1"/>
          </p:cNvSpPr>
          <p:nvPr>
            <p:ph type="pic" sz="quarter" idx="14" hasCustomPrompt="1"/>
          </p:nvPr>
        </p:nvSpPr>
        <p:spPr bwMode="gray">
          <a:xfrm>
            <a:off x="4548172" y="3141304"/>
            <a:ext cx="3096000" cy="2916596"/>
          </a:xfrm>
          <a:prstGeom prst="roundRect">
            <a:avLst>
              <a:gd name="adj" fmla="val 4747"/>
            </a:avLst>
          </a:prstGeom>
          <a:solidFill>
            <a:schemeClr val="bg1">
              <a:lumMod val="95000"/>
            </a:schemeClr>
          </a:solidFill>
        </p:spPr>
        <p:txBody>
          <a:bodyPr tIns="864000" anchor="ctr"/>
          <a:lstStyle>
            <a:lvl1pPr algn="ctr">
              <a:spcBef>
                <a:spcPts val="0"/>
              </a:spcBef>
              <a:spcAft>
                <a:spcPts val="0"/>
              </a:spcAft>
              <a:defRPr sz="1200"/>
            </a:lvl1pPr>
          </a:lstStyle>
          <a:p>
            <a:r>
              <a:rPr lang="de-DE" noProof="0"/>
              <a:t> </a:t>
            </a:r>
          </a:p>
        </p:txBody>
      </p:sp>
      <p:sp>
        <p:nvSpPr>
          <p:cNvPr id="5" name="Textplatzhalter 4"/>
          <p:cNvSpPr>
            <a:spLocks noGrp="1"/>
          </p:cNvSpPr>
          <p:nvPr>
            <p:ph type="body" sz="quarter" idx="15" hasCustomPrompt="1"/>
          </p:nvPr>
        </p:nvSpPr>
        <p:spPr bwMode="gray">
          <a:xfrm>
            <a:off x="1092199" y="2312988"/>
            <a:ext cx="10007601" cy="647960"/>
          </a:xfrm>
          <a:prstGeom prst="rect">
            <a:avLst/>
          </a:prstGeom>
        </p:spPr>
        <p:txBody>
          <a:bodyPr>
            <a:normAutofit/>
          </a:bodyPr>
          <a:lstStyle>
            <a:lvl1pPr>
              <a:defRPr/>
            </a:lvl1pPr>
            <a:lvl2pPr>
              <a:defRPr/>
            </a:lvl2pPr>
            <a:lvl3pPr>
              <a:defRPr/>
            </a:lvl3pPr>
            <a:lvl4pPr>
              <a:defRPr/>
            </a:lvl4pPr>
            <a:lvl5pPr>
              <a:defRPr/>
            </a:lvl5pPr>
            <a:lvl6pPr>
              <a:defRPr/>
            </a:lvl6pPr>
          </a:lstStyle>
          <a:p>
            <a:pPr lvl="0"/>
            <a:r>
              <a:rPr lang="de-DE" noProof="0"/>
              <a:t>You can use this field to enter text, a table, a diagram or SmartArts. Use the buttons “increase list level” for copytext or bullet levels. Use the icons below to create visual content.</a:t>
            </a:r>
          </a:p>
        </p:txBody>
      </p:sp>
      <p:sp>
        <p:nvSpPr>
          <p:cNvPr id="11" name="Bildplatzhalter 5"/>
          <p:cNvSpPr>
            <a:spLocks noGrp="1"/>
          </p:cNvSpPr>
          <p:nvPr>
            <p:ph type="pic" sz="quarter" idx="16" hasCustomPrompt="1"/>
          </p:nvPr>
        </p:nvSpPr>
        <p:spPr bwMode="gray">
          <a:xfrm>
            <a:off x="8004556" y="3141304"/>
            <a:ext cx="3096000" cy="2916596"/>
          </a:xfrm>
          <a:prstGeom prst="roundRect">
            <a:avLst>
              <a:gd name="adj" fmla="val 5019"/>
            </a:avLst>
          </a:prstGeom>
          <a:solidFill>
            <a:schemeClr val="bg1">
              <a:lumMod val="95000"/>
            </a:schemeClr>
          </a:solidFill>
        </p:spPr>
        <p:txBody>
          <a:bodyPr tIns="864000" anchor="ctr"/>
          <a:lstStyle>
            <a:lvl1pPr algn="ctr">
              <a:spcBef>
                <a:spcPts val="0"/>
              </a:spcBef>
              <a:spcAft>
                <a:spcPts val="0"/>
              </a:spcAft>
              <a:defRPr sz="1200"/>
            </a:lvl1pPr>
          </a:lstStyle>
          <a:p>
            <a:r>
              <a:rPr lang="de-DE" noProof="0"/>
              <a:t> </a:t>
            </a:r>
          </a:p>
        </p:txBody>
      </p:sp>
      <p:sp>
        <p:nvSpPr>
          <p:cNvPr id="3" name="Fußzeilenplatzhalter 2">
            <a:extLst>
              <a:ext uri="{FF2B5EF4-FFF2-40B4-BE49-F238E27FC236}">
                <a16:creationId xmlns:a16="http://schemas.microsoft.com/office/drawing/2014/main" id="{0DA7C3BC-91E5-6B25-2691-E88A16607808}"/>
              </a:ext>
            </a:extLst>
          </p:cNvPr>
          <p:cNvSpPr>
            <a:spLocks noGrp="1"/>
          </p:cNvSpPr>
          <p:nvPr>
            <p:ph type="ftr" sz="quarter" idx="17"/>
          </p:nvPr>
        </p:nvSpPr>
        <p:spPr bwMode="gray"/>
        <p:txBody>
          <a:bodyPr/>
          <a:lstStyle/>
          <a:p>
            <a:r>
              <a:rPr lang="de-DE"/>
              <a:t>Date dd.mm.yyyy  |  Security label</a:t>
            </a:r>
          </a:p>
        </p:txBody>
      </p:sp>
      <p:sp>
        <p:nvSpPr>
          <p:cNvPr id="6" name="Titel 5">
            <a:extLst>
              <a:ext uri="{FF2B5EF4-FFF2-40B4-BE49-F238E27FC236}">
                <a16:creationId xmlns:a16="http://schemas.microsoft.com/office/drawing/2014/main" id="{BE369E4D-2EDC-2584-C5A7-4CF771126B50}"/>
              </a:ext>
            </a:extLst>
          </p:cNvPr>
          <p:cNvSpPr>
            <a:spLocks noGrp="1"/>
          </p:cNvSpPr>
          <p:nvPr>
            <p:ph type="title" hasCustomPrompt="1"/>
          </p:nvPr>
        </p:nvSpPr>
        <p:spPr bwMode="gray"/>
        <p:txBody>
          <a:bodyPr>
            <a:normAutofit/>
          </a:bodyPr>
          <a:lstStyle/>
          <a:p>
            <a:r>
              <a:rPr lang="de-DE" noProof="0"/>
              <a:t>Headline (max. 2 lines) </a:t>
            </a:r>
            <a:endParaRPr lang="de-DE"/>
          </a:p>
        </p:txBody>
      </p:sp>
      <p:sp>
        <p:nvSpPr>
          <p:cNvPr id="12" name="Untertitel 2">
            <a:extLst>
              <a:ext uri="{FF2B5EF4-FFF2-40B4-BE49-F238E27FC236}">
                <a16:creationId xmlns:a16="http://schemas.microsoft.com/office/drawing/2014/main" id="{6ADDE7DF-3358-3227-0BD7-C8383927C6C2}"/>
              </a:ext>
            </a:extLst>
          </p:cNvPr>
          <p:cNvSpPr>
            <a:spLocks noGrp="1"/>
          </p:cNvSpPr>
          <p:nvPr>
            <p:ph type="subTitle" idx="12" hasCustomPrompt="1"/>
          </p:nvPr>
        </p:nvSpPr>
        <p:spPr bwMode="gray">
          <a:xfrm>
            <a:off x="1091444" y="1427305"/>
            <a:ext cx="10009112" cy="381515"/>
          </a:xfrm>
          <a:prstGeom prst="rect">
            <a:avLst/>
          </a:prstGeom>
          <a:noFill/>
        </p:spPr>
        <p:txBody>
          <a:bodyPr wrap="square" lIns="0" tIns="0" rIns="0" bIns="0">
            <a:normAutofit/>
          </a:bodyPr>
          <a:lstStyle>
            <a:lvl1pPr marL="0" indent="0" algn="l">
              <a:lnSpc>
                <a:spcPct val="110000"/>
              </a:lnSpc>
              <a:spcBef>
                <a:spcPts val="0"/>
              </a:spcBef>
              <a:spcAft>
                <a:spcPts val="0"/>
              </a:spcAft>
              <a:buNone/>
              <a:defRPr sz="2500" b="0" i="1">
                <a:solidFill>
                  <a:schemeClr val="tx1"/>
                </a:solidFill>
                <a:latin typeface="Barlow Medium" panose="00000600000000000000" pitchFamily="2" charset="0"/>
              </a:defRPr>
            </a:lvl1pPr>
            <a:lvl2pPr marL="0" indent="0" algn="l">
              <a:lnSpc>
                <a:spcPct val="110000"/>
              </a:lnSpc>
              <a:spcBef>
                <a:spcPts val="0"/>
              </a:spcBef>
              <a:spcAft>
                <a:spcPts val="0"/>
              </a:spcAft>
              <a:buNone/>
              <a:defRPr sz="2500" b="0">
                <a:solidFill>
                  <a:schemeClr val="tx1"/>
                </a:solidFill>
                <a:latin typeface="Barlow Medium" panose="00000600000000000000" pitchFamily="2" charset="0"/>
              </a:defRPr>
            </a:lvl2pPr>
            <a:lvl3pPr marL="0" indent="0" algn="l">
              <a:lnSpc>
                <a:spcPct val="110000"/>
              </a:lnSpc>
              <a:spcBef>
                <a:spcPts val="0"/>
              </a:spcBef>
              <a:spcAft>
                <a:spcPts val="0"/>
              </a:spcAft>
              <a:buNone/>
              <a:defRPr sz="2500" b="0">
                <a:solidFill>
                  <a:schemeClr val="tx1"/>
                </a:solidFill>
                <a:latin typeface="Barlow Medium" panose="00000600000000000000" pitchFamily="2" charset="0"/>
              </a:defRPr>
            </a:lvl3pPr>
            <a:lvl4pPr marL="0" indent="0" algn="l">
              <a:lnSpc>
                <a:spcPct val="110000"/>
              </a:lnSpc>
              <a:spcBef>
                <a:spcPts val="0"/>
              </a:spcBef>
              <a:spcAft>
                <a:spcPts val="0"/>
              </a:spcAft>
              <a:buNone/>
              <a:defRPr sz="2500" b="0">
                <a:solidFill>
                  <a:schemeClr val="tx1"/>
                </a:solidFill>
                <a:latin typeface="Barlow Medium" panose="00000600000000000000" pitchFamily="2" charset="0"/>
              </a:defRPr>
            </a:lvl4pPr>
            <a:lvl5pPr marL="0" indent="0" algn="l">
              <a:lnSpc>
                <a:spcPct val="110000"/>
              </a:lnSpc>
              <a:spcBef>
                <a:spcPts val="0"/>
              </a:spcBef>
              <a:spcAft>
                <a:spcPts val="0"/>
              </a:spcAft>
              <a:buNone/>
              <a:defRPr sz="2500" b="0">
                <a:solidFill>
                  <a:schemeClr val="tx1"/>
                </a:solidFill>
                <a:latin typeface="Barlow Medium" panose="00000600000000000000" pitchFamily="2" charset="0"/>
              </a:defRPr>
            </a:lvl5pPr>
            <a:lvl6pPr marL="0" indent="0" algn="l">
              <a:lnSpc>
                <a:spcPct val="110000"/>
              </a:lnSpc>
              <a:spcBef>
                <a:spcPts val="0"/>
              </a:spcBef>
              <a:spcAft>
                <a:spcPts val="0"/>
              </a:spcAft>
              <a:buNone/>
              <a:defRPr sz="2500" b="0">
                <a:solidFill>
                  <a:schemeClr val="tx1"/>
                </a:solidFill>
                <a:latin typeface="Barlow Medium" panose="00000600000000000000" pitchFamily="2" charset="0"/>
              </a:defRPr>
            </a:lvl6pPr>
            <a:lvl7pPr marL="0" indent="0" algn="l">
              <a:lnSpc>
                <a:spcPct val="110000"/>
              </a:lnSpc>
              <a:spcBef>
                <a:spcPts val="0"/>
              </a:spcBef>
              <a:spcAft>
                <a:spcPts val="0"/>
              </a:spcAft>
              <a:buNone/>
              <a:defRPr sz="2500" b="0">
                <a:solidFill>
                  <a:schemeClr val="tx1"/>
                </a:solidFill>
                <a:latin typeface="Barlow Medium" panose="00000600000000000000" pitchFamily="2" charset="0"/>
              </a:defRPr>
            </a:lvl7pPr>
            <a:lvl8pPr marL="0" indent="0" algn="l">
              <a:lnSpc>
                <a:spcPct val="110000"/>
              </a:lnSpc>
              <a:spcBef>
                <a:spcPts val="0"/>
              </a:spcBef>
              <a:spcAft>
                <a:spcPts val="0"/>
              </a:spcAft>
              <a:buNone/>
              <a:defRPr sz="2500" b="0">
                <a:solidFill>
                  <a:schemeClr val="tx1"/>
                </a:solidFill>
                <a:latin typeface="Barlow Medium" panose="00000600000000000000" pitchFamily="2" charset="0"/>
              </a:defRPr>
            </a:lvl8pPr>
            <a:lvl9pPr marL="0" indent="0" algn="l">
              <a:lnSpc>
                <a:spcPct val="110000"/>
              </a:lnSpc>
              <a:spcBef>
                <a:spcPts val="0"/>
              </a:spcBef>
              <a:spcAft>
                <a:spcPts val="0"/>
              </a:spcAft>
              <a:buNone/>
              <a:defRPr sz="2500" b="0">
                <a:solidFill>
                  <a:schemeClr val="tx1"/>
                </a:solidFill>
                <a:latin typeface="Barlow Medium" panose="00000600000000000000" pitchFamily="2" charset="0"/>
              </a:defRPr>
            </a:lvl9pPr>
          </a:lstStyle>
          <a:p>
            <a:pPr lvl="0"/>
            <a:r>
              <a:rPr lang="de-DE" noProof="0"/>
              <a:t>Sub-Headline</a:t>
            </a:r>
          </a:p>
        </p:txBody>
      </p:sp>
      <p:sp>
        <p:nvSpPr>
          <p:cNvPr id="2" name="Slide Number Placeholder 1">
            <a:extLst>
              <a:ext uri="{FF2B5EF4-FFF2-40B4-BE49-F238E27FC236}">
                <a16:creationId xmlns:a16="http://schemas.microsoft.com/office/drawing/2014/main" id="{AD0A22D3-6F4D-498D-5430-6F71859F136F}"/>
              </a:ext>
            </a:extLst>
          </p:cNvPr>
          <p:cNvSpPr>
            <a:spLocks noGrp="1"/>
          </p:cNvSpPr>
          <p:nvPr>
            <p:ph type="sldNum" sz="quarter" idx="18"/>
          </p:nvPr>
        </p:nvSpPr>
        <p:spPr/>
        <p:txBody>
          <a:bodyPr/>
          <a:lstStyle/>
          <a:p>
            <a:fld id="{44661A95-0089-4306-9485-D330C59FE3ED}" type="slidenum">
              <a:rPr lang="de-DE" smtClean="0"/>
              <a:pPr/>
              <a:t>‹#›</a:t>
            </a:fld>
            <a:endParaRPr lang="de-DE"/>
          </a:p>
        </p:txBody>
      </p:sp>
    </p:spTree>
    <p:extLst>
      <p:ext uri="{BB962C8B-B14F-4D97-AF65-F5344CB8AC3E}">
        <p14:creationId xmlns:p14="http://schemas.microsoft.com/office/powerpoint/2010/main" val="399502551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3 Boxes &amp; pictures">
    <p:spTree>
      <p:nvGrpSpPr>
        <p:cNvPr id="1" name=""/>
        <p:cNvGrpSpPr/>
        <p:nvPr/>
      </p:nvGrpSpPr>
      <p:grpSpPr>
        <a:xfrm>
          <a:off x="0" y="0"/>
          <a:ext cx="0" cy="0"/>
          <a:chOff x="0" y="0"/>
          <a:chExt cx="0" cy="0"/>
        </a:xfrm>
      </p:grpSpPr>
      <p:sp>
        <p:nvSpPr>
          <p:cNvPr id="5" name="Textplatzhalter 4"/>
          <p:cNvSpPr>
            <a:spLocks noGrp="1"/>
          </p:cNvSpPr>
          <p:nvPr>
            <p:ph type="body" sz="quarter" idx="15" hasCustomPrompt="1"/>
          </p:nvPr>
        </p:nvSpPr>
        <p:spPr bwMode="gray">
          <a:xfrm>
            <a:off x="1164207" y="3392996"/>
            <a:ext cx="2951573" cy="2124236"/>
          </a:xfrm>
          <a:prstGeom prst="rect">
            <a:avLst/>
          </a:prstGeom>
          <a:solidFill>
            <a:schemeClr val="tx2"/>
          </a:solidFill>
          <a:ln w="139700" cap="rnd">
            <a:solidFill>
              <a:schemeClr val="tx2"/>
            </a:solidFill>
          </a:ln>
        </p:spPr>
        <p:txBody>
          <a:bodyPr lIns="180000" tIns="288000" rIns="180000" bIns="180000"/>
          <a:lstStyle>
            <a:lvl1pPr marL="0" indent="0" algn="ctr">
              <a:spcBef>
                <a:spcPts val="0"/>
              </a:spcBef>
              <a:spcAft>
                <a:spcPts val="0"/>
              </a:spcAft>
              <a:buFont typeface="Arial" panose="020B0604020202020204" pitchFamily="34" charset="0"/>
              <a:buNone/>
              <a:defRPr sz="2000" b="0"/>
            </a:lvl1pPr>
            <a:lvl2pPr marL="0" indent="0" algn="ctr">
              <a:spcBef>
                <a:spcPts val="0"/>
              </a:spcBef>
              <a:spcAft>
                <a:spcPts val="0"/>
              </a:spcAft>
              <a:buFont typeface="Arial" panose="020B0604020202020204" pitchFamily="34" charset="0"/>
              <a:buNone/>
              <a:defRPr sz="2000"/>
            </a:lvl2pPr>
            <a:lvl3pPr marL="0" indent="0" algn="ctr">
              <a:spcBef>
                <a:spcPts val="0"/>
              </a:spcBef>
              <a:spcAft>
                <a:spcPts val="0"/>
              </a:spcAft>
              <a:buFont typeface="Arial" panose="020B0604020202020204" pitchFamily="34" charset="0"/>
              <a:buNone/>
              <a:defRPr sz="2000"/>
            </a:lvl3pPr>
            <a:lvl4pPr marL="0" indent="0" algn="ctr">
              <a:spcBef>
                <a:spcPts val="0"/>
              </a:spcBef>
              <a:spcAft>
                <a:spcPts val="0"/>
              </a:spcAft>
              <a:buFont typeface="Arial" panose="020B0604020202020204" pitchFamily="34" charset="0"/>
              <a:buNone/>
              <a:defRPr sz="2000"/>
            </a:lvl4pPr>
            <a:lvl5pPr marL="0" indent="0" algn="ctr">
              <a:spcBef>
                <a:spcPts val="0"/>
              </a:spcBef>
              <a:spcAft>
                <a:spcPts val="0"/>
              </a:spcAft>
              <a:buFont typeface="Arial" panose="020B0604020202020204" pitchFamily="34" charset="0"/>
              <a:buNone/>
              <a:defRPr sz="2000"/>
            </a:lvl5pPr>
            <a:lvl6pPr marL="0" indent="0" algn="ctr">
              <a:spcBef>
                <a:spcPts val="0"/>
              </a:spcBef>
              <a:spcAft>
                <a:spcPts val="0"/>
              </a:spcAft>
              <a:buFont typeface="Arial" panose="020B0604020202020204" pitchFamily="34" charset="0"/>
              <a:buNone/>
              <a:defRPr sz="2000"/>
            </a:lvl6pPr>
            <a:lvl7pPr marL="0" indent="0" algn="ctr">
              <a:spcBef>
                <a:spcPts val="0"/>
              </a:spcBef>
              <a:spcAft>
                <a:spcPts val="0"/>
              </a:spcAft>
              <a:buFont typeface="Arial" panose="020B0604020202020204" pitchFamily="34" charset="0"/>
              <a:buNone/>
              <a:defRPr sz="2000"/>
            </a:lvl7pPr>
            <a:lvl8pPr marL="0" indent="0" algn="ctr">
              <a:spcBef>
                <a:spcPts val="0"/>
              </a:spcBef>
              <a:spcAft>
                <a:spcPts val="0"/>
              </a:spcAft>
              <a:buFont typeface="Arial" panose="020B0604020202020204" pitchFamily="34" charset="0"/>
              <a:buNone/>
              <a:defRPr sz="2000"/>
            </a:lvl8pPr>
            <a:lvl9pPr marL="0" indent="0" algn="ctr">
              <a:spcBef>
                <a:spcPts val="0"/>
              </a:spcBef>
              <a:spcAft>
                <a:spcPts val="0"/>
              </a:spcAft>
              <a:buFont typeface="Arial" panose="020B0604020202020204" pitchFamily="34" charset="0"/>
              <a:buNone/>
              <a:defRPr sz="2000"/>
            </a:lvl9pPr>
          </a:lstStyle>
          <a:p>
            <a:pPr lvl="0"/>
            <a:r>
              <a:rPr lang="de-DE" noProof="0"/>
              <a:t>Use </a:t>
            </a:r>
            <a:r>
              <a:rPr lang="de-DE" noProof="0" err="1"/>
              <a:t>this</a:t>
            </a:r>
            <a:r>
              <a:rPr lang="de-DE" noProof="0"/>
              <a:t> </a:t>
            </a:r>
            <a:r>
              <a:rPr lang="de-DE" noProof="0" err="1"/>
              <a:t>field</a:t>
            </a:r>
            <a:r>
              <a:rPr lang="de-DE" noProof="0"/>
              <a:t> </a:t>
            </a:r>
            <a:r>
              <a:rPr lang="de-DE" noProof="0" err="1"/>
              <a:t>to</a:t>
            </a:r>
            <a:r>
              <a:rPr lang="de-DE" noProof="0"/>
              <a:t> </a:t>
            </a:r>
            <a:r>
              <a:rPr lang="de-DE" noProof="0" err="1"/>
              <a:t>enter</a:t>
            </a:r>
            <a:r>
              <a:rPr lang="de-DE" noProof="0"/>
              <a:t> </a:t>
            </a:r>
            <a:r>
              <a:rPr lang="de-DE" noProof="0" err="1"/>
              <a:t>text</a:t>
            </a:r>
            <a:r>
              <a:rPr lang="de-DE" noProof="0"/>
              <a:t>.</a:t>
            </a:r>
          </a:p>
          <a:p>
            <a:pPr lvl="1"/>
            <a:r>
              <a:rPr lang="de-DE" noProof="0"/>
              <a:t>2. </a:t>
            </a:r>
            <a:r>
              <a:rPr lang="de-DE" noProof="0" err="1"/>
              <a:t>level</a:t>
            </a:r>
            <a:endParaRPr lang="de-DE" noProof="0"/>
          </a:p>
          <a:p>
            <a:pPr lvl="2"/>
            <a:r>
              <a:rPr lang="de-DE" noProof="0"/>
              <a:t>3. </a:t>
            </a:r>
            <a:r>
              <a:rPr lang="de-DE" noProof="0" err="1"/>
              <a:t>level</a:t>
            </a:r>
            <a:endParaRPr lang="de-DE" noProof="0"/>
          </a:p>
          <a:p>
            <a:pPr lvl="3"/>
            <a:r>
              <a:rPr lang="de-DE" noProof="0"/>
              <a:t>4. </a:t>
            </a:r>
            <a:r>
              <a:rPr lang="de-DE" noProof="0" err="1"/>
              <a:t>level</a:t>
            </a:r>
            <a:endParaRPr lang="de-DE" noProof="0"/>
          </a:p>
          <a:p>
            <a:pPr lvl="4"/>
            <a:r>
              <a:rPr lang="de-DE" noProof="0"/>
              <a:t>5. </a:t>
            </a:r>
            <a:r>
              <a:rPr lang="de-DE" noProof="0" err="1"/>
              <a:t>level</a:t>
            </a:r>
            <a:endParaRPr lang="de-DE" noProof="0"/>
          </a:p>
          <a:p>
            <a:pPr lvl="5"/>
            <a:r>
              <a:rPr lang="de-DE" noProof="0"/>
              <a:t>6. </a:t>
            </a:r>
            <a:r>
              <a:rPr lang="de-DE" noProof="0" err="1"/>
              <a:t>level</a:t>
            </a:r>
            <a:endParaRPr lang="de-DE" noProof="0"/>
          </a:p>
          <a:p>
            <a:pPr lvl="6"/>
            <a:r>
              <a:rPr lang="de-DE" noProof="0"/>
              <a:t>7. </a:t>
            </a:r>
            <a:r>
              <a:rPr lang="de-DE" noProof="0" err="1"/>
              <a:t>level</a:t>
            </a:r>
            <a:endParaRPr lang="de-DE" noProof="0"/>
          </a:p>
          <a:p>
            <a:pPr lvl="7"/>
            <a:r>
              <a:rPr lang="de-DE" noProof="0"/>
              <a:t>8. </a:t>
            </a:r>
            <a:r>
              <a:rPr lang="de-DE" noProof="0" err="1"/>
              <a:t>level</a:t>
            </a:r>
            <a:endParaRPr lang="de-DE" noProof="0"/>
          </a:p>
          <a:p>
            <a:pPr lvl="8"/>
            <a:r>
              <a:rPr lang="de-DE" noProof="0"/>
              <a:t>9. </a:t>
            </a:r>
            <a:r>
              <a:rPr lang="de-DE" noProof="0" err="1"/>
              <a:t>level</a:t>
            </a:r>
            <a:endParaRPr lang="de-DE" noProof="0"/>
          </a:p>
          <a:p>
            <a:pPr lvl="4"/>
            <a:endParaRPr lang="de-DE" noProof="0"/>
          </a:p>
        </p:txBody>
      </p:sp>
      <p:sp>
        <p:nvSpPr>
          <p:cNvPr id="13" name="Textplatzhalter 4">
            <a:extLst>
              <a:ext uri="{FF2B5EF4-FFF2-40B4-BE49-F238E27FC236}">
                <a16:creationId xmlns:a16="http://schemas.microsoft.com/office/drawing/2014/main" id="{3D53D7B3-A662-6793-7BC3-983EE4D678BD}"/>
              </a:ext>
            </a:extLst>
          </p:cNvPr>
          <p:cNvSpPr>
            <a:spLocks noGrp="1"/>
          </p:cNvSpPr>
          <p:nvPr>
            <p:ph type="body" sz="quarter" idx="20" hasCustomPrompt="1"/>
          </p:nvPr>
        </p:nvSpPr>
        <p:spPr bwMode="gray">
          <a:xfrm>
            <a:off x="4619836" y="3392996"/>
            <a:ext cx="2952328" cy="2124236"/>
          </a:xfrm>
          <a:prstGeom prst="rect">
            <a:avLst/>
          </a:prstGeom>
          <a:solidFill>
            <a:schemeClr val="tx2"/>
          </a:solidFill>
          <a:ln w="139700" cap="rnd">
            <a:solidFill>
              <a:schemeClr val="tx2"/>
            </a:solidFill>
          </a:ln>
        </p:spPr>
        <p:txBody>
          <a:bodyPr lIns="180000" tIns="288000" rIns="180000" bIns="180000"/>
          <a:lstStyle>
            <a:lvl1pPr marL="0" indent="0" algn="ctr">
              <a:spcBef>
                <a:spcPts val="0"/>
              </a:spcBef>
              <a:spcAft>
                <a:spcPts val="0"/>
              </a:spcAft>
              <a:buFont typeface="Arial" panose="020B0604020202020204" pitchFamily="34" charset="0"/>
              <a:buNone/>
              <a:defRPr sz="2000" b="0"/>
            </a:lvl1pPr>
            <a:lvl2pPr marL="0" indent="0" algn="ctr">
              <a:spcBef>
                <a:spcPts val="0"/>
              </a:spcBef>
              <a:spcAft>
                <a:spcPts val="0"/>
              </a:spcAft>
              <a:buFont typeface="Arial" panose="020B0604020202020204" pitchFamily="34" charset="0"/>
              <a:buNone/>
              <a:defRPr sz="2000"/>
            </a:lvl2pPr>
            <a:lvl3pPr marL="0" indent="0" algn="ctr">
              <a:spcBef>
                <a:spcPts val="0"/>
              </a:spcBef>
              <a:spcAft>
                <a:spcPts val="0"/>
              </a:spcAft>
              <a:buFont typeface="Arial" panose="020B0604020202020204" pitchFamily="34" charset="0"/>
              <a:buNone/>
              <a:defRPr sz="2000"/>
            </a:lvl3pPr>
            <a:lvl4pPr marL="0" indent="0" algn="ctr">
              <a:spcBef>
                <a:spcPts val="0"/>
              </a:spcBef>
              <a:spcAft>
                <a:spcPts val="0"/>
              </a:spcAft>
              <a:buFont typeface="Arial" panose="020B0604020202020204" pitchFamily="34" charset="0"/>
              <a:buNone/>
              <a:defRPr sz="2000"/>
            </a:lvl4pPr>
            <a:lvl5pPr marL="0" indent="0" algn="ctr">
              <a:spcBef>
                <a:spcPts val="0"/>
              </a:spcBef>
              <a:spcAft>
                <a:spcPts val="0"/>
              </a:spcAft>
              <a:buFont typeface="Arial" panose="020B0604020202020204" pitchFamily="34" charset="0"/>
              <a:buNone/>
              <a:defRPr sz="2000"/>
            </a:lvl5pPr>
            <a:lvl6pPr marL="0" indent="0" algn="ctr">
              <a:spcBef>
                <a:spcPts val="0"/>
              </a:spcBef>
              <a:spcAft>
                <a:spcPts val="0"/>
              </a:spcAft>
              <a:buFont typeface="Arial" panose="020B0604020202020204" pitchFamily="34" charset="0"/>
              <a:buNone/>
              <a:defRPr sz="2000"/>
            </a:lvl6pPr>
            <a:lvl7pPr marL="0" indent="0" algn="ctr">
              <a:spcBef>
                <a:spcPts val="0"/>
              </a:spcBef>
              <a:spcAft>
                <a:spcPts val="0"/>
              </a:spcAft>
              <a:buFont typeface="Arial" panose="020B0604020202020204" pitchFamily="34" charset="0"/>
              <a:buNone/>
              <a:defRPr sz="2000"/>
            </a:lvl7pPr>
            <a:lvl8pPr marL="0" indent="0" algn="ctr">
              <a:spcBef>
                <a:spcPts val="0"/>
              </a:spcBef>
              <a:spcAft>
                <a:spcPts val="0"/>
              </a:spcAft>
              <a:buFont typeface="Arial" panose="020B0604020202020204" pitchFamily="34" charset="0"/>
              <a:buNone/>
              <a:defRPr sz="2000"/>
            </a:lvl8pPr>
            <a:lvl9pPr marL="0" indent="0" algn="ctr">
              <a:spcBef>
                <a:spcPts val="0"/>
              </a:spcBef>
              <a:spcAft>
                <a:spcPts val="0"/>
              </a:spcAft>
              <a:buFont typeface="Arial" panose="020B0604020202020204" pitchFamily="34" charset="0"/>
              <a:buNone/>
              <a:defRPr sz="2000"/>
            </a:lvl9pPr>
          </a:lstStyle>
          <a:p>
            <a:pPr lvl="0"/>
            <a:r>
              <a:rPr lang="de-DE" noProof="0"/>
              <a:t>Use this field to enter text.</a:t>
            </a:r>
          </a:p>
          <a:p>
            <a:pPr lvl="1"/>
            <a:r>
              <a:rPr lang="de-DE" noProof="0"/>
              <a:t>2. level</a:t>
            </a:r>
          </a:p>
          <a:p>
            <a:pPr lvl="2"/>
            <a:r>
              <a:rPr lang="de-DE" noProof="0"/>
              <a:t>3. level</a:t>
            </a:r>
          </a:p>
          <a:p>
            <a:pPr lvl="3"/>
            <a:r>
              <a:rPr lang="de-DE" noProof="0"/>
              <a:t>4. level</a:t>
            </a:r>
          </a:p>
          <a:p>
            <a:pPr lvl="4"/>
            <a:r>
              <a:rPr lang="de-DE" noProof="0"/>
              <a:t>5. level</a:t>
            </a:r>
          </a:p>
          <a:p>
            <a:pPr lvl="5"/>
            <a:r>
              <a:rPr lang="de-DE" noProof="0"/>
              <a:t>6. level</a:t>
            </a:r>
          </a:p>
          <a:p>
            <a:pPr lvl="6"/>
            <a:r>
              <a:rPr lang="de-DE" noProof="0"/>
              <a:t>7. level</a:t>
            </a:r>
          </a:p>
          <a:p>
            <a:pPr lvl="7"/>
            <a:r>
              <a:rPr lang="de-DE" noProof="0"/>
              <a:t>8. level</a:t>
            </a:r>
          </a:p>
          <a:p>
            <a:pPr lvl="8"/>
            <a:r>
              <a:rPr lang="de-DE" noProof="0"/>
              <a:t>9. level</a:t>
            </a:r>
          </a:p>
          <a:p>
            <a:pPr lvl="4"/>
            <a:endParaRPr lang="de-DE" noProof="0"/>
          </a:p>
        </p:txBody>
      </p:sp>
      <p:sp>
        <p:nvSpPr>
          <p:cNvPr id="15" name="Textplatzhalter 4">
            <a:extLst>
              <a:ext uri="{FF2B5EF4-FFF2-40B4-BE49-F238E27FC236}">
                <a16:creationId xmlns:a16="http://schemas.microsoft.com/office/drawing/2014/main" id="{C2978127-8567-48AD-1CA6-435913412131}"/>
              </a:ext>
            </a:extLst>
          </p:cNvPr>
          <p:cNvSpPr>
            <a:spLocks noGrp="1"/>
          </p:cNvSpPr>
          <p:nvPr>
            <p:ph type="body" sz="quarter" idx="22" hasCustomPrompt="1"/>
          </p:nvPr>
        </p:nvSpPr>
        <p:spPr bwMode="gray">
          <a:xfrm>
            <a:off x="8076220" y="3392996"/>
            <a:ext cx="2952328" cy="2124236"/>
          </a:xfrm>
          <a:prstGeom prst="rect">
            <a:avLst/>
          </a:prstGeom>
          <a:solidFill>
            <a:schemeClr val="tx2"/>
          </a:solidFill>
          <a:ln w="139700" cap="rnd">
            <a:solidFill>
              <a:schemeClr val="tx2"/>
            </a:solidFill>
          </a:ln>
        </p:spPr>
        <p:txBody>
          <a:bodyPr lIns="180000" tIns="288000" rIns="180000" bIns="180000"/>
          <a:lstStyle>
            <a:lvl1pPr marL="0" indent="0" algn="ctr">
              <a:spcBef>
                <a:spcPts val="0"/>
              </a:spcBef>
              <a:spcAft>
                <a:spcPts val="0"/>
              </a:spcAft>
              <a:buFont typeface="Arial" panose="020B0604020202020204" pitchFamily="34" charset="0"/>
              <a:buNone/>
              <a:defRPr sz="2000" b="0"/>
            </a:lvl1pPr>
            <a:lvl2pPr marL="0" indent="0" algn="ctr">
              <a:spcBef>
                <a:spcPts val="0"/>
              </a:spcBef>
              <a:spcAft>
                <a:spcPts val="0"/>
              </a:spcAft>
              <a:buFont typeface="Arial" panose="020B0604020202020204" pitchFamily="34" charset="0"/>
              <a:buNone/>
              <a:defRPr sz="2000"/>
            </a:lvl2pPr>
            <a:lvl3pPr marL="0" indent="0" algn="ctr">
              <a:spcBef>
                <a:spcPts val="0"/>
              </a:spcBef>
              <a:spcAft>
                <a:spcPts val="0"/>
              </a:spcAft>
              <a:buFont typeface="Arial" panose="020B0604020202020204" pitchFamily="34" charset="0"/>
              <a:buNone/>
              <a:defRPr sz="2000"/>
            </a:lvl3pPr>
            <a:lvl4pPr marL="0" indent="0" algn="ctr">
              <a:spcBef>
                <a:spcPts val="0"/>
              </a:spcBef>
              <a:spcAft>
                <a:spcPts val="0"/>
              </a:spcAft>
              <a:buFont typeface="Arial" panose="020B0604020202020204" pitchFamily="34" charset="0"/>
              <a:buNone/>
              <a:defRPr sz="2000"/>
            </a:lvl4pPr>
            <a:lvl5pPr marL="0" indent="0" algn="ctr">
              <a:spcBef>
                <a:spcPts val="0"/>
              </a:spcBef>
              <a:spcAft>
                <a:spcPts val="0"/>
              </a:spcAft>
              <a:buFont typeface="Arial" panose="020B0604020202020204" pitchFamily="34" charset="0"/>
              <a:buNone/>
              <a:defRPr sz="2000"/>
            </a:lvl5pPr>
            <a:lvl6pPr marL="0" indent="0" algn="ctr">
              <a:spcBef>
                <a:spcPts val="0"/>
              </a:spcBef>
              <a:spcAft>
                <a:spcPts val="0"/>
              </a:spcAft>
              <a:buFont typeface="Arial" panose="020B0604020202020204" pitchFamily="34" charset="0"/>
              <a:buNone/>
              <a:defRPr sz="2000"/>
            </a:lvl6pPr>
            <a:lvl7pPr marL="0" indent="0" algn="ctr">
              <a:spcBef>
                <a:spcPts val="0"/>
              </a:spcBef>
              <a:spcAft>
                <a:spcPts val="0"/>
              </a:spcAft>
              <a:buFont typeface="Arial" panose="020B0604020202020204" pitchFamily="34" charset="0"/>
              <a:buNone/>
              <a:defRPr sz="2000"/>
            </a:lvl7pPr>
            <a:lvl8pPr marL="0" indent="0" algn="ctr">
              <a:spcBef>
                <a:spcPts val="0"/>
              </a:spcBef>
              <a:spcAft>
                <a:spcPts val="0"/>
              </a:spcAft>
              <a:buFont typeface="Arial" panose="020B0604020202020204" pitchFamily="34" charset="0"/>
              <a:buNone/>
              <a:defRPr sz="2000"/>
            </a:lvl8pPr>
            <a:lvl9pPr marL="0" indent="0" algn="ctr">
              <a:spcBef>
                <a:spcPts val="0"/>
              </a:spcBef>
              <a:spcAft>
                <a:spcPts val="0"/>
              </a:spcAft>
              <a:buFont typeface="Arial" panose="020B0604020202020204" pitchFamily="34" charset="0"/>
              <a:buNone/>
              <a:defRPr sz="2000"/>
            </a:lvl9pPr>
          </a:lstStyle>
          <a:p>
            <a:pPr lvl="0"/>
            <a:r>
              <a:rPr lang="de-DE" noProof="0"/>
              <a:t>Use this field to enter text.</a:t>
            </a:r>
          </a:p>
          <a:p>
            <a:pPr lvl="1"/>
            <a:r>
              <a:rPr lang="de-DE" noProof="0"/>
              <a:t>2. level</a:t>
            </a:r>
          </a:p>
          <a:p>
            <a:pPr lvl="2"/>
            <a:r>
              <a:rPr lang="de-DE" noProof="0"/>
              <a:t>3. level</a:t>
            </a:r>
          </a:p>
          <a:p>
            <a:pPr lvl="3"/>
            <a:r>
              <a:rPr lang="de-DE" noProof="0"/>
              <a:t>4. level</a:t>
            </a:r>
          </a:p>
          <a:p>
            <a:pPr lvl="4"/>
            <a:r>
              <a:rPr lang="de-DE" noProof="0"/>
              <a:t>5. level</a:t>
            </a:r>
          </a:p>
          <a:p>
            <a:pPr lvl="5"/>
            <a:r>
              <a:rPr lang="de-DE" noProof="0"/>
              <a:t>6. level</a:t>
            </a:r>
          </a:p>
          <a:p>
            <a:pPr lvl="6"/>
            <a:r>
              <a:rPr lang="de-DE" noProof="0"/>
              <a:t>7. level</a:t>
            </a:r>
          </a:p>
          <a:p>
            <a:pPr lvl="7"/>
            <a:r>
              <a:rPr lang="de-DE" noProof="0"/>
              <a:t>8. level</a:t>
            </a:r>
          </a:p>
          <a:p>
            <a:pPr lvl="8"/>
            <a:r>
              <a:rPr lang="de-DE" noProof="0"/>
              <a:t>9. level</a:t>
            </a:r>
          </a:p>
          <a:p>
            <a:pPr lvl="4"/>
            <a:endParaRPr lang="de-DE" noProof="0"/>
          </a:p>
        </p:txBody>
      </p:sp>
      <p:sp>
        <p:nvSpPr>
          <p:cNvPr id="9" name="Bildplatzhalter 5"/>
          <p:cNvSpPr>
            <a:spLocks noGrp="1"/>
          </p:cNvSpPr>
          <p:nvPr>
            <p:ph type="pic" sz="quarter" idx="13" hasCustomPrompt="1"/>
          </p:nvPr>
        </p:nvSpPr>
        <p:spPr bwMode="gray">
          <a:xfrm>
            <a:off x="1092200" y="1628774"/>
            <a:ext cx="3096000" cy="1836229"/>
          </a:xfrm>
          <a:prstGeom prst="round2SameRect">
            <a:avLst>
              <a:gd name="adj1" fmla="val 7636"/>
              <a:gd name="adj2" fmla="val 0"/>
            </a:avLst>
          </a:prstGeom>
          <a:solidFill>
            <a:schemeClr val="bg1">
              <a:lumMod val="95000"/>
            </a:schemeClr>
          </a:solidFill>
        </p:spPr>
        <p:txBody>
          <a:bodyPr tIns="864000" anchor="ctr"/>
          <a:lstStyle>
            <a:lvl1pPr algn="ctr">
              <a:spcBef>
                <a:spcPts val="0"/>
              </a:spcBef>
              <a:spcAft>
                <a:spcPts val="0"/>
              </a:spcAft>
              <a:defRPr sz="1200"/>
            </a:lvl1pPr>
          </a:lstStyle>
          <a:p>
            <a:r>
              <a:rPr lang="de-DE" noProof="0"/>
              <a:t> </a:t>
            </a:r>
          </a:p>
        </p:txBody>
      </p:sp>
      <p:sp>
        <p:nvSpPr>
          <p:cNvPr id="3" name="Fußzeilenplatzhalter 2">
            <a:extLst>
              <a:ext uri="{FF2B5EF4-FFF2-40B4-BE49-F238E27FC236}">
                <a16:creationId xmlns:a16="http://schemas.microsoft.com/office/drawing/2014/main" id="{0DA7C3BC-91E5-6B25-2691-E88A16607808}"/>
              </a:ext>
            </a:extLst>
          </p:cNvPr>
          <p:cNvSpPr>
            <a:spLocks noGrp="1"/>
          </p:cNvSpPr>
          <p:nvPr>
            <p:ph type="ftr" sz="quarter" idx="17"/>
          </p:nvPr>
        </p:nvSpPr>
        <p:spPr bwMode="gray"/>
        <p:txBody>
          <a:bodyPr/>
          <a:lstStyle/>
          <a:p>
            <a:r>
              <a:rPr lang="de-DE"/>
              <a:t>Date dd.mm.yyyy  |  Security label</a:t>
            </a:r>
          </a:p>
        </p:txBody>
      </p:sp>
      <p:sp>
        <p:nvSpPr>
          <p:cNvPr id="6" name="Titel 5">
            <a:extLst>
              <a:ext uri="{FF2B5EF4-FFF2-40B4-BE49-F238E27FC236}">
                <a16:creationId xmlns:a16="http://schemas.microsoft.com/office/drawing/2014/main" id="{BE369E4D-2EDC-2584-C5A7-4CF771126B50}"/>
              </a:ext>
            </a:extLst>
          </p:cNvPr>
          <p:cNvSpPr>
            <a:spLocks noGrp="1"/>
          </p:cNvSpPr>
          <p:nvPr>
            <p:ph type="title" hasCustomPrompt="1"/>
          </p:nvPr>
        </p:nvSpPr>
        <p:spPr bwMode="gray"/>
        <p:txBody>
          <a:bodyPr/>
          <a:lstStyle/>
          <a:p>
            <a:r>
              <a:rPr lang="de-DE" noProof="0"/>
              <a:t>Headline (max. 2 lines) </a:t>
            </a:r>
            <a:endParaRPr lang="de-DE"/>
          </a:p>
        </p:txBody>
      </p:sp>
      <p:sp>
        <p:nvSpPr>
          <p:cNvPr id="8" name="Bildplatzhalter 5">
            <a:extLst>
              <a:ext uri="{FF2B5EF4-FFF2-40B4-BE49-F238E27FC236}">
                <a16:creationId xmlns:a16="http://schemas.microsoft.com/office/drawing/2014/main" id="{EC1B3147-4DF0-040C-8D2B-6BEAAC86436F}"/>
              </a:ext>
            </a:extLst>
          </p:cNvPr>
          <p:cNvSpPr>
            <a:spLocks noGrp="1"/>
          </p:cNvSpPr>
          <p:nvPr>
            <p:ph type="pic" sz="quarter" idx="19" hasCustomPrompt="1"/>
          </p:nvPr>
        </p:nvSpPr>
        <p:spPr bwMode="gray">
          <a:xfrm>
            <a:off x="4548172" y="1628775"/>
            <a:ext cx="3096000" cy="1836229"/>
          </a:xfrm>
          <a:prstGeom prst="round2SameRect">
            <a:avLst>
              <a:gd name="adj1" fmla="val 7636"/>
              <a:gd name="adj2" fmla="val 0"/>
            </a:avLst>
          </a:prstGeom>
          <a:solidFill>
            <a:schemeClr val="bg1">
              <a:lumMod val="95000"/>
            </a:schemeClr>
          </a:solidFill>
        </p:spPr>
        <p:txBody>
          <a:bodyPr tIns="864000" anchor="ctr"/>
          <a:lstStyle>
            <a:lvl1pPr algn="ctr">
              <a:spcBef>
                <a:spcPts val="0"/>
              </a:spcBef>
              <a:spcAft>
                <a:spcPts val="0"/>
              </a:spcAft>
              <a:defRPr sz="1200"/>
            </a:lvl1pPr>
          </a:lstStyle>
          <a:p>
            <a:r>
              <a:rPr lang="de-DE" noProof="0"/>
              <a:t> </a:t>
            </a:r>
          </a:p>
        </p:txBody>
      </p:sp>
      <p:sp>
        <p:nvSpPr>
          <p:cNvPr id="14" name="Bildplatzhalter 5">
            <a:extLst>
              <a:ext uri="{FF2B5EF4-FFF2-40B4-BE49-F238E27FC236}">
                <a16:creationId xmlns:a16="http://schemas.microsoft.com/office/drawing/2014/main" id="{DAD637D1-8B71-49EA-B6A9-BB739F7CBFBE}"/>
              </a:ext>
            </a:extLst>
          </p:cNvPr>
          <p:cNvSpPr>
            <a:spLocks noGrp="1"/>
          </p:cNvSpPr>
          <p:nvPr>
            <p:ph type="pic" sz="quarter" idx="21" hasCustomPrompt="1"/>
          </p:nvPr>
        </p:nvSpPr>
        <p:spPr bwMode="gray">
          <a:xfrm>
            <a:off x="8004556" y="1628774"/>
            <a:ext cx="3096000" cy="1836229"/>
          </a:xfrm>
          <a:prstGeom prst="round2SameRect">
            <a:avLst>
              <a:gd name="adj1" fmla="val 7636"/>
              <a:gd name="adj2" fmla="val 0"/>
            </a:avLst>
          </a:prstGeom>
          <a:solidFill>
            <a:schemeClr val="bg1">
              <a:lumMod val="95000"/>
            </a:schemeClr>
          </a:solidFill>
        </p:spPr>
        <p:txBody>
          <a:bodyPr tIns="864000" anchor="ctr"/>
          <a:lstStyle>
            <a:lvl1pPr algn="ctr">
              <a:spcBef>
                <a:spcPts val="0"/>
              </a:spcBef>
              <a:spcAft>
                <a:spcPts val="0"/>
              </a:spcAft>
              <a:defRPr sz="1200"/>
            </a:lvl1pPr>
          </a:lstStyle>
          <a:p>
            <a:r>
              <a:rPr lang="de-DE" noProof="0"/>
              <a:t> </a:t>
            </a:r>
          </a:p>
        </p:txBody>
      </p:sp>
      <p:sp>
        <p:nvSpPr>
          <p:cNvPr id="2" name="Slide Number Placeholder 1">
            <a:extLst>
              <a:ext uri="{FF2B5EF4-FFF2-40B4-BE49-F238E27FC236}">
                <a16:creationId xmlns:a16="http://schemas.microsoft.com/office/drawing/2014/main" id="{DB397C13-19F4-C893-992D-2529EF2FC2A0}"/>
              </a:ext>
            </a:extLst>
          </p:cNvPr>
          <p:cNvSpPr>
            <a:spLocks noGrp="1"/>
          </p:cNvSpPr>
          <p:nvPr>
            <p:ph type="sldNum" sz="quarter" idx="23"/>
          </p:nvPr>
        </p:nvSpPr>
        <p:spPr/>
        <p:txBody>
          <a:bodyPr/>
          <a:lstStyle/>
          <a:p>
            <a:fld id="{44661A95-0089-4306-9485-D330C59FE3ED}" type="slidenum">
              <a:rPr lang="de-DE" smtClean="0"/>
              <a:pPr/>
              <a:t>‹#›</a:t>
            </a:fld>
            <a:endParaRPr lang="de-DE"/>
          </a:p>
        </p:txBody>
      </p:sp>
    </p:spTree>
    <p:extLst>
      <p:ext uri="{BB962C8B-B14F-4D97-AF65-F5344CB8AC3E}">
        <p14:creationId xmlns:p14="http://schemas.microsoft.com/office/powerpoint/2010/main" val="8546833"/>
      </p:ext>
    </p:extLst>
  </p:cSld>
  <p:clrMapOvr>
    <a:masterClrMapping/>
  </p:clrMapOvr>
  <p:extLst>
    <p:ext uri="{DCECCB84-F9BA-43D5-87BE-67443E8EF086}">
      <p15:sldGuideLst xmlns:p15="http://schemas.microsoft.com/office/powerpoint/2012/main"/>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Statement with picture | 1">
    <p:spTree>
      <p:nvGrpSpPr>
        <p:cNvPr id="1" name=""/>
        <p:cNvGrpSpPr/>
        <p:nvPr/>
      </p:nvGrpSpPr>
      <p:grpSpPr>
        <a:xfrm>
          <a:off x="0" y="0"/>
          <a:ext cx="0" cy="0"/>
          <a:chOff x="0" y="0"/>
          <a:chExt cx="0" cy="0"/>
        </a:xfrm>
      </p:grpSpPr>
      <p:sp>
        <p:nvSpPr>
          <p:cNvPr id="16" name="Bildplatzhalter 15">
            <a:extLst>
              <a:ext uri="{FF2B5EF4-FFF2-40B4-BE49-F238E27FC236}">
                <a16:creationId xmlns:a16="http://schemas.microsoft.com/office/drawing/2014/main" id="{1528CFBE-962A-A6AE-7264-41A3C494CE7B}"/>
              </a:ext>
            </a:extLst>
          </p:cNvPr>
          <p:cNvSpPr>
            <a:spLocks noGrp="1"/>
          </p:cNvSpPr>
          <p:nvPr>
            <p:ph type="pic" sz="quarter" idx="13" hasCustomPrompt="1"/>
          </p:nvPr>
        </p:nvSpPr>
        <p:spPr bwMode="gray">
          <a:xfrm>
            <a:off x="5205413" y="0"/>
            <a:ext cx="6987795" cy="6858000"/>
          </a:xfrm>
          <a:custGeom>
            <a:avLst/>
            <a:gdLst>
              <a:gd name="connsiteX0" fmla="*/ 5084839 w 6987795"/>
              <a:gd name="connsiteY0" fmla="*/ 0 h 6858000"/>
              <a:gd name="connsiteX1" fmla="*/ 6987795 w 6987795"/>
              <a:gd name="connsiteY1" fmla="*/ 0 h 6858000"/>
              <a:gd name="connsiteX2" fmla="*/ 6987795 w 6987795"/>
              <a:gd name="connsiteY2" fmla="*/ 6858000 h 6858000"/>
              <a:gd name="connsiteX3" fmla="*/ 0 w 6987795"/>
              <a:gd name="connsiteY3" fmla="*/ 6858000 h 6858000"/>
              <a:gd name="connsiteX4" fmla="*/ 1715 w 6987795"/>
              <a:gd name="connsiteY4" fmla="*/ 6847777 h 6858000"/>
              <a:gd name="connsiteX5" fmla="*/ 2541 w 6987795"/>
              <a:gd name="connsiteY5" fmla="*/ 6842824 h 6858000"/>
              <a:gd name="connsiteX6" fmla="*/ 6161 w 6987795"/>
              <a:gd name="connsiteY6" fmla="*/ 6824345 h 6858000"/>
              <a:gd name="connsiteX7" fmla="*/ 692816 w 6987795"/>
              <a:gd name="connsiteY7" fmla="*/ 3524250 h 6858000"/>
              <a:gd name="connsiteX8" fmla="*/ 703676 w 6987795"/>
              <a:gd name="connsiteY8" fmla="*/ 3471990 h 6858000"/>
              <a:gd name="connsiteX9" fmla="*/ 710981 w 6987795"/>
              <a:gd name="connsiteY9" fmla="*/ 3436938 h 6858000"/>
              <a:gd name="connsiteX10" fmla="*/ 1054594 w 6987795"/>
              <a:gd name="connsiteY10" fmla="*/ 1785366 h 6858000"/>
              <a:gd name="connsiteX11" fmla="*/ 1057325 w 6987795"/>
              <a:gd name="connsiteY11" fmla="*/ 1772158 h 6858000"/>
              <a:gd name="connsiteX12" fmla="*/ 1368546 w 6987795"/>
              <a:gd name="connsiteY12" fmla="*/ 1307656 h 6858000"/>
              <a:gd name="connsiteX13" fmla="*/ 1423486 w 6987795"/>
              <a:gd name="connsiteY13" fmla="*/ 1273302 h 6858000"/>
              <a:gd name="connsiteX14" fmla="*/ 1432378 w 6987795"/>
              <a:gd name="connsiteY14" fmla="*/ 1268159 h 6858000"/>
              <a:gd name="connsiteX15" fmla="*/ 1993845 w 6987795"/>
              <a:gd name="connsiteY15" fmla="*/ 1054608 h 6858000"/>
              <a:gd name="connsiteX16" fmla="*/ 2888573 w 6987795"/>
              <a:gd name="connsiteY16" fmla="*/ 748665 h 6858000"/>
              <a:gd name="connsiteX17" fmla="*/ 3333111 w 6987795"/>
              <a:gd name="connsiteY17" fmla="*/ 598107 h 6858000"/>
              <a:gd name="connsiteX18" fmla="*/ 4254832 w 6987795"/>
              <a:gd name="connsiteY18" fmla="*/ 283147 h 6858000"/>
              <a:gd name="connsiteX19" fmla="*/ 4254832 w 6987795"/>
              <a:gd name="connsiteY19" fmla="*/ 283210 h 6858000"/>
              <a:gd name="connsiteX20" fmla="*/ 4575580 w 6987795"/>
              <a:gd name="connsiteY20" fmla="*/ 173736 h 6858000"/>
              <a:gd name="connsiteX21" fmla="*/ 5084839 w 6987795"/>
              <a:gd name="connsiteY21"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6987795" h="6858000">
                <a:moveTo>
                  <a:pt x="5084839" y="0"/>
                </a:moveTo>
                <a:lnTo>
                  <a:pt x="6987795" y="0"/>
                </a:lnTo>
                <a:lnTo>
                  <a:pt x="6987795" y="6858000"/>
                </a:lnTo>
                <a:lnTo>
                  <a:pt x="0" y="6858000"/>
                </a:lnTo>
                <a:cubicBezTo>
                  <a:pt x="572" y="6854571"/>
                  <a:pt x="1143" y="6851206"/>
                  <a:pt x="1715" y="6847777"/>
                </a:cubicBezTo>
                <a:cubicBezTo>
                  <a:pt x="1969" y="6846126"/>
                  <a:pt x="2223" y="6844475"/>
                  <a:pt x="2541" y="6842824"/>
                </a:cubicBezTo>
                <a:cubicBezTo>
                  <a:pt x="3684" y="6836664"/>
                  <a:pt x="4891" y="6830505"/>
                  <a:pt x="6161" y="6824345"/>
                </a:cubicBezTo>
                <a:cubicBezTo>
                  <a:pt x="6161" y="6824345"/>
                  <a:pt x="389153" y="4983544"/>
                  <a:pt x="692816" y="3524250"/>
                </a:cubicBezTo>
                <a:cubicBezTo>
                  <a:pt x="696436" y="3506788"/>
                  <a:pt x="700056" y="3489325"/>
                  <a:pt x="703676" y="3471990"/>
                </a:cubicBezTo>
                <a:cubicBezTo>
                  <a:pt x="706154" y="3460306"/>
                  <a:pt x="708567" y="3448622"/>
                  <a:pt x="710981" y="3436938"/>
                </a:cubicBezTo>
                <a:cubicBezTo>
                  <a:pt x="887297" y="2589403"/>
                  <a:pt x="1033062" y="1888871"/>
                  <a:pt x="1054594" y="1785366"/>
                </a:cubicBezTo>
                <a:cubicBezTo>
                  <a:pt x="1056372" y="1776667"/>
                  <a:pt x="1057325" y="1772158"/>
                  <a:pt x="1057325" y="1772158"/>
                </a:cubicBezTo>
                <a:cubicBezTo>
                  <a:pt x="1096767" y="1554163"/>
                  <a:pt x="1214714" y="1410716"/>
                  <a:pt x="1368546" y="1307656"/>
                </a:cubicBezTo>
                <a:cubicBezTo>
                  <a:pt x="1386393" y="1295654"/>
                  <a:pt x="1404749" y="1284224"/>
                  <a:pt x="1423486" y="1273302"/>
                </a:cubicBezTo>
                <a:cubicBezTo>
                  <a:pt x="1426471" y="1271588"/>
                  <a:pt x="1429392" y="1269873"/>
                  <a:pt x="1432378" y="1268159"/>
                </a:cubicBezTo>
                <a:cubicBezTo>
                  <a:pt x="1602787" y="1170877"/>
                  <a:pt x="1806224" y="1112774"/>
                  <a:pt x="1993845" y="1054608"/>
                </a:cubicBezTo>
                <a:cubicBezTo>
                  <a:pt x="2291791" y="951992"/>
                  <a:pt x="2590119" y="850075"/>
                  <a:pt x="2888573" y="748665"/>
                </a:cubicBezTo>
                <a:cubicBezTo>
                  <a:pt x="3036689" y="698373"/>
                  <a:pt x="3184868" y="648145"/>
                  <a:pt x="3333111" y="598107"/>
                </a:cubicBezTo>
                <a:cubicBezTo>
                  <a:pt x="3640330" y="493014"/>
                  <a:pt x="3947549" y="388049"/>
                  <a:pt x="4254832" y="283147"/>
                </a:cubicBezTo>
                <a:lnTo>
                  <a:pt x="4254832" y="283210"/>
                </a:lnTo>
                <a:cubicBezTo>
                  <a:pt x="4361727" y="246697"/>
                  <a:pt x="4468685" y="210249"/>
                  <a:pt x="4575580" y="173736"/>
                </a:cubicBezTo>
                <a:cubicBezTo>
                  <a:pt x="4745354" y="115761"/>
                  <a:pt x="4915065" y="57848"/>
                  <a:pt x="5084839" y="0"/>
                </a:cubicBezTo>
                <a:close/>
              </a:path>
            </a:pathLst>
          </a:custGeom>
          <a:solidFill>
            <a:schemeClr val="bg1">
              <a:lumMod val="95000"/>
            </a:schemeClr>
          </a:solidFill>
        </p:spPr>
        <p:txBody>
          <a:bodyPr wrap="square" tIns="864000" anchor="ctr">
            <a:noAutofit/>
          </a:bodyPr>
          <a:lstStyle>
            <a:lvl1pPr algn="ctr">
              <a:spcBef>
                <a:spcPts val="0"/>
              </a:spcBef>
              <a:spcAft>
                <a:spcPts val="0"/>
              </a:spcAft>
              <a:defRPr sz="1200"/>
            </a:lvl1pPr>
          </a:lstStyle>
          <a:p>
            <a:r>
              <a:rPr lang="de-DE" noProof="0"/>
              <a:t> </a:t>
            </a:r>
          </a:p>
        </p:txBody>
      </p:sp>
      <p:sp>
        <p:nvSpPr>
          <p:cNvPr id="3" name="Fußzeilenplatzhalter 2">
            <a:extLst>
              <a:ext uri="{FF2B5EF4-FFF2-40B4-BE49-F238E27FC236}">
                <a16:creationId xmlns:a16="http://schemas.microsoft.com/office/drawing/2014/main" id="{623D00F7-8C18-A586-2A9F-A786948C036A}"/>
              </a:ext>
            </a:extLst>
          </p:cNvPr>
          <p:cNvSpPr>
            <a:spLocks noGrp="1"/>
          </p:cNvSpPr>
          <p:nvPr>
            <p:ph type="ftr" sz="quarter" idx="15"/>
          </p:nvPr>
        </p:nvSpPr>
        <p:spPr bwMode="gray"/>
        <p:txBody>
          <a:bodyPr/>
          <a:lstStyle/>
          <a:p>
            <a:r>
              <a:rPr lang="de-DE"/>
              <a:t>Date dd.mm.yyyy  |  Security label</a:t>
            </a:r>
          </a:p>
        </p:txBody>
      </p:sp>
      <p:sp>
        <p:nvSpPr>
          <p:cNvPr id="6" name="Titel 5">
            <a:extLst>
              <a:ext uri="{FF2B5EF4-FFF2-40B4-BE49-F238E27FC236}">
                <a16:creationId xmlns:a16="http://schemas.microsoft.com/office/drawing/2014/main" id="{DAB1CA6A-0175-6FFC-DB0C-6065B00CC521}"/>
              </a:ext>
            </a:extLst>
          </p:cNvPr>
          <p:cNvSpPr>
            <a:spLocks noGrp="1"/>
          </p:cNvSpPr>
          <p:nvPr>
            <p:ph type="title" hasCustomPrompt="1"/>
          </p:nvPr>
        </p:nvSpPr>
        <p:spPr bwMode="gray">
          <a:xfrm>
            <a:off x="1092200" y="789687"/>
            <a:ext cx="4895850" cy="604039"/>
          </a:xfrm>
        </p:spPr>
        <p:txBody>
          <a:bodyPr lIns="0" tIns="0" rIns="0" bIns="0"/>
          <a:lstStyle>
            <a:lvl1pPr>
              <a:defRPr/>
            </a:lvl1pPr>
          </a:lstStyle>
          <a:p>
            <a:r>
              <a:rPr lang="de-DE" noProof="0"/>
              <a:t>Headline (1 line) </a:t>
            </a:r>
            <a:endParaRPr lang="de-DE"/>
          </a:p>
        </p:txBody>
      </p:sp>
      <p:sp>
        <p:nvSpPr>
          <p:cNvPr id="14" name="Textplatzhalter 4">
            <a:extLst>
              <a:ext uri="{FF2B5EF4-FFF2-40B4-BE49-F238E27FC236}">
                <a16:creationId xmlns:a16="http://schemas.microsoft.com/office/drawing/2014/main" id="{1FDFDF76-1EE0-0549-116C-A1D6684844C9}"/>
              </a:ext>
            </a:extLst>
          </p:cNvPr>
          <p:cNvSpPr>
            <a:spLocks noGrp="1"/>
          </p:cNvSpPr>
          <p:nvPr>
            <p:ph type="body" sz="quarter" idx="17" hasCustomPrompt="1"/>
          </p:nvPr>
        </p:nvSpPr>
        <p:spPr bwMode="gray">
          <a:xfrm>
            <a:off x="1092200" y="1628775"/>
            <a:ext cx="3959683" cy="4429126"/>
          </a:xfrm>
          <a:prstGeom prst="rect">
            <a:avLst/>
          </a:prstGeom>
        </p:spPr>
        <p:txBody>
          <a:bodyPr lIns="0" tIns="0" rIns="0" bIns="0"/>
          <a:lstStyle>
            <a:lvl1pPr>
              <a:defRPr/>
            </a:lvl1pPr>
            <a:lvl2pPr>
              <a:defRPr/>
            </a:lvl2pPr>
            <a:lvl3pPr>
              <a:defRPr/>
            </a:lvl3pPr>
            <a:lvl4pPr>
              <a:defRPr/>
            </a:lvl4pPr>
            <a:lvl5pPr>
              <a:defRPr/>
            </a:lvl5pPr>
            <a:lvl6pPr>
              <a:defRPr/>
            </a:lvl6pPr>
          </a:lstStyle>
          <a:p>
            <a:pPr lvl="0"/>
            <a:r>
              <a:rPr lang="de-DE" noProof="0"/>
              <a:t>You can use this field to enter text, a table, a diagram or SmartArts. Use the buttons “increase list level” for copytext or bullet levels. Use the icons below to create visual content.</a:t>
            </a:r>
          </a:p>
        </p:txBody>
      </p:sp>
      <p:sp>
        <p:nvSpPr>
          <p:cNvPr id="17" name="Textplatzhalter 16">
            <a:extLst>
              <a:ext uri="{FF2B5EF4-FFF2-40B4-BE49-F238E27FC236}">
                <a16:creationId xmlns:a16="http://schemas.microsoft.com/office/drawing/2014/main" id="{1E08799C-2685-83F7-D5FC-8E57ACB8EF97}"/>
              </a:ext>
            </a:extLst>
          </p:cNvPr>
          <p:cNvSpPr>
            <a:spLocks noGrp="1"/>
          </p:cNvSpPr>
          <p:nvPr>
            <p:ph type="body" sz="quarter" idx="18" hasCustomPrompt="1"/>
          </p:nvPr>
        </p:nvSpPr>
        <p:spPr bwMode="gray">
          <a:xfrm>
            <a:off x="11352648" y="307218"/>
            <a:ext cx="576000" cy="313200"/>
          </a:xfrm>
          <a:custGeom>
            <a:avLst/>
            <a:gdLst>
              <a:gd name="connsiteX0" fmla="*/ 471895 w 4139828"/>
              <a:gd name="connsiteY0" fmla="*/ 507 h 2242189"/>
              <a:gd name="connsiteX1" fmla="*/ 1132548 w 4139828"/>
              <a:gd name="connsiteY1" fmla="*/ 507 h 2242189"/>
              <a:gd name="connsiteX2" fmla="*/ 1179737 w 4139828"/>
              <a:gd name="connsiteY2" fmla="*/ 47691 h 2242189"/>
              <a:gd name="connsiteX3" fmla="*/ 1179737 w 4139828"/>
              <a:gd name="connsiteY3" fmla="*/ 425671 h 2242189"/>
              <a:gd name="connsiteX4" fmla="*/ 1132548 w 4139828"/>
              <a:gd name="connsiteY4" fmla="*/ 472855 h 2242189"/>
              <a:gd name="connsiteX5" fmla="*/ 659508 w 4139828"/>
              <a:gd name="connsiteY5" fmla="*/ 472855 h 2242189"/>
              <a:gd name="connsiteX6" fmla="*/ 470750 w 4139828"/>
              <a:gd name="connsiteY6" fmla="*/ 661591 h 2242189"/>
              <a:gd name="connsiteX7" fmla="*/ 470750 w 4139828"/>
              <a:gd name="connsiteY7" fmla="*/ 728742 h 2242189"/>
              <a:gd name="connsiteX8" fmla="*/ 494281 w 4139828"/>
              <a:gd name="connsiteY8" fmla="*/ 752270 h 2242189"/>
              <a:gd name="connsiteX9" fmla="*/ 800059 w 4139828"/>
              <a:gd name="connsiteY9" fmla="*/ 752270 h 2242189"/>
              <a:gd name="connsiteX10" fmla="*/ 847248 w 4139828"/>
              <a:gd name="connsiteY10" fmla="*/ 799454 h 2242189"/>
              <a:gd name="connsiteX11" fmla="*/ 847248 w 4139828"/>
              <a:gd name="connsiteY11" fmla="*/ 1081668 h 2242189"/>
              <a:gd name="connsiteX12" fmla="*/ 800059 w 4139828"/>
              <a:gd name="connsiteY12" fmla="*/ 1128852 h 2242189"/>
              <a:gd name="connsiteX13" fmla="*/ 494281 w 4139828"/>
              <a:gd name="connsiteY13" fmla="*/ 1128852 h 2242189"/>
              <a:gd name="connsiteX14" fmla="*/ 470750 w 4139828"/>
              <a:gd name="connsiteY14" fmla="*/ 1152380 h 2242189"/>
              <a:gd name="connsiteX15" fmla="*/ 470750 w 4139828"/>
              <a:gd name="connsiteY15" fmla="*/ 1227671 h 2242189"/>
              <a:gd name="connsiteX16" fmla="*/ 659508 w 4139828"/>
              <a:gd name="connsiteY16" fmla="*/ 1416406 h 2242189"/>
              <a:gd name="connsiteX17" fmla="*/ 1297775 w 4139828"/>
              <a:gd name="connsiteY17" fmla="*/ 1416406 h 2242189"/>
              <a:gd name="connsiteX18" fmla="*/ 1297775 w 4139828"/>
              <a:gd name="connsiteY18" fmla="*/ 1413100 h 2242189"/>
              <a:gd name="connsiteX19" fmla="*/ 1297775 w 4139828"/>
              <a:gd name="connsiteY19" fmla="*/ 472728 h 2242189"/>
              <a:gd name="connsiteX20" fmla="*/ 1769797 w 4139828"/>
              <a:gd name="connsiteY20" fmla="*/ 889 h 2242189"/>
              <a:gd name="connsiteX21" fmla="*/ 2359729 w 4139828"/>
              <a:gd name="connsiteY21" fmla="*/ 889 h 2242189"/>
              <a:gd name="connsiteX22" fmla="*/ 2831624 w 4139828"/>
              <a:gd name="connsiteY22" fmla="*/ 472728 h 2242189"/>
              <a:gd name="connsiteX23" fmla="*/ 2831624 w 4139828"/>
              <a:gd name="connsiteY23" fmla="*/ 2195005 h 2242189"/>
              <a:gd name="connsiteX24" fmla="*/ 2784434 w 4139828"/>
              <a:gd name="connsiteY24" fmla="*/ 2242189 h 2242189"/>
              <a:gd name="connsiteX25" fmla="*/ 2408063 w 4139828"/>
              <a:gd name="connsiteY25" fmla="*/ 2242189 h 2242189"/>
              <a:gd name="connsiteX26" fmla="*/ 2360874 w 4139828"/>
              <a:gd name="connsiteY26" fmla="*/ 2195005 h 2242189"/>
              <a:gd name="connsiteX27" fmla="*/ 2360874 w 4139828"/>
              <a:gd name="connsiteY27" fmla="*/ 661336 h 2242189"/>
              <a:gd name="connsiteX28" fmla="*/ 2172116 w 4139828"/>
              <a:gd name="connsiteY28" fmla="*/ 472601 h 2242189"/>
              <a:gd name="connsiteX29" fmla="*/ 1957410 w 4139828"/>
              <a:gd name="connsiteY29" fmla="*/ 472601 h 2242189"/>
              <a:gd name="connsiteX30" fmla="*/ 1768652 w 4139828"/>
              <a:gd name="connsiteY30" fmla="*/ 661336 h 2242189"/>
              <a:gd name="connsiteX31" fmla="*/ 1768652 w 4139828"/>
              <a:gd name="connsiteY31" fmla="*/ 1227671 h 2242189"/>
              <a:gd name="connsiteX32" fmla="*/ 1957410 w 4139828"/>
              <a:gd name="connsiteY32" fmla="*/ 1416406 h 2242189"/>
              <a:gd name="connsiteX33" fmla="*/ 2219305 w 4139828"/>
              <a:gd name="connsiteY33" fmla="*/ 1416406 h 2242189"/>
              <a:gd name="connsiteX34" fmla="*/ 2242963 w 4139828"/>
              <a:gd name="connsiteY34" fmla="*/ 1439935 h 2242189"/>
              <a:gd name="connsiteX35" fmla="*/ 2242963 w 4139828"/>
              <a:gd name="connsiteY35" fmla="*/ 1864717 h 2242189"/>
              <a:gd name="connsiteX36" fmla="*/ 2219305 w 4139828"/>
              <a:gd name="connsiteY36" fmla="*/ 1888246 h 2242189"/>
              <a:gd name="connsiteX37" fmla="*/ 472022 w 4139828"/>
              <a:gd name="connsiteY37" fmla="*/ 1888246 h 2242189"/>
              <a:gd name="connsiteX38" fmla="*/ 0 w 4139828"/>
              <a:gd name="connsiteY38" fmla="*/ 1416406 h 2242189"/>
              <a:gd name="connsiteX39" fmla="*/ 0 w 4139828"/>
              <a:gd name="connsiteY39" fmla="*/ 472346 h 2242189"/>
              <a:gd name="connsiteX40" fmla="*/ 471895 w 4139828"/>
              <a:gd name="connsiteY40" fmla="*/ 507 h 2242189"/>
              <a:gd name="connsiteX41" fmla="*/ 3422701 w 4139828"/>
              <a:gd name="connsiteY41" fmla="*/ 0 h 2242189"/>
              <a:gd name="connsiteX42" fmla="*/ 4021918 w 4139828"/>
              <a:gd name="connsiteY42" fmla="*/ 0 h 2242189"/>
              <a:gd name="connsiteX43" fmla="*/ 4069108 w 4139828"/>
              <a:gd name="connsiteY43" fmla="*/ 47184 h 2242189"/>
              <a:gd name="connsiteX44" fmla="*/ 4069108 w 4139828"/>
              <a:gd name="connsiteY44" fmla="*/ 425546 h 2242189"/>
              <a:gd name="connsiteX45" fmla="*/ 4021918 w 4139828"/>
              <a:gd name="connsiteY45" fmla="*/ 472730 h 2242189"/>
              <a:gd name="connsiteX46" fmla="*/ 3532979 w 4139828"/>
              <a:gd name="connsiteY46" fmla="*/ 472730 h 2242189"/>
              <a:gd name="connsiteX47" fmla="*/ 3532852 w 4139828"/>
              <a:gd name="connsiteY47" fmla="*/ 472857 h 2242189"/>
              <a:gd name="connsiteX48" fmla="*/ 3488969 w 4139828"/>
              <a:gd name="connsiteY48" fmla="*/ 599147 h 2242189"/>
              <a:gd name="connsiteX49" fmla="*/ 3904008 w 4139828"/>
              <a:gd name="connsiteY49" fmla="*/ 927781 h 2242189"/>
              <a:gd name="connsiteX50" fmla="*/ 4139828 w 4139828"/>
              <a:gd name="connsiteY50" fmla="*/ 1415391 h 2242189"/>
              <a:gd name="connsiteX51" fmla="*/ 4001312 w 4139828"/>
              <a:gd name="connsiteY51" fmla="*/ 1749875 h 2242189"/>
              <a:gd name="connsiteX52" fmla="*/ 3666916 w 4139828"/>
              <a:gd name="connsiteY52" fmla="*/ 1888375 h 2242189"/>
              <a:gd name="connsiteX53" fmla="*/ 2973319 w 4139828"/>
              <a:gd name="connsiteY53" fmla="*/ 1888375 h 2242189"/>
              <a:gd name="connsiteX54" fmla="*/ 2949788 w 4139828"/>
              <a:gd name="connsiteY54" fmla="*/ 1864846 h 2242189"/>
              <a:gd name="connsiteX55" fmla="*/ 2949788 w 4139828"/>
              <a:gd name="connsiteY55" fmla="*/ 1439173 h 2242189"/>
              <a:gd name="connsiteX56" fmla="*/ 2973319 w 4139828"/>
              <a:gd name="connsiteY56" fmla="*/ 1415518 h 2242189"/>
              <a:gd name="connsiteX57" fmla="*/ 3556637 w 4139828"/>
              <a:gd name="connsiteY57" fmla="*/ 1415518 h 2242189"/>
              <a:gd name="connsiteX58" fmla="*/ 3600520 w 4139828"/>
              <a:gd name="connsiteY58" fmla="*/ 1289228 h 2242189"/>
              <a:gd name="connsiteX59" fmla="*/ 3185481 w 4139828"/>
              <a:gd name="connsiteY59" fmla="*/ 960594 h 2242189"/>
              <a:gd name="connsiteX60" fmla="*/ 2949661 w 4139828"/>
              <a:gd name="connsiteY60" fmla="*/ 472984 h 2242189"/>
              <a:gd name="connsiteX61" fmla="*/ 3422701 w 4139828"/>
              <a:gd name="connsiteY61" fmla="*/ 0 h 22421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4139828" h="2242189">
                <a:moveTo>
                  <a:pt x="471895" y="507"/>
                </a:moveTo>
                <a:lnTo>
                  <a:pt x="1132548" y="507"/>
                </a:lnTo>
                <a:cubicBezTo>
                  <a:pt x="1158623" y="507"/>
                  <a:pt x="1179737" y="21619"/>
                  <a:pt x="1179737" y="47691"/>
                </a:cubicBezTo>
                <a:lnTo>
                  <a:pt x="1179737" y="425671"/>
                </a:lnTo>
                <a:cubicBezTo>
                  <a:pt x="1179737" y="451743"/>
                  <a:pt x="1158623" y="472855"/>
                  <a:pt x="1132548" y="472855"/>
                </a:cubicBezTo>
                <a:lnTo>
                  <a:pt x="659508" y="472855"/>
                </a:lnTo>
                <a:cubicBezTo>
                  <a:pt x="555208" y="472855"/>
                  <a:pt x="470750" y="557303"/>
                  <a:pt x="470750" y="661591"/>
                </a:cubicBezTo>
                <a:lnTo>
                  <a:pt x="470750" y="728742"/>
                </a:lnTo>
                <a:cubicBezTo>
                  <a:pt x="470750" y="741714"/>
                  <a:pt x="481307" y="752270"/>
                  <a:pt x="494281" y="752270"/>
                </a:cubicBezTo>
                <a:lnTo>
                  <a:pt x="800059" y="752270"/>
                </a:lnTo>
                <a:cubicBezTo>
                  <a:pt x="826134" y="752270"/>
                  <a:pt x="847248" y="773382"/>
                  <a:pt x="847248" y="799454"/>
                </a:cubicBezTo>
                <a:lnTo>
                  <a:pt x="847248" y="1081668"/>
                </a:lnTo>
                <a:cubicBezTo>
                  <a:pt x="847248" y="1107740"/>
                  <a:pt x="826134" y="1128852"/>
                  <a:pt x="800059" y="1128852"/>
                </a:cubicBezTo>
                <a:lnTo>
                  <a:pt x="494281" y="1128852"/>
                </a:lnTo>
                <a:cubicBezTo>
                  <a:pt x="481307" y="1128852"/>
                  <a:pt x="470750" y="1139408"/>
                  <a:pt x="470750" y="1152380"/>
                </a:cubicBezTo>
                <a:lnTo>
                  <a:pt x="470750" y="1227671"/>
                </a:lnTo>
                <a:cubicBezTo>
                  <a:pt x="470750" y="1331832"/>
                  <a:pt x="555208" y="1416406"/>
                  <a:pt x="659508" y="1416406"/>
                </a:cubicBezTo>
                <a:lnTo>
                  <a:pt x="1297775" y="1416406"/>
                </a:lnTo>
                <a:cubicBezTo>
                  <a:pt x="1297775" y="1415389"/>
                  <a:pt x="1297775" y="1414244"/>
                  <a:pt x="1297775" y="1413100"/>
                </a:cubicBezTo>
                <a:lnTo>
                  <a:pt x="1297775" y="472728"/>
                </a:lnTo>
                <a:cubicBezTo>
                  <a:pt x="1297775" y="212135"/>
                  <a:pt x="1509173" y="889"/>
                  <a:pt x="1769797" y="889"/>
                </a:cubicBezTo>
                <a:lnTo>
                  <a:pt x="2359729" y="889"/>
                </a:lnTo>
                <a:cubicBezTo>
                  <a:pt x="2620352" y="889"/>
                  <a:pt x="2831624" y="212135"/>
                  <a:pt x="2831624" y="472728"/>
                </a:cubicBezTo>
                <a:lnTo>
                  <a:pt x="2831624" y="2195005"/>
                </a:lnTo>
                <a:cubicBezTo>
                  <a:pt x="2831624" y="2221077"/>
                  <a:pt x="2810509" y="2242189"/>
                  <a:pt x="2784434" y="2242189"/>
                </a:cubicBezTo>
                <a:lnTo>
                  <a:pt x="2408063" y="2242189"/>
                </a:lnTo>
                <a:cubicBezTo>
                  <a:pt x="2381988" y="2242189"/>
                  <a:pt x="2360874" y="2221077"/>
                  <a:pt x="2360874" y="2195005"/>
                </a:cubicBezTo>
                <a:lnTo>
                  <a:pt x="2360874" y="661336"/>
                </a:lnTo>
                <a:cubicBezTo>
                  <a:pt x="2360874" y="557176"/>
                  <a:pt x="2276289" y="472601"/>
                  <a:pt x="2172116" y="472601"/>
                </a:cubicBezTo>
                <a:lnTo>
                  <a:pt x="1957410" y="472601"/>
                </a:lnTo>
                <a:cubicBezTo>
                  <a:pt x="1853110" y="472601"/>
                  <a:pt x="1768652" y="557176"/>
                  <a:pt x="1768652" y="661336"/>
                </a:cubicBezTo>
                <a:lnTo>
                  <a:pt x="1768652" y="1227671"/>
                </a:lnTo>
                <a:cubicBezTo>
                  <a:pt x="1768652" y="1331832"/>
                  <a:pt x="1853110" y="1416406"/>
                  <a:pt x="1957410" y="1416406"/>
                </a:cubicBezTo>
                <a:lnTo>
                  <a:pt x="2219305" y="1416406"/>
                </a:lnTo>
                <a:cubicBezTo>
                  <a:pt x="2232406" y="1416406"/>
                  <a:pt x="2242963" y="1426962"/>
                  <a:pt x="2242963" y="1439935"/>
                </a:cubicBezTo>
                <a:lnTo>
                  <a:pt x="2242963" y="1864717"/>
                </a:lnTo>
                <a:cubicBezTo>
                  <a:pt x="2242963" y="1877690"/>
                  <a:pt x="2232406" y="1888246"/>
                  <a:pt x="2219305" y="1888246"/>
                </a:cubicBezTo>
                <a:lnTo>
                  <a:pt x="472022" y="1888246"/>
                </a:lnTo>
                <a:cubicBezTo>
                  <a:pt x="211272" y="1888246"/>
                  <a:pt x="0" y="1676999"/>
                  <a:pt x="0" y="1416406"/>
                </a:cubicBezTo>
                <a:lnTo>
                  <a:pt x="0" y="472346"/>
                </a:lnTo>
                <a:cubicBezTo>
                  <a:pt x="0" y="211754"/>
                  <a:pt x="211272" y="507"/>
                  <a:pt x="471895" y="507"/>
                </a:cubicBezTo>
                <a:close/>
                <a:moveTo>
                  <a:pt x="3422701" y="0"/>
                </a:moveTo>
                <a:lnTo>
                  <a:pt x="4021918" y="0"/>
                </a:lnTo>
                <a:cubicBezTo>
                  <a:pt x="4047993" y="0"/>
                  <a:pt x="4069108" y="21112"/>
                  <a:pt x="4069108" y="47184"/>
                </a:cubicBezTo>
                <a:lnTo>
                  <a:pt x="4069108" y="425546"/>
                </a:lnTo>
                <a:cubicBezTo>
                  <a:pt x="4069108" y="451618"/>
                  <a:pt x="4047993" y="472730"/>
                  <a:pt x="4021918" y="472730"/>
                </a:cubicBezTo>
                <a:lnTo>
                  <a:pt x="3532979" y="472730"/>
                </a:lnTo>
                <a:lnTo>
                  <a:pt x="3532852" y="472857"/>
                </a:lnTo>
                <a:cubicBezTo>
                  <a:pt x="3465693" y="472857"/>
                  <a:pt x="3436311" y="557432"/>
                  <a:pt x="3488969" y="599147"/>
                </a:cubicBezTo>
                <a:lnTo>
                  <a:pt x="3904008" y="927781"/>
                </a:lnTo>
                <a:cubicBezTo>
                  <a:pt x="4052954" y="1045804"/>
                  <a:pt x="4139828" y="1225383"/>
                  <a:pt x="4139828" y="1415391"/>
                </a:cubicBezTo>
                <a:cubicBezTo>
                  <a:pt x="4139828" y="1546005"/>
                  <a:pt x="4086915" y="1664156"/>
                  <a:pt x="4001312" y="1749875"/>
                </a:cubicBezTo>
                <a:cubicBezTo>
                  <a:pt x="3915710" y="1835468"/>
                  <a:pt x="3797418" y="1888375"/>
                  <a:pt x="3666916" y="1888375"/>
                </a:cubicBezTo>
                <a:lnTo>
                  <a:pt x="2973319" y="1888375"/>
                </a:lnTo>
                <a:cubicBezTo>
                  <a:pt x="2960346" y="1888375"/>
                  <a:pt x="2949788" y="1877819"/>
                  <a:pt x="2949788" y="1864846"/>
                </a:cubicBezTo>
                <a:lnTo>
                  <a:pt x="2949788" y="1439173"/>
                </a:lnTo>
                <a:cubicBezTo>
                  <a:pt x="2949788" y="1426201"/>
                  <a:pt x="2960346" y="1415518"/>
                  <a:pt x="2973319" y="1415518"/>
                </a:cubicBezTo>
                <a:lnTo>
                  <a:pt x="3556637" y="1415518"/>
                </a:lnTo>
                <a:cubicBezTo>
                  <a:pt x="3623797" y="1415518"/>
                  <a:pt x="3653179" y="1330943"/>
                  <a:pt x="3600520" y="1289228"/>
                </a:cubicBezTo>
                <a:lnTo>
                  <a:pt x="3185481" y="960594"/>
                </a:lnTo>
                <a:cubicBezTo>
                  <a:pt x="3036535" y="842570"/>
                  <a:pt x="2949661" y="662991"/>
                  <a:pt x="2949661" y="472984"/>
                </a:cubicBezTo>
                <a:cubicBezTo>
                  <a:pt x="2949661" y="211755"/>
                  <a:pt x="3161441" y="0"/>
                  <a:pt x="3422701" y="0"/>
                </a:cubicBezTo>
                <a:close/>
              </a:path>
            </a:pathLst>
          </a:custGeom>
          <a:solidFill>
            <a:srgbClr val="E90055"/>
          </a:solidFill>
          <a:ln w="127">
            <a:solidFill>
              <a:schemeClr val="bg1">
                <a:alpha val="0"/>
              </a:schemeClr>
            </a:solidFill>
          </a:ln>
        </p:spPr>
        <p:txBody>
          <a:bodyPr wrap="square">
            <a:noAutofit/>
          </a:bodyPr>
          <a:lstStyle>
            <a:lvl1pPr>
              <a:defRPr/>
            </a:lvl1pPr>
          </a:lstStyle>
          <a:p>
            <a:pPr lvl="0"/>
            <a:r>
              <a:rPr lang="de-DE"/>
              <a:t> </a:t>
            </a:r>
          </a:p>
        </p:txBody>
      </p:sp>
      <p:sp>
        <p:nvSpPr>
          <p:cNvPr id="2" name="Slide Number Placeholder 1">
            <a:extLst>
              <a:ext uri="{FF2B5EF4-FFF2-40B4-BE49-F238E27FC236}">
                <a16:creationId xmlns:a16="http://schemas.microsoft.com/office/drawing/2014/main" id="{28A70D2F-5145-629E-3D11-DDEA435AC055}"/>
              </a:ext>
            </a:extLst>
          </p:cNvPr>
          <p:cNvSpPr>
            <a:spLocks noGrp="1"/>
          </p:cNvSpPr>
          <p:nvPr>
            <p:ph type="sldNum" sz="quarter" idx="19"/>
          </p:nvPr>
        </p:nvSpPr>
        <p:spPr/>
        <p:txBody>
          <a:bodyPr/>
          <a:lstStyle/>
          <a:p>
            <a:fld id="{44661A95-0089-4306-9485-D330C59FE3ED}" type="slidenum">
              <a:rPr lang="de-DE" smtClean="0"/>
              <a:pPr/>
              <a:t>‹#›</a:t>
            </a:fld>
            <a:endParaRPr lang="de-DE"/>
          </a:p>
        </p:txBody>
      </p:sp>
    </p:spTree>
    <p:extLst>
      <p:ext uri="{BB962C8B-B14F-4D97-AF65-F5344CB8AC3E}">
        <p14:creationId xmlns:p14="http://schemas.microsoft.com/office/powerpoint/2010/main" val="112262090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Statement with picture | 2">
    <p:spTree>
      <p:nvGrpSpPr>
        <p:cNvPr id="1" name=""/>
        <p:cNvGrpSpPr/>
        <p:nvPr/>
      </p:nvGrpSpPr>
      <p:grpSpPr>
        <a:xfrm>
          <a:off x="0" y="0"/>
          <a:ext cx="0" cy="0"/>
          <a:chOff x="0" y="0"/>
          <a:chExt cx="0" cy="0"/>
        </a:xfrm>
      </p:grpSpPr>
      <p:sp>
        <p:nvSpPr>
          <p:cNvPr id="10" name="Bildplatzhalter 9">
            <a:extLst>
              <a:ext uri="{FF2B5EF4-FFF2-40B4-BE49-F238E27FC236}">
                <a16:creationId xmlns:a16="http://schemas.microsoft.com/office/drawing/2014/main" id="{1B1CD39B-2478-E6F6-6024-66E0CE39D5A4}"/>
              </a:ext>
            </a:extLst>
          </p:cNvPr>
          <p:cNvSpPr>
            <a:spLocks noGrp="1"/>
          </p:cNvSpPr>
          <p:nvPr>
            <p:ph type="pic" sz="quarter" idx="13" hasCustomPrompt="1"/>
          </p:nvPr>
        </p:nvSpPr>
        <p:spPr bwMode="gray">
          <a:xfrm>
            <a:off x="63" y="2867025"/>
            <a:ext cx="12192000" cy="3988628"/>
          </a:xfrm>
          <a:custGeom>
            <a:avLst/>
            <a:gdLst>
              <a:gd name="connsiteX0" fmla="*/ 2873566 w 12192000"/>
              <a:gd name="connsiteY0" fmla="*/ 0 h 3988628"/>
              <a:gd name="connsiteX1" fmla="*/ 3493707 w 12192000"/>
              <a:gd name="connsiteY1" fmla="*/ 108943 h 3988628"/>
              <a:gd name="connsiteX2" fmla="*/ 4875214 w 12192000"/>
              <a:gd name="connsiteY2" fmla="*/ 413120 h 3988628"/>
              <a:gd name="connsiteX3" fmla="*/ 8857234 w 12192000"/>
              <a:gd name="connsiteY3" fmla="*/ 1289802 h 3988628"/>
              <a:gd name="connsiteX4" fmla="*/ 10563796 w 12192000"/>
              <a:gd name="connsiteY4" fmla="*/ 1665487 h 3988628"/>
              <a:gd name="connsiteX5" fmla="*/ 10563860 w 12192000"/>
              <a:gd name="connsiteY5" fmla="*/ 1665487 h 3988628"/>
              <a:gd name="connsiteX6" fmla="*/ 11616880 w 12192000"/>
              <a:gd name="connsiteY6" fmla="*/ 2005576 h 3988628"/>
              <a:gd name="connsiteX7" fmla="*/ 12192000 w 12192000"/>
              <a:gd name="connsiteY7" fmla="*/ 2541471 h 3988628"/>
              <a:gd name="connsiteX8" fmla="*/ 12192000 w 12192000"/>
              <a:gd name="connsiteY8" fmla="*/ 3988628 h 3988628"/>
              <a:gd name="connsiteX9" fmla="*/ 0 w 12192000"/>
              <a:gd name="connsiteY9" fmla="*/ 3988628 h 3988628"/>
              <a:gd name="connsiteX10" fmla="*/ 0 w 12192000"/>
              <a:gd name="connsiteY10" fmla="*/ 2723507 h 3988628"/>
              <a:gd name="connsiteX11" fmla="*/ 2320989 w 12192000"/>
              <a:gd name="connsiteY11" fmla="*/ 236540 h 3988628"/>
              <a:gd name="connsiteX12" fmla="*/ 2873566 w 12192000"/>
              <a:gd name="connsiteY12" fmla="*/ 0 h 39886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192000" h="3988628">
                <a:moveTo>
                  <a:pt x="2873566" y="0"/>
                </a:moveTo>
                <a:cubicBezTo>
                  <a:pt x="3078607" y="0"/>
                  <a:pt x="3293555" y="59072"/>
                  <a:pt x="3493707" y="108943"/>
                </a:cubicBezTo>
                <a:cubicBezTo>
                  <a:pt x="3954463" y="208939"/>
                  <a:pt x="4414965" y="310332"/>
                  <a:pt x="4875214" y="413120"/>
                </a:cubicBezTo>
                <a:cubicBezTo>
                  <a:pt x="6202744" y="703909"/>
                  <a:pt x="7530148" y="996158"/>
                  <a:pt x="8857234" y="1289802"/>
                </a:cubicBezTo>
                <a:cubicBezTo>
                  <a:pt x="9426321" y="1413592"/>
                  <a:pt x="9995154" y="1538841"/>
                  <a:pt x="10563796" y="1665487"/>
                </a:cubicBezTo>
                <a:lnTo>
                  <a:pt x="10563860" y="1665487"/>
                </a:lnTo>
                <a:cubicBezTo>
                  <a:pt x="10918127" y="1770242"/>
                  <a:pt x="11324844" y="1748225"/>
                  <a:pt x="11616880" y="2005576"/>
                </a:cubicBezTo>
                <a:lnTo>
                  <a:pt x="12192000" y="2541471"/>
                </a:lnTo>
                <a:lnTo>
                  <a:pt x="12192000" y="3988628"/>
                </a:lnTo>
                <a:lnTo>
                  <a:pt x="0" y="3988628"/>
                </a:lnTo>
                <a:lnTo>
                  <a:pt x="0" y="2723507"/>
                </a:lnTo>
                <a:cubicBezTo>
                  <a:pt x="1020001" y="1630589"/>
                  <a:pt x="2320989" y="236540"/>
                  <a:pt x="2320989" y="236540"/>
                </a:cubicBezTo>
                <a:cubicBezTo>
                  <a:pt x="2479802" y="57168"/>
                  <a:pt x="2671890" y="0"/>
                  <a:pt x="2873566" y="0"/>
                </a:cubicBezTo>
                <a:close/>
              </a:path>
            </a:pathLst>
          </a:custGeom>
          <a:solidFill>
            <a:schemeClr val="bg1">
              <a:lumMod val="95000"/>
            </a:schemeClr>
          </a:solidFill>
        </p:spPr>
        <p:txBody>
          <a:bodyPr wrap="square" tIns="864000" anchor="ctr">
            <a:noAutofit/>
          </a:bodyPr>
          <a:lstStyle>
            <a:lvl1pPr algn="ctr">
              <a:spcBef>
                <a:spcPts val="0"/>
              </a:spcBef>
              <a:spcAft>
                <a:spcPts val="0"/>
              </a:spcAft>
              <a:defRPr sz="1200"/>
            </a:lvl1pPr>
          </a:lstStyle>
          <a:p>
            <a:r>
              <a:rPr lang="de-DE" noProof="0"/>
              <a:t> </a:t>
            </a:r>
          </a:p>
        </p:txBody>
      </p:sp>
      <p:sp>
        <p:nvSpPr>
          <p:cNvPr id="3" name="Fußzeilenplatzhalter 2">
            <a:extLst>
              <a:ext uri="{FF2B5EF4-FFF2-40B4-BE49-F238E27FC236}">
                <a16:creationId xmlns:a16="http://schemas.microsoft.com/office/drawing/2014/main" id="{623D00F7-8C18-A586-2A9F-A786948C036A}"/>
              </a:ext>
            </a:extLst>
          </p:cNvPr>
          <p:cNvSpPr>
            <a:spLocks noGrp="1"/>
          </p:cNvSpPr>
          <p:nvPr>
            <p:ph type="ftr" sz="quarter" idx="15"/>
          </p:nvPr>
        </p:nvSpPr>
        <p:spPr bwMode="gray"/>
        <p:txBody>
          <a:bodyPr/>
          <a:lstStyle/>
          <a:p>
            <a:r>
              <a:rPr lang="de-DE"/>
              <a:t>Date dd.mm.yyyy  |  Security label</a:t>
            </a:r>
          </a:p>
        </p:txBody>
      </p:sp>
      <p:sp>
        <p:nvSpPr>
          <p:cNvPr id="14" name="Textplatzhalter 4">
            <a:extLst>
              <a:ext uri="{FF2B5EF4-FFF2-40B4-BE49-F238E27FC236}">
                <a16:creationId xmlns:a16="http://schemas.microsoft.com/office/drawing/2014/main" id="{1FDFDF76-1EE0-0549-116C-A1D6684844C9}"/>
              </a:ext>
            </a:extLst>
          </p:cNvPr>
          <p:cNvSpPr>
            <a:spLocks noGrp="1"/>
          </p:cNvSpPr>
          <p:nvPr>
            <p:ph type="body" sz="quarter" idx="17" hasCustomPrompt="1"/>
          </p:nvPr>
        </p:nvSpPr>
        <p:spPr bwMode="gray">
          <a:xfrm>
            <a:off x="1092200" y="1628267"/>
            <a:ext cx="10009933" cy="1260673"/>
          </a:xfrm>
          <a:prstGeom prst="rect">
            <a:avLst/>
          </a:prstGeom>
        </p:spPr>
        <p:txBody>
          <a:bodyPr/>
          <a:lstStyle>
            <a:lvl1pPr>
              <a:defRPr/>
            </a:lvl1pPr>
            <a:lvl2pPr>
              <a:defRPr/>
            </a:lvl2pPr>
            <a:lvl3pPr>
              <a:defRPr/>
            </a:lvl3pPr>
            <a:lvl4pPr>
              <a:defRPr/>
            </a:lvl4pPr>
            <a:lvl5pPr>
              <a:defRPr/>
            </a:lvl5pPr>
            <a:lvl6pPr>
              <a:defRPr/>
            </a:lvl6pPr>
          </a:lstStyle>
          <a:p>
            <a:pPr lvl="0"/>
            <a:r>
              <a:rPr lang="de-DE" noProof="0"/>
              <a:t>You can use this field to enter text, a table, a diagram or SmartArts. Use the buttons “increase list level” for copytext or bullet levels. Use the icons below to create visual content.</a:t>
            </a:r>
          </a:p>
        </p:txBody>
      </p:sp>
      <p:sp>
        <p:nvSpPr>
          <p:cNvPr id="2" name="Title 1">
            <a:extLst>
              <a:ext uri="{FF2B5EF4-FFF2-40B4-BE49-F238E27FC236}">
                <a16:creationId xmlns:a16="http://schemas.microsoft.com/office/drawing/2014/main" id="{B481658F-54A7-0D56-B0B9-C31D3BBFABE8}"/>
              </a:ext>
            </a:extLst>
          </p:cNvPr>
          <p:cNvSpPr>
            <a:spLocks noGrp="1"/>
          </p:cNvSpPr>
          <p:nvPr>
            <p:ph type="title" hasCustomPrompt="1"/>
          </p:nvPr>
        </p:nvSpPr>
        <p:spPr>
          <a:xfrm>
            <a:off x="1094534" y="789687"/>
            <a:ext cx="10007600" cy="604039"/>
          </a:xfrm>
        </p:spPr>
        <p:txBody>
          <a:bodyPr/>
          <a:lstStyle/>
          <a:p>
            <a:r>
              <a:rPr lang="de-DE" noProof="0"/>
              <a:t>Headline (1 line) </a:t>
            </a:r>
            <a:endParaRPr lang="de-DE"/>
          </a:p>
        </p:txBody>
      </p:sp>
      <p:sp>
        <p:nvSpPr>
          <p:cNvPr id="5" name="Slide Number Placeholder 4">
            <a:extLst>
              <a:ext uri="{FF2B5EF4-FFF2-40B4-BE49-F238E27FC236}">
                <a16:creationId xmlns:a16="http://schemas.microsoft.com/office/drawing/2014/main" id="{2A8B63D6-AD69-CCBC-5DC7-6B5036140842}"/>
              </a:ext>
            </a:extLst>
          </p:cNvPr>
          <p:cNvSpPr>
            <a:spLocks noGrp="1"/>
          </p:cNvSpPr>
          <p:nvPr>
            <p:ph type="sldNum" sz="quarter" idx="18"/>
          </p:nvPr>
        </p:nvSpPr>
        <p:spPr/>
        <p:txBody>
          <a:bodyPr/>
          <a:lstStyle/>
          <a:p>
            <a:fld id="{44661A95-0089-4306-9485-D330C59FE3ED}" type="slidenum">
              <a:rPr lang="de-DE" smtClean="0"/>
              <a:pPr/>
              <a:t>‹#›</a:t>
            </a:fld>
            <a:endParaRPr lang="de-DE"/>
          </a:p>
        </p:txBody>
      </p:sp>
    </p:spTree>
    <p:extLst>
      <p:ext uri="{BB962C8B-B14F-4D97-AF65-F5344CB8AC3E}">
        <p14:creationId xmlns:p14="http://schemas.microsoft.com/office/powerpoint/2010/main" val="324153503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Statement with picture | 3">
    <p:spTree>
      <p:nvGrpSpPr>
        <p:cNvPr id="1" name=""/>
        <p:cNvGrpSpPr/>
        <p:nvPr/>
      </p:nvGrpSpPr>
      <p:grpSpPr>
        <a:xfrm>
          <a:off x="0" y="0"/>
          <a:ext cx="0" cy="0"/>
          <a:chOff x="0" y="0"/>
          <a:chExt cx="0" cy="0"/>
        </a:xfrm>
      </p:grpSpPr>
      <p:sp>
        <p:nvSpPr>
          <p:cNvPr id="10" name="Bildplatzhalter 9">
            <a:extLst>
              <a:ext uri="{FF2B5EF4-FFF2-40B4-BE49-F238E27FC236}">
                <a16:creationId xmlns:a16="http://schemas.microsoft.com/office/drawing/2014/main" id="{51EE006F-0EF0-024C-ACA5-B2F004E85644}"/>
              </a:ext>
            </a:extLst>
          </p:cNvPr>
          <p:cNvSpPr>
            <a:spLocks noGrp="1"/>
          </p:cNvSpPr>
          <p:nvPr>
            <p:ph type="pic" sz="quarter" idx="13" hasCustomPrompt="1"/>
          </p:nvPr>
        </p:nvSpPr>
        <p:spPr bwMode="gray">
          <a:xfrm>
            <a:off x="3181356" y="0"/>
            <a:ext cx="9010645" cy="6858000"/>
          </a:xfrm>
          <a:custGeom>
            <a:avLst/>
            <a:gdLst>
              <a:gd name="connsiteX0" fmla="*/ 2735950 w 9010645"/>
              <a:gd name="connsiteY0" fmla="*/ 0 h 6858000"/>
              <a:gd name="connsiteX1" fmla="*/ 9010645 w 9010645"/>
              <a:gd name="connsiteY1" fmla="*/ 0 h 6858000"/>
              <a:gd name="connsiteX2" fmla="*/ 9010645 w 9010645"/>
              <a:gd name="connsiteY2" fmla="*/ 6858000 h 6858000"/>
              <a:gd name="connsiteX3" fmla="*/ 0 w 9010645"/>
              <a:gd name="connsiteY3" fmla="*/ 6858000 h 6858000"/>
              <a:gd name="connsiteX4" fmla="*/ 2321983 w 9010645"/>
              <a:gd name="connsiteY4" fmla="*/ 6154547 h 6858000"/>
              <a:gd name="connsiteX5" fmla="*/ 3730667 w 9010645"/>
              <a:gd name="connsiteY5" fmla="*/ 5509959 h 6858000"/>
              <a:gd name="connsiteX6" fmla="*/ 5477805 w 9010645"/>
              <a:gd name="connsiteY6" fmla="*/ 2453513 h 6858000"/>
              <a:gd name="connsiteX7" fmla="*/ 5191432 w 9010645"/>
              <a:gd name="connsiteY7" fmla="*/ 140316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010645" h="6858000">
                <a:moveTo>
                  <a:pt x="2735950" y="0"/>
                </a:moveTo>
                <a:lnTo>
                  <a:pt x="9010645" y="0"/>
                </a:lnTo>
                <a:lnTo>
                  <a:pt x="9010645" y="6858000"/>
                </a:lnTo>
                <a:lnTo>
                  <a:pt x="0" y="6858000"/>
                </a:lnTo>
                <a:cubicBezTo>
                  <a:pt x="774015" y="6623685"/>
                  <a:pt x="1548030" y="6389180"/>
                  <a:pt x="2321983" y="6154547"/>
                </a:cubicBezTo>
                <a:cubicBezTo>
                  <a:pt x="2795714" y="5957697"/>
                  <a:pt x="3429813" y="5985764"/>
                  <a:pt x="3730667" y="5509959"/>
                </a:cubicBezTo>
                <a:cubicBezTo>
                  <a:pt x="3730667" y="5509959"/>
                  <a:pt x="5477805" y="2453513"/>
                  <a:pt x="5477805" y="2453513"/>
                </a:cubicBezTo>
                <a:cubicBezTo>
                  <a:pt x="5688790" y="2084388"/>
                  <a:pt x="5560624" y="1614107"/>
                  <a:pt x="5191432" y="1403160"/>
                </a:cubicBezTo>
                <a:close/>
              </a:path>
            </a:pathLst>
          </a:custGeom>
          <a:solidFill>
            <a:schemeClr val="bg1">
              <a:lumMod val="95000"/>
            </a:schemeClr>
          </a:solidFill>
        </p:spPr>
        <p:txBody>
          <a:bodyPr wrap="square" tIns="864000" anchor="ctr">
            <a:noAutofit/>
          </a:bodyPr>
          <a:lstStyle>
            <a:lvl1pPr algn="ctr">
              <a:spcBef>
                <a:spcPts val="0"/>
              </a:spcBef>
              <a:spcAft>
                <a:spcPts val="0"/>
              </a:spcAft>
              <a:defRPr sz="1200"/>
            </a:lvl1pPr>
          </a:lstStyle>
          <a:p>
            <a:r>
              <a:rPr lang="de-DE" noProof="0"/>
              <a:t> </a:t>
            </a:r>
          </a:p>
        </p:txBody>
      </p:sp>
      <p:sp>
        <p:nvSpPr>
          <p:cNvPr id="3" name="Fußzeilenplatzhalter 2">
            <a:extLst>
              <a:ext uri="{FF2B5EF4-FFF2-40B4-BE49-F238E27FC236}">
                <a16:creationId xmlns:a16="http://schemas.microsoft.com/office/drawing/2014/main" id="{623D00F7-8C18-A586-2A9F-A786948C036A}"/>
              </a:ext>
            </a:extLst>
          </p:cNvPr>
          <p:cNvSpPr>
            <a:spLocks noGrp="1"/>
          </p:cNvSpPr>
          <p:nvPr>
            <p:ph type="ftr" sz="quarter" idx="15"/>
          </p:nvPr>
        </p:nvSpPr>
        <p:spPr bwMode="gray"/>
        <p:txBody>
          <a:bodyPr/>
          <a:lstStyle/>
          <a:p>
            <a:r>
              <a:rPr lang="de-DE"/>
              <a:t>Date dd.mm.yyyy  |  Security label</a:t>
            </a:r>
          </a:p>
        </p:txBody>
      </p:sp>
      <p:sp>
        <p:nvSpPr>
          <p:cNvPr id="6" name="Titel 5">
            <a:extLst>
              <a:ext uri="{FF2B5EF4-FFF2-40B4-BE49-F238E27FC236}">
                <a16:creationId xmlns:a16="http://schemas.microsoft.com/office/drawing/2014/main" id="{DAB1CA6A-0175-6FFC-DB0C-6065B00CC521}"/>
              </a:ext>
            </a:extLst>
          </p:cNvPr>
          <p:cNvSpPr>
            <a:spLocks noGrp="1"/>
          </p:cNvSpPr>
          <p:nvPr>
            <p:ph type="title" hasCustomPrompt="1"/>
          </p:nvPr>
        </p:nvSpPr>
        <p:spPr bwMode="gray">
          <a:xfrm>
            <a:off x="1092200" y="789687"/>
            <a:ext cx="4823780" cy="604039"/>
          </a:xfrm>
        </p:spPr>
        <p:txBody>
          <a:bodyPr/>
          <a:lstStyle>
            <a:lvl1pPr>
              <a:defRPr/>
            </a:lvl1pPr>
          </a:lstStyle>
          <a:p>
            <a:r>
              <a:rPr lang="de-DE" noProof="0"/>
              <a:t>Headline (1 line) </a:t>
            </a:r>
            <a:endParaRPr lang="de-DE"/>
          </a:p>
        </p:txBody>
      </p:sp>
      <p:sp>
        <p:nvSpPr>
          <p:cNvPr id="14" name="Textplatzhalter 4">
            <a:extLst>
              <a:ext uri="{FF2B5EF4-FFF2-40B4-BE49-F238E27FC236}">
                <a16:creationId xmlns:a16="http://schemas.microsoft.com/office/drawing/2014/main" id="{1FDFDF76-1EE0-0549-116C-A1D6684844C9}"/>
              </a:ext>
            </a:extLst>
          </p:cNvPr>
          <p:cNvSpPr>
            <a:spLocks noGrp="1"/>
          </p:cNvSpPr>
          <p:nvPr>
            <p:ph type="body" sz="quarter" idx="17" hasCustomPrompt="1"/>
          </p:nvPr>
        </p:nvSpPr>
        <p:spPr bwMode="gray">
          <a:xfrm>
            <a:off x="1092199" y="1628775"/>
            <a:ext cx="4823781" cy="4429126"/>
          </a:xfrm>
          <a:prstGeom prst="rect">
            <a:avLst/>
          </a:prstGeom>
        </p:spPr>
        <p:txBody>
          <a:bodyPr/>
          <a:lstStyle>
            <a:lvl1pPr>
              <a:defRPr/>
            </a:lvl1pPr>
            <a:lvl2pPr>
              <a:defRPr/>
            </a:lvl2pPr>
            <a:lvl3pPr>
              <a:defRPr/>
            </a:lvl3pPr>
            <a:lvl4pPr>
              <a:defRPr/>
            </a:lvl4pPr>
            <a:lvl5pPr>
              <a:defRPr/>
            </a:lvl5pPr>
            <a:lvl6pPr>
              <a:defRPr/>
            </a:lvl6pPr>
          </a:lstStyle>
          <a:p>
            <a:pPr lvl="0"/>
            <a:r>
              <a:rPr lang="de-DE" noProof="0"/>
              <a:t>You can use this field to enter text, a table, a diagram or SmartArts. Use the buttons “increase list level” for copytext or bullet levels. Use the icons below to create visual content.</a:t>
            </a:r>
          </a:p>
        </p:txBody>
      </p:sp>
      <p:sp>
        <p:nvSpPr>
          <p:cNvPr id="11" name="Textplatzhalter 10">
            <a:extLst>
              <a:ext uri="{FF2B5EF4-FFF2-40B4-BE49-F238E27FC236}">
                <a16:creationId xmlns:a16="http://schemas.microsoft.com/office/drawing/2014/main" id="{6A5FFF97-8CEE-229E-8346-84BCBBBE242B}"/>
              </a:ext>
            </a:extLst>
          </p:cNvPr>
          <p:cNvSpPr>
            <a:spLocks noGrp="1"/>
          </p:cNvSpPr>
          <p:nvPr>
            <p:ph type="body" sz="quarter" idx="18" hasCustomPrompt="1"/>
          </p:nvPr>
        </p:nvSpPr>
        <p:spPr bwMode="gray">
          <a:xfrm>
            <a:off x="11352648" y="307218"/>
            <a:ext cx="576000" cy="313200"/>
          </a:xfrm>
          <a:custGeom>
            <a:avLst/>
            <a:gdLst>
              <a:gd name="connsiteX0" fmla="*/ 471895 w 4139828"/>
              <a:gd name="connsiteY0" fmla="*/ 507 h 2242189"/>
              <a:gd name="connsiteX1" fmla="*/ 1132548 w 4139828"/>
              <a:gd name="connsiteY1" fmla="*/ 507 h 2242189"/>
              <a:gd name="connsiteX2" fmla="*/ 1179737 w 4139828"/>
              <a:gd name="connsiteY2" fmla="*/ 47691 h 2242189"/>
              <a:gd name="connsiteX3" fmla="*/ 1179737 w 4139828"/>
              <a:gd name="connsiteY3" fmla="*/ 425671 h 2242189"/>
              <a:gd name="connsiteX4" fmla="*/ 1132548 w 4139828"/>
              <a:gd name="connsiteY4" fmla="*/ 472855 h 2242189"/>
              <a:gd name="connsiteX5" fmla="*/ 659508 w 4139828"/>
              <a:gd name="connsiteY5" fmla="*/ 472855 h 2242189"/>
              <a:gd name="connsiteX6" fmla="*/ 470750 w 4139828"/>
              <a:gd name="connsiteY6" fmla="*/ 661591 h 2242189"/>
              <a:gd name="connsiteX7" fmla="*/ 470750 w 4139828"/>
              <a:gd name="connsiteY7" fmla="*/ 728742 h 2242189"/>
              <a:gd name="connsiteX8" fmla="*/ 494281 w 4139828"/>
              <a:gd name="connsiteY8" fmla="*/ 752270 h 2242189"/>
              <a:gd name="connsiteX9" fmla="*/ 800059 w 4139828"/>
              <a:gd name="connsiteY9" fmla="*/ 752270 h 2242189"/>
              <a:gd name="connsiteX10" fmla="*/ 847248 w 4139828"/>
              <a:gd name="connsiteY10" fmla="*/ 799454 h 2242189"/>
              <a:gd name="connsiteX11" fmla="*/ 847248 w 4139828"/>
              <a:gd name="connsiteY11" fmla="*/ 1081668 h 2242189"/>
              <a:gd name="connsiteX12" fmla="*/ 800059 w 4139828"/>
              <a:gd name="connsiteY12" fmla="*/ 1128852 h 2242189"/>
              <a:gd name="connsiteX13" fmla="*/ 494281 w 4139828"/>
              <a:gd name="connsiteY13" fmla="*/ 1128852 h 2242189"/>
              <a:gd name="connsiteX14" fmla="*/ 470750 w 4139828"/>
              <a:gd name="connsiteY14" fmla="*/ 1152380 h 2242189"/>
              <a:gd name="connsiteX15" fmla="*/ 470750 w 4139828"/>
              <a:gd name="connsiteY15" fmla="*/ 1227671 h 2242189"/>
              <a:gd name="connsiteX16" fmla="*/ 659508 w 4139828"/>
              <a:gd name="connsiteY16" fmla="*/ 1416406 h 2242189"/>
              <a:gd name="connsiteX17" fmla="*/ 1297775 w 4139828"/>
              <a:gd name="connsiteY17" fmla="*/ 1416406 h 2242189"/>
              <a:gd name="connsiteX18" fmla="*/ 1297775 w 4139828"/>
              <a:gd name="connsiteY18" fmla="*/ 1413100 h 2242189"/>
              <a:gd name="connsiteX19" fmla="*/ 1297775 w 4139828"/>
              <a:gd name="connsiteY19" fmla="*/ 472728 h 2242189"/>
              <a:gd name="connsiteX20" fmla="*/ 1769797 w 4139828"/>
              <a:gd name="connsiteY20" fmla="*/ 889 h 2242189"/>
              <a:gd name="connsiteX21" fmla="*/ 2359729 w 4139828"/>
              <a:gd name="connsiteY21" fmla="*/ 889 h 2242189"/>
              <a:gd name="connsiteX22" fmla="*/ 2831624 w 4139828"/>
              <a:gd name="connsiteY22" fmla="*/ 472728 h 2242189"/>
              <a:gd name="connsiteX23" fmla="*/ 2831624 w 4139828"/>
              <a:gd name="connsiteY23" fmla="*/ 2195005 h 2242189"/>
              <a:gd name="connsiteX24" fmla="*/ 2784434 w 4139828"/>
              <a:gd name="connsiteY24" fmla="*/ 2242189 h 2242189"/>
              <a:gd name="connsiteX25" fmla="*/ 2408063 w 4139828"/>
              <a:gd name="connsiteY25" fmla="*/ 2242189 h 2242189"/>
              <a:gd name="connsiteX26" fmla="*/ 2360874 w 4139828"/>
              <a:gd name="connsiteY26" fmla="*/ 2195005 h 2242189"/>
              <a:gd name="connsiteX27" fmla="*/ 2360874 w 4139828"/>
              <a:gd name="connsiteY27" fmla="*/ 661336 h 2242189"/>
              <a:gd name="connsiteX28" fmla="*/ 2172116 w 4139828"/>
              <a:gd name="connsiteY28" fmla="*/ 472601 h 2242189"/>
              <a:gd name="connsiteX29" fmla="*/ 1957410 w 4139828"/>
              <a:gd name="connsiteY29" fmla="*/ 472601 h 2242189"/>
              <a:gd name="connsiteX30" fmla="*/ 1768652 w 4139828"/>
              <a:gd name="connsiteY30" fmla="*/ 661336 h 2242189"/>
              <a:gd name="connsiteX31" fmla="*/ 1768652 w 4139828"/>
              <a:gd name="connsiteY31" fmla="*/ 1227671 h 2242189"/>
              <a:gd name="connsiteX32" fmla="*/ 1957410 w 4139828"/>
              <a:gd name="connsiteY32" fmla="*/ 1416406 h 2242189"/>
              <a:gd name="connsiteX33" fmla="*/ 2219305 w 4139828"/>
              <a:gd name="connsiteY33" fmla="*/ 1416406 h 2242189"/>
              <a:gd name="connsiteX34" fmla="*/ 2242963 w 4139828"/>
              <a:gd name="connsiteY34" fmla="*/ 1439935 h 2242189"/>
              <a:gd name="connsiteX35" fmla="*/ 2242963 w 4139828"/>
              <a:gd name="connsiteY35" fmla="*/ 1864717 h 2242189"/>
              <a:gd name="connsiteX36" fmla="*/ 2219305 w 4139828"/>
              <a:gd name="connsiteY36" fmla="*/ 1888246 h 2242189"/>
              <a:gd name="connsiteX37" fmla="*/ 472022 w 4139828"/>
              <a:gd name="connsiteY37" fmla="*/ 1888246 h 2242189"/>
              <a:gd name="connsiteX38" fmla="*/ 0 w 4139828"/>
              <a:gd name="connsiteY38" fmla="*/ 1416406 h 2242189"/>
              <a:gd name="connsiteX39" fmla="*/ 0 w 4139828"/>
              <a:gd name="connsiteY39" fmla="*/ 472346 h 2242189"/>
              <a:gd name="connsiteX40" fmla="*/ 471895 w 4139828"/>
              <a:gd name="connsiteY40" fmla="*/ 507 h 2242189"/>
              <a:gd name="connsiteX41" fmla="*/ 3422701 w 4139828"/>
              <a:gd name="connsiteY41" fmla="*/ 0 h 2242189"/>
              <a:gd name="connsiteX42" fmla="*/ 4021918 w 4139828"/>
              <a:gd name="connsiteY42" fmla="*/ 0 h 2242189"/>
              <a:gd name="connsiteX43" fmla="*/ 4069108 w 4139828"/>
              <a:gd name="connsiteY43" fmla="*/ 47184 h 2242189"/>
              <a:gd name="connsiteX44" fmla="*/ 4069108 w 4139828"/>
              <a:gd name="connsiteY44" fmla="*/ 425546 h 2242189"/>
              <a:gd name="connsiteX45" fmla="*/ 4021918 w 4139828"/>
              <a:gd name="connsiteY45" fmla="*/ 472730 h 2242189"/>
              <a:gd name="connsiteX46" fmla="*/ 3532979 w 4139828"/>
              <a:gd name="connsiteY46" fmla="*/ 472730 h 2242189"/>
              <a:gd name="connsiteX47" fmla="*/ 3532852 w 4139828"/>
              <a:gd name="connsiteY47" fmla="*/ 472857 h 2242189"/>
              <a:gd name="connsiteX48" fmla="*/ 3488969 w 4139828"/>
              <a:gd name="connsiteY48" fmla="*/ 599147 h 2242189"/>
              <a:gd name="connsiteX49" fmla="*/ 3904008 w 4139828"/>
              <a:gd name="connsiteY49" fmla="*/ 927781 h 2242189"/>
              <a:gd name="connsiteX50" fmla="*/ 4139828 w 4139828"/>
              <a:gd name="connsiteY50" fmla="*/ 1415391 h 2242189"/>
              <a:gd name="connsiteX51" fmla="*/ 4001312 w 4139828"/>
              <a:gd name="connsiteY51" fmla="*/ 1749875 h 2242189"/>
              <a:gd name="connsiteX52" fmla="*/ 3666916 w 4139828"/>
              <a:gd name="connsiteY52" fmla="*/ 1888375 h 2242189"/>
              <a:gd name="connsiteX53" fmla="*/ 2973319 w 4139828"/>
              <a:gd name="connsiteY53" fmla="*/ 1888375 h 2242189"/>
              <a:gd name="connsiteX54" fmla="*/ 2949788 w 4139828"/>
              <a:gd name="connsiteY54" fmla="*/ 1864846 h 2242189"/>
              <a:gd name="connsiteX55" fmla="*/ 2949788 w 4139828"/>
              <a:gd name="connsiteY55" fmla="*/ 1439173 h 2242189"/>
              <a:gd name="connsiteX56" fmla="*/ 2973319 w 4139828"/>
              <a:gd name="connsiteY56" fmla="*/ 1415518 h 2242189"/>
              <a:gd name="connsiteX57" fmla="*/ 3556637 w 4139828"/>
              <a:gd name="connsiteY57" fmla="*/ 1415518 h 2242189"/>
              <a:gd name="connsiteX58" fmla="*/ 3600520 w 4139828"/>
              <a:gd name="connsiteY58" fmla="*/ 1289228 h 2242189"/>
              <a:gd name="connsiteX59" fmla="*/ 3185481 w 4139828"/>
              <a:gd name="connsiteY59" fmla="*/ 960594 h 2242189"/>
              <a:gd name="connsiteX60" fmla="*/ 2949661 w 4139828"/>
              <a:gd name="connsiteY60" fmla="*/ 472984 h 2242189"/>
              <a:gd name="connsiteX61" fmla="*/ 3422701 w 4139828"/>
              <a:gd name="connsiteY61" fmla="*/ 0 h 22421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4139828" h="2242189">
                <a:moveTo>
                  <a:pt x="471895" y="507"/>
                </a:moveTo>
                <a:lnTo>
                  <a:pt x="1132548" y="507"/>
                </a:lnTo>
                <a:cubicBezTo>
                  <a:pt x="1158623" y="507"/>
                  <a:pt x="1179737" y="21619"/>
                  <a:pt x="1179737" y="47691"/>
                </a:cubicBezTo>
                <a:lnTo>
                  <a:pt x="1179737" y="425671"/>
                </a:lnTo>
                <a:cubicBezTo>
                  <a:pt x="1179737" y="451743"/>
                  <a:pt x="1158623" y="472855"/>
                  <a:pt x="1132548" y="472855"/>
                </a:cubicBezTo>
                <a:lnTo>
                  <a:pt x="659508" y="472855"/>
                </a:lnTo>
                <a:cubicBezTo>
                  <a:pt x="555208" y="472855"/>
                  <a:pt x="470750" y="557303"/>
                  <a:pt x="470750" y="661591"/>
                </a:cubicBezTo>
                <a:lnTo>
                  <a:pt x="470750" y="728742"/>
                </a:lnTo>
                <a:cubicBezTo>
                  <a:pt x="470750" y="741714"/>
                  <a:pt x="481307" y="752270"/>
                  <a:pt x="494281" y="752270"/>
                </a:cubicBezTo>
                <a:lnTo>
                  <a:pt x="800059" y="752270"/>
                </a:lnTo>
                <a:cubicBezTo>
                  <a:pt x="826134" y="752270"/>
                  <a:pt x="847248" y="773382"/>
                  <a:pt x="847248" y="799454"/>
                </a:cubicBezTo>
                <a:lnTo>
                  <a:pt x="847248" y="1081668"/>
                </a:lnTo>
                <a:cubicBezTo>
                  <a:pt x="847248" y="1107740"/>
                  <a:pt x="826134" y="1128852"/>
                  <a:pt x="800059" y="1128852"/>
                </a:cubicBezTo>
                <a:lnTo>
                  <a:pt x="494281" y="1128852"/>
                </a:lnTo>
                <a:cubicBezTo>
                  <a:pt x="481307" y="1128852"/>
                  <a:pt x="470750" y="1139408"/>
                  <a:pt x="470750" y="1152380"/>
                </a:cubicBezTo>
                <a:lnTo>
                  <a:pt x="470750" y="1227671"/>
                </a:lnTo>
                <a:cubicBezTo>
                  <a:pt x="470750" y="1331832"/>
                  <a:pt x="555208" y="1416406"/>
                  <a:pt x="659508" y="1416406"/>
                </a:cubicBezTo>
                <a:lnTo>
                  <a:pt x="1297775" y="1416406"/>
                </a:lnTo>
                <a:cubicBezTo>
                  <a:pt x="1297775" y="1415389"/>
                  <a:pt x="1297775" y="1414244"/>
                  <a:pt x="1297775" y="1413100"/>
                </a:cubicBezTo>
                <a:lnTo>
                  <a:pt x="1297775" y="472728"/>
                </a:lnTo>
                <a:cubicBezTo>
                  <a:pt x="1297775" y="212135"/>
                  <a:pt x="1509173" y="889"/>
                  <a:pt x="1769797" y="889"/>
                </a:cubicBezTo>
                <a:lnTo>
                  <a:pt x="2359729" y="889"/>
                </a:lnTo>
                <a:cubicBezTo>
                  <a:pt x="2620352" y="889"/>
                  <a:pt x="2831624" y="212135"/>
                  <a:pt x="2831624" y="472728"/>
                </a:cubicBezTo>
                <a:lnTo>
                  <a:pt x="2831624" y="2195005"/>
                </a:lnTo>
                <a:cubicBezTo>
                  <a:pt x="2831624" y="2221077"/>
                  <a:pt x="2810509" y="2242189"/>
                  <a:pt x="2784434" y="2242189"/>
                </a:cubicBezTo>
                <a:lnTo>
                  <a:pt x="2408063" y="2242189"/>
                </a:lnTo>
                <a:cubicBezTo>
                  <a:pt x="2381988" y="2242189"/>
                  <a:pt x="2360874" y="2221077"/>
                  <a:pt x="2360874" y="2195005"/>
                </a:cubicBezTo>
                <a:lnTo>
                  <a:pt x="2360874" y="661336"/>
                </a:lnTo>
                <a:cubicBezTo>
                  <a:pt x="2360874" y="557176"/>
                  <a:pt x="2276289" y="472601"/>
                  <a:pt x="2172116" y="472601"/>
                </a:cubicBezTo>
                <a:lnTo>
                  <a:pt x="1957410" y="472601"/>
                </a:lnTo>
                <a:cubicBezTo>
                  <a:pt x="1853110" y="472601"/>
                  <a:pt x="1768652" y="557176"/>
                  <a:pt x="1768652" y="661336"/>
                </a:cubicBezTo>
                <a:lnTo>
                  <a:pt x="1768652" y="1227671"/>
                </a:lnTo>
                <a:cubicBezTo>
                  <a:pt x="1768652" y="1331832"/>
                  <a:pt x="1853110" y="1416406"/>
                  <a:pt x="1957410" y="1416406"/>
                </a:cubicBezTo>
                <a:lnTo>
                  <a:pt x="2219305" y="1416406"/>
                </a:lnTo>
                <a:cubicBezTo>
                  <a:pt x="2232406" y="1416406"/>
                  <a:pt x="2242963" y="1426962"/>
                  <a:pt x="2242963" y="1439935"/>
                </a:cubicBezTo>
                <a:lnTo>
                  <a:pt x="2242963" y="1864717"/>
                </a:lnTo>
                <a:cubicBezTo>
                  <a:pt x="2242963" y="1877690"/>
                  <a:pt x="2232406" y="1888246"/>
                  <a:pt x="2219305" y="1888246"/>
                </a:cubicBezTo>
                <a:lnTo>
                  <a:pt x="472022" y="1888246"/>
                </a:lnTo>
                <a:cubicBezTo>
                  <a:pt x="211272" y="1888246"/>
                  <a:pt x="0" y="1676999"/>
                  <a:pt x="0" y="1416406"/>
                </a:cubicBezTo>
                <a:lnTo>
                  <a:pt x="0" y="472346"/>
                </a:lnTo>
                <a:cubicBezTo>
                  <a:pt x="0" y="211754"/>
                  <a:pt x="211272" y="507"/>
                  <a:pt x="471895" y="507"/>
                </a:cubicBezTo>
                <a:close/>
                <a:moveTo>
                  <a:pt x="3422701" y="0"/>
                </a:moveTo>
                <a:lnTo>
                  <a:pt x="4021918" y="0"/>
                </a:lnTo>
                <a:cubicBezTo>
                  <a:pt x="4047993" y="0"/>
                  <a:pt x="4069108" y="21112"/>
                  <a:pt x="4069108" y="47184"/>
                </a:cubicBezTo>
                <a:lnTo>
                  <a:pt x="4069108" y="425546"/>
                </a:lnTo>
                <a:cubicBezTo>
                  <a:pt x="4069108" y="451618"/>
                  <a:pt x="4047993" y="472730"/>
                  <a:pt x="4021918" y="472730"/>
                </a:cubicBezTo>
                <a:lnTo>
                  <a:pt x="3532979" y="472730"/>
                </a:lnTo>
                <a:lnTo>
                  <a:pt x="3532852" y="472857"/>
                </a:lnTo>
                <a:cubicBezTo>
                  <a:pt x="3465693" y="472857"/>
                  <a:pt x="3436311" y="557432"/>
                  <a:pt x="3488969" y="599147"/>
                </a:cubicBezTo>
                <a:lnTo>
                  <a:pt x="3904008" y="927781"/>
                </a:lnTo>
                <a:cubicBezTo>
                  <a:pt x="4052954" y="1045804"/>
                  <a:pt x="4139828" y="1225383"/>
                  <a:pt x="4139828" y="1415391"/>
                </a:cubicBezTo>
                <a:cubicBezTo>
                  <a:pt x="4139828" y="1546005"/>
                  <a:pt x="4086915" y="1664156"/>
                  <a:pt x="4001312" y="1749875"/>
                </a:cubicBezTo>
                <a:cubicBezTo>
                  <a:pt x="3915710" y="1835468"/>
                  <a:pt x="3797418" y="1888375"/>
                  <a:pt x="3666916" y="1888375"/>
                </a:cubicBezTo>
                <a:lnTo>
                  <a:pt x="2973319" y="1888375"/>
                </a:lnTo>
                <a:cubicBezTo>
                  <a:pt x="2960346" y="1888375"/>
                  <a:pt x="2949788" y="1877819"/>
                  <a:pt x="2949788" y="1864846"/>
                </a:cubicBezTo>
                <a:lnTo>
                  <a:pt x="2949788" y="1439173"/>
                </a:lnTo>
                <a:cubicBezTo>
                  <a:pt x="2949788" y="1426201"/>
                  <a:pt x="2960346" y="1415518"/>
                  <a:pt x="2973319" y="1415518"/>
                </a:cubicBezTo>
                <a:lnTo>
                  <a:pt x="3556637" y="1415518"/>
                </a:lnTo>
                <a:cubicBezTo>
                  <a:pt x="3623797" y="1415518"/>
                  <a:pt x="3653179" y="1330943"/>
                  <a:pt x="3600520" y="1289228"/>
                </a:cubicBezTo>
                <a:lnTo>
                  <a:pt x="3185481" y="960594"/>
                </a:lnTo>
                <a:cubicBezTo>
                  <a:pt x="3036535" y="842570"/>
                  <a:pt x="2949661" y="662991"/>
                  <a:pt x="2949661" y="472984"/>
                </a:cubicBezTo>
                <a:cubicBezTo>
                  <a:pt x="2949661" y="211755"/>
                  <a:pt x="3161441" y="0"/>
                  <a:pt x="3422701" y="0"/>
                </a:cubicBezTo>
                <a:close/>
              </a:path>
            </a:pathLst>
          </a:custGeom>
          <a:solidFill>
            <a:srgbClr val="E90055"/>
          </a:solidFill>
          <a:ln w="127">
            <a:solidFill>
              <a:schemeClr val="bg1">
                <a:alpha val="0"/>
              </a:schemeClr>
            </a:solidFill>
          </a:ln>
        </p:spPr>
        <p:txBody>
          <a:bodyPr wrap="square">
            <a:noAutofit/>
          </a:bodyPr>
          <a:lstStyle>
            <a:lvl1pPr>
              <a:defRPr/>
            </a:lvl1pPr>
          </a:lstStyle>
          <a:p>
            <a:pPr lvl="0"/>
            <a:r>
              <a:rPr lang="de-DE"/>
              <a:t> </a:t>
            </a:r>
          </a:p>
        </p:txBody>
      </p:sp>
      <p:sp>
        <p:nvSpPr>
          <p:cNvPr id="2" name="Slide Number Placeholder 1">
            <a:extLst>
              <a:ext uri="{FF2B5EF4-FFF2-40B4-BE49-F238E27FC236}">
                <a16:creationId xmlns:a16="http://schemas.microsoft.com/office/drawing/2014/main" id="{01BFD135-65B7-B4FD-705F-88B196A49EFF}"/>
              </a:ext>
            </a:extLst>
          </p:cNvPr>
          <p:cNvSpPr>
            <a:spLocks noGrp="1"/>
          </p:cNvSpPr>
          <p:nvPr>
            <p:ph type="sldNum" sz="quarter" idx="19"/>
          </p:nvPr>
        </p:nvSpPr>
        <p:spPr/>
        <p:txBody>
          <a:bodyPr/>
          <a:lstStyle/>
          <a:p>
            <a:fld id="{44661A95-0089-4306-9485-D330C59FE3ED}" type="slidenum">
              <a:rPr lang="de-DE" smtClean="0"/>
              <a:pPr/>
              <a:t>‹#›</a:t>
            </a:fld>
            <a:endParaRPr lang="de-DE"/>
          </a:p>
        </p:txBody>
      </p:sp>
    </p:spTree>
    <p:extLst>
      <p:ext uri="{BB962C8B-B14F-4D97-AF65-F5344CB8AC3E}">
        <p14:creationId xmlns:p14="http://schemas.microsoft.com/office/powerpoint/2010/main" val="1638534444"/>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Q&amp;A">
    <p:spTree>
      <p:nvGrpSpPr>
        <p:cNvPr id="1" name=""/>
        <p:cNvGrpSpPr/>
        <p:nvPr/>
      </p:nvGrpSpPr>
      <p:grpSpPr>
        <a:xfrm>
          <a:off x="0" y="0"/>
          <a:ext cx="0" cy="0"/>
          <a:chOff x="0" y="0"/>
          <a:chExt cx="0" cy="0"/>
        </a:xfrm>
      </p:grpSpPr>
      <p:sp>
        <p:nvSpPr>
          <p:cNvPr id="16" name="Bildplatzhalter 15">
            <a:extLst>
              <a:ext uri="{FF2B5EF4-FFF2-40B4-BE49-F238E27FC236}">
                <a16:creationId xmlns:a16="http://schemas.microsoft.com/office/drawing/2014/main" id="{4E417772-2FA4-0A1C-AC89-4C2FF74B8B9A}"/>
              </a:ext>
            </a:extLst>
          </p:cNvPr>
          <p:cNvSpPr>
            <a:spLocks noGrp="1"/>
          </p:cNvSpPr>
          <p:nvPr>
            <p:ph type="pic" sz="quarter" idx="13" hasCustomPrompt="1"/>
          </p:nvPr>
        </p:nvSpPr>
        <p:spPr bwMode="gray">
          <a:xfrm>
            <a:off x="0" y="0"/>
            <a:ext cx="12192000" cy="6858000"/>
          </a:xfrm>
          <a:custGeom>
            <a:avLst/>
            <a:gdLst>
              <a:gd name="connsiteX0" fmla="*/ 0 w 12192000"/>
              <a:gd name="connsiteY0" fmla="*/ 0 h 6858000"/>
              <a:gd name="connsiteX1" fmla="*/ 3076 w 12192000"/>
              <a:gd name="connsiteY1" fmla="*/ 0 h 6858000"/>
              <a:gd name="connsiteX2" fmla="*/ 3076 w 12192000"/>
              <a:gd name="connsiteY2" fmla="*/ 6592951 h 6858000"/>
              <a:gd name="connsiteX3" fmla="*/ 77371 w 12192000"/>
              <a:gd name="connsiteY3" fmla="*/ 6584443 h 6858000"/>
              <a:gd name="connsiteX4" fmla="*/ 155222 w 12192000"/>
              <a:gd name="connsiteY4" fmla="*/ 6575679 h 6858000"/>
              <a:gd name="connsiteX5" fmla="*/ 155095 w 12192000"/>
              <a:gd name="connsiteY5" fmla="*/ 6575679 h 6858000"/>
              <a:gd name="connsiteX6" fmla="*/ 232819 w 12192000"/>
              <a:gd name="connsiteY6" fmla="*/ 6566916 h 6858000"/>
              <a:gd name="connsiteX7" fmla="*/ 310670 w 12192000"/>
              <a:gd name="connsiteY7" fmla="*/ 6558153 h 6858000"/>
              <a:gd name="connsiteX8" fmla="*/ 388394 w 12192000"/>
              <a:gd name="connsiteY8" fmla="*/ 6549390 h 6858000"/>
              <a:gd name="connsiteX9" fmla="*/ 466245 w 12192000"/>
              <a:gd name="connsiteY9" fmla="*/ 6540627 h 6858000"/>
              <a:gd name="connsiteX10" fmla="*/ 544096 w 12192000"/>
              <a:gd name="connsiteY10" fmla="*/ 6531864 h 6858000"/>
              <a:gd name="connsiteX11" fmla="*/ 621820 w 12192000"/>
              <a:gd name="connsiteY11" fmla="*/ 6523101 h 6858000"/>
              <a:gd name="connsiteX12" fmla="*/ 699671 w 12192000"/>
              <a:gd name="connsiteY12" fmla="*/ 6514338 h 6858000"/>
              <a:gd name="connsiteX13" fmla="*/ 777395 w 12192000"/>
              <a:gd name="connsiteY13" fmla="*/ 6505575 h 6858000"/>
              <a:gd name="connsiteX14" fmla="*/ 855119 w 12192000"/>
              <a:gd name="connsiteY14" fmla="*/ 6496812 h 6858000"/>
              <a:gd name="connsiteX15" fmla="*/ 932970 w 12192000"/>
              <a:gd name="connsiteY15" fmla="*/ 6488049 h 6858000"/>
              <a:gd name="connsiteX16" fmla="*/ 1010694 w 12192000"/>
              <a:gd name="connsiteY16" fmla="*/ 6479286 h 6858000"/>
              <a:gd name="connsiteX17" fmla="*/ 1088545 w 12192000"/>
              <a:gd name="connsiteY17" fmla="*/ 6470523 h 6858000"/>
              <a:gd name="connsiteX18" fmla="*/ 1166269 w 12192000"/>
              <a:gd name="connsiteY18" fmla="*/ 6461760 h 6858000"/>
              <a:gd name="connsiteX19" fmla="*/ 1244120 w 12192000"/>
              <a:gd name="connsiteY19" fmla="*/ 6452997 h 6858000"/>
              <a:gd name="connsiteX20" fmla="*/ 1321844 w 12192000"/>
              <a:gd name="connsiteY20" fmla="*/ 6444234 h 6858000"/>
              <a:gd name="connsiteX21" fmla="*/ 1399568 w 12192000"/>
              <a:gd name="connsiteY21" fmla="*/ 6435471 h 6858000"/>
              <a:gd name="connsiteX22" fmla="*/ 1477419 w 12192000"/>
              <a:gd name="connsiteY22" fmla="*/ 6426708 h 6858000"/>
              <a:gd name="connsiteX23" fmla="*/ 1555143 w 12192000"/>
              <a:gd name="connsiteY23" fmla="*/ 6417945 h 6858000"/>
              <a:gd name="connsiteX24" fmla="*/ 1632994 w 12192000"/>
              <a:gd name="connsiteY24" fmla="*/ 6409182 h 6858000"/>
              <a:gd name="connsiteX25" fmla="*/ 1710718 w 12192000"/>
              <a:gd name="connsiteY25" fmla="*/ 6400419 h 6858000"/>
              <a:gd name="connsiteX26" fmla="*/ 1788442 w 12192000"/>
              <a:gd name="connsiteY26" fmla="*/ 6391656 h 6858000"/>
              <a:gd name="connsiteX27" fmla="*/ 1866293 w 12192000"/>
              <a:gd name="connsiteY27" fmla="*/ 6382893 h 6858000"/>
              <a:gd name="connsiteX28" fmla="*/ 1944017 w 12192000"/>
              <a:gd name="connsiteY28" fmla="*/ 6374130 h 6858000"/>
              <a:gd name="connsiteX29" fmla="*/ 2021868 w 12192000"/>
              <a:gd name="connsiteY29" fmla="*/ 6365367 h 6858000"/>
              <a:gd name="connsiteX30" fmla="*/ 2099592 w 12192000"/>
              <a:gd name="connsiteY30" fmla="*/ 6356604 h 6858000"/>
              <a:gd name="connsiteX31" fmla="*/ 2177443 w 12192000"/>
              <a:gd name="connsiteY31" fmla="*/ 6347841 h 6858000"/>
              <a:gd name="connsiteX32" fmla="*/ 2255167 w 12192000"/>
              <a:gd name="connsiteY32" fmla="*/ 6339078 h 6858000"/>
              <a:gd name="connsiteX33" fmla="*/ 2333018 w 12192000"/>
              <a:gd name="connsiteY33" fmla="*/ 6330315 h 6858000"/>
              <a:gd name="connsiteX34" fmla="*/ 2410742 w 12192000"/>
              <a:gd name="connsiteY34" fmla="*/ 6321552 h 6858000"/>
              <a:gd name="connsiteX35" fmla="*/ 2488593 w 12192000"/>
              <a:gd name="connsiteY35" fmla="*/ 6312789 h 6858000"/>
              <a:gd name="connsiteX36" fmla="*/ 2566444 w 12192000"/>
              <a:gd name="connsiteY36" fmla="*/ 6304026 h 6858000"/>
              <a:gd name="connsiteX37" fmla="*/ 2644168 w 12192000"/>
              <a:gd name="connsiteY37" fmla="*/ 6295263 h 6858000"/>
              <a:gd name="connsiteX38" fmla="*/ 2722019 w 12192000"/>
              <a:gd name="connsiteY38" fmla="*/ 6286500 h 6858000"/>
              <a:gd name="connsiteX39" fmla="*/ 2799870 w 12192000"/>
              <a:gd name="connsiteY39" fmla="*/ 6277737 h 6858000"/>
              <a:gd name="connsiteX40" fmla="*/ 2877594 w 12192000"/>
              <a:gd name="connsiteY40" fmla="*/ 6268974 h 6858000"/>
              <a:gd name="connsiteX41" fmla="*/ 2955318 w 12192000"/>
              <a:gd name="connsiteY41" fmla="*/ 6260211 h 6858000"/>
              <a:gd name="connsiteX42" fmla="*/ 3033169 w 12192000"/>
              <a:gd name="connsiteY42" fmla="*/ 6251448 h 6858000"/>
              <a:gd name="connsiteX43" fmla="*/ 3111020 w 12192000"/>
              <a:gd name="connsiteY43" fmla="*/ 6242685 h 6858000"/>
              <a:gd name="connsiteX44" fmla="*/ 3188744 w 12192000"/>
              <a:gd name="connsiteY44" fmla="*/ 6233922 h 6858000"/>
              <a:gd name="connsiteX45" fmla="*/ 3266595 w 12192000"/>
              <a:gd name="connsiteY45" fmla="*/ 6225159 h 6858000"/>
              <a:gd name="connsiteX46" fmla="*/ 3344319 w 12192000"/>
              <a:gd name="connsiteY46" fmla="*/ 6216396 h 6858000"/>
              <a:gd name="connsiteX47" fmla="*/ 3422043 w 12192000"/>
              <a:gd name="connsiteY47" fmla="*/ 6207633 h 6858000"/>
              <a:gd name="connsiteX48" fmla="*/ 3499894 w 12192000"/>
              <a:gd name="connsiteY48" fmla="*/ 6198870 h 6858000"/>
              <a:gd name="connsiteX49" fmla="*/ 3577618 w 12192000"/>
              <a:gd name="connsiteY49" fmla="*/ 6190107 h 6858000"/>
              <a:gd name="connsiteX50" fmla="*/ 3655342 w 12192000"/>
              <a:gd name="connsiteY50" fmla="*/ 6181344 h 6858000"/>
              <a:gd name="connsiteX51" fmla="*/ 3733193 w 12192000"/>
              <a:gd name="connsiteY51" fmla="*/ 6172581 h 6858000"/>
              <a:gd name="connsiteX52" fmla="*/ 3810917 w 12192000"/>
              <a:gd name="connsiteY52" fmla="*/ 6163818 h 6858000"/>
              <a:gd name="connsiteX53" fmla="*/ 3888641 w 12192000"/>
              <a:gd name="connsiteY53" fmla="*/ 6155055 h 6858000"/>
              <a:gd name="connsiteX54" fmla="*/ 3966492 w 12192000"/>
              <a:gd name="connsiteY54" fmla="*/ 6146292 h 6858000"/>
              <a:gd name="connsiteX55" fmla="*/ 4044343 w 12192000"/>
              <a:gd name="connsiteY55" fmla="*/ 6137529 h 6858000"/>
              <a:gd name="connsiteX56" fmla="*/ 4122067 w 12192000"/>
              <a:gd name="connsiteY56" fmla="*/ 6128766 h 6858000"/>
              <a:gd name="connsiteX57" fmla="*/ 4740303 w 12192000"/>
              <a:gd name="connsiteY57" fmla="*/ 5701919 h 6858000"/>
              <a:gd name="connsiteX58" fmla="*/ 6724551 w 12192000"/>
              <a:gd name="connsiteY58" fmla="*/ 1271397 h 6858000"/>
              <a:gd name="connsiteX59" fmla="*/ 6359553 w 12192000"/>
              <a:gd name="connsiteY59" fmla="*/ 314452 h 6858000"/>
              <a:gd name="connsiteX60" fmla="*/ 5661307 w 12192000"/>
              <a:gd name="connsiteY60" fmla="*/ 0 h 6858000"/>
              <a:gd name="connsiteX61" fmla="*/ 12192000 w 12192000"/>
              <a:gd name="connsiteY61" fmla="*/ 0 h 6858000"/>
              <a:gd name="connsiteX62" fmla="*/ 12192000 w 12192000"/>
              <a:gd name="connsiteY62" fmla="*/ 6858000 h 6858000"/>
              <a:gd name="connsiteX63" fmla="*/ 0 w 12192000"/>
              <a:gd name="connsiteY6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12192000" h="6858000">
                <a:moveTo>
                  <a:pt x="0" y="0"/>
                </a:moveTo>
                <a:lnTo>
                  <a:pt x="3076" y="0"/>
                </a:lnTo>
                <a:lnTo>
                  <a:pt x="3076" y="6592951"/>
                </a:lnTo>
                <a:cubicBezTo>
                  <a:pt x="27968" y="6591300"/>
                  <a:pt x="52860" y="6588633"/>
                  <a:pt x="77371" y="6584443"/>
                </a:cubicBezTo>
                <a:cubicBezTo>
                  <a:pt x="103533" y="6582919"/>
                  <a:pt x="129441" y="6579997"/>
                  <a:pt x="155222" y="6575679"/>
                </a:cubicBezTo>
                <a:lnTo>
                  <a:pt x="155095" y="6575679"/>
                </a:lnTo>
                <a:cubicBezTo>
                  <a:pt x="181257" y="6574156"/>
                  <a:pt x="207165" y="6571234"/>
                  <a:pt x="232819" y="6566916"/>
                </a:cubicBezTo>
                <a:cubicBezTo>
                  <a:pt x="258981" y="6565393"/>
                  <a:pt x="284889" y="6562471"/>
                  <a:pt x="310670" y="6558153"/>
                </a:cubicBezTo>
                <a:cubicBezTo>
                  <a:pt x="336832" y="6556629"/>
                  <a:pt x="362740" y="6553708"/>
                  <a:pt x="388394" y="6549390"/>
                </a:cubicBezTo>
                <a:cubicBezTo>
                  <a:pt x="414556" y="6547866"/>
                  <a:pt x="440464" y="6544945"/>
                  <a:pt x="466245" y="6540627"/>
                </a:cubicBezTo>
                <a:cubicBezTo>
                  <a:pt x="492407" y="6539103"/>
                  <a:pt x="518315" y="6536182"/>
                  <a:pt x="544096" y="6531864"/>
                </a:cubicBezTo>
                <a:cubicBezTo>
                  <a:pt x="570258" y="6530340"/>
                  <a:pt x="596166" y="6527419"/>
                  <a:pt x="621820" y="6523101"/>
                </a:cubicBezTo>
                <a:cubicBezTo>
                  <a:pt x="647982" y="6521577"/>
                  <a:pt x="673890" y="6518657"/>
                  <a:pt x="699671" y="6514338"/>
                </a:cubicBezTo>
                <a:cubicBezTo>
                  <a:pt x="725833" y="6512814"/>
                  <a:pt x="751741" y="6509894"/>
                  <a:pt x="777395" y="6505575"/>
                </a:cubicBezTo>
                <a:cubicBezTo>
                  <a:pt x="803557" y="6504051"/>
                  <a:pt x="829465" y="6501130"/>
                  <a:pt x="855119" y="6496812"/>
                </a:cubicBezTo>
                <a:cubicBezTo>
                  <a:pt x="881281" y="6495288"/>
                  <a:pt x="907189" y="6492367"/>
                  <a:pt x="932970" y="6488049"/>
                </a:cubicBezTo>
                <a:cubicBezTo>
                  <a:pt x="959132" y="6486525"/>
                  <a:pt x="985040" y="6483604"/>
                  <a:pt x="1010694" y="6479286"/>
                </a:cubicBezTo>
                <a:cubicBezTo>
                  <a:pt x="1036856" y="6477762"/>
                  <a:pt x="1062764" y="6474841"/>
                  <a:pt x="1088545" y="6470523"/>
                </a:cubicBezTo>
                <a:cubicBezTo>
                  <a:pt x="1114707" y="6468999"/>
                  <a:pt x="1140615" y="6466078"/>
                  <a:pt x="1166269" y="6461760"/>
                </a:cubicBezTo>
                <a:cubicBezTo>
                  <a:pt x="1192431" y="6460236"/>
                  <a:pt x="1218339" y="6457315"/>
                  <a:pt x="1244120" y="6452997"/>
                </a:cubicBezTo>
                <a:cubicBezTo>
                  <a:pt x="1270282" y="6451473"/>
                  <a:pt x="1296190" y="6448552"/>
                  <a:pt x="1321844" y="6444234"/>
                </a:cubicBezTo>
                <a:cubicBezTo>
                  <a:pt x="1348006" y="6442710"/>
                  <a:pt x="1373914" y="6439789"/>
                  <a:pt x="1399568" y="6435471"/>
                </a:cubicBezTo>
                <a:cubicBezTo>
                  <a:pt x="1425730" y="6433947"/>
                  <a:pt x="1451638" y="6431026"/>
                  <a:pt x="1477419" y="6426708"/>
                </a:cubicBezTo>
                <a:cubicBezTo>
                  <a:pt x="1503581" y="6425184"/>
                  <a:pt x="1529489" y="6422263"/>
                  <a:pt x="1555143" y="6417945"/>
                </a:cubicBezTo>
                <a:cubicBezTo>
                  <a:pt x="1581305" y="6416421"/>
                  <a:pt x="1607213" y="6413500"/>
                  <a:pt x="1632994" y="6409182"/>
                </a:cubicBezTo>
                <a:cubicBezTo>
                  <a:pt x="1659156" y="6407658"/>
                  <a:pt x="1685064" y="6404737"/>
                  <a:pt x="1710718" y="6400419"/>
                </a:cubicBezTo>
                <a:cubicBezTo>
                  <a:pt x="1736880" y="6398895"/>
                  <a:pt x="1762788" y="6395974"/>
                  <a:pt x="1788442" y="6391656"/>
                </a:cubicBezTo>
                <a:cubicBezTo>
                  <a:pt x="1814604" y="6390132"/>
                  <a:pt x="1840512" y="6387211"/>
                  <a:pt x="1866293" y="6382893"/>
                </a:cubicBezTo>
                <a:cubicBezTo>
                  <a:pt x="1892455" y="6381369"/>
                  <a:pt x="1918363" y="6378448"/>
                  <a:pt x="1944017" y="6374130"/>
                </a:cubicBezTo>
                <a:cubicBezTo>
                  <a:pt x="1970179" y="6372606"/>
                  <a:pt x="1996087" y="6369685"/>
                  <a:pt x="2021868" y="6365367"/>
                </a:cubicBezTo>
                <a:cubicBezTo>
                  <a:pt x="2048030" y="6363843"/>
                  <a:pt x="2073938" y="6360922"/>
                  <a:pt x="2099592" y="6356604"/>
                </a:cubicBezTo>
                <a:cubicBezTo>
                  <a:pt x="2125754" y="6355080"/>
                  <a:pt x="2151662" y="6352159"/>
                  <a:pt x="2177443" y="6347841"/>
                </a:cubicBezTo>
                <a:cubicBezTo>
                  <a:pt x="2203605" y="6346317"/>
                  <a:pt x="2229513" y="6343396"/>
                  <a:pt x="2255167" y="6339078"/>
                </a:cubicBezTo>
                <a:cubicBezTo>
                  <a:pt x="2281329" y="6337554"/>
                  <a:pt x="2307364" y="6334633"/>
                  <a:pt x="2333018" y="6330315"/>
                </a:cubicBezTo>
                <a:cubicBezTo>
                  <a:pt x="2359180" y="6328791"/>
                  <a:pt x="2385088" y="6325870"/>
                  <a:pt x="2410742" y="6321552"/>
                </a:cubicBezTo>
                <a:cubicBezTo>
                  <a:pt x="2436904" y="6320028"/>
                  <a:pt x="2462812" y="6317107"/>
                  <a:pt x="2488593" y="6312789"/>
                </a:cubicBezTo>
                <a:cubicBezTo>
                  <a:pt x="2514755" y="6311265"/>
                  <a:pt x="2540790" y="6308344"/>
                  <a:pt x="2566444" y="6304026"/>
                </a:cubicBezTo>
                <a:cubicBezTo>
                  <a:pt x="2592606" y="6302502"/>
                  <a:pt x="2618514" y="6299581"/>
                  <a:pt x="2644168" y="6295263"/>
                </a:cubicBezTo>
                <a:cubicBezTo>
                  <a:pt x="2670330" y="6293739"/>
                  <a:pt x="2696238" y="6290818"/>
                  <a:pt x="2722019" y="6286500"/>
                </a:cubicBezTo>
                <a:cubicBezTo>
                  <a:pt x="2748181" y="6284976"/>
                  <a:pt x="2774089" y="6282055"/>
                  <a:pt x="2799870" y="6277737"/>
                </a:cubicBezTo>
                <a:cubicBezTo>
                  <a:pt x="2826032" y="6276213"/>
                  <a:pt x="2851940" y="6273292"/>
                  <a:pt x="2877594" y="6268974"/>
                </a:cubicBezTo>
                <a:cubicBezTo>
                  <a:pt x="2903756" y="6267450"/>
                  <a:pt x="2929664" y="6264529"/>
                  <a:pt x="2955318" y="6260211"/>
                </a:cubicBezTo>
                <a:cubicBezTo>
                  <a:pt x="2981480" y="6258687"/>
                  <a:pt x="3007388" y="6255766"/>
                  <a:pt x="3033169" y="6251448"/>
                </a:cubicBezTo>
                <a:cubicBezTo>
                  <a:pt x="3059331" y="6249924"/>
                  <a:pt x="3085239" y="6247003"/>
                  <a:pt x="3111020" y="6242685"/>
                </a:cubicBezTo>
                <a:cubicBezTo>
                  <a:pt x="3137182" y="6241161"/>
                  <a:pt x="3163090" y="6238240"/>
                  <a:pt x="3188744" y="6233922"/>
                </a:cubicBezTo>
                <a:cubicBezTo>
                  <a:pt x="3214906" y="6232398"/>
                  <a:pt x="3240941" y="6229477"/>
                  <a:pt x="3266595" y="6225159"/>
                </a:cubicBezTo>
                <a:cubicBezTo>
                  <a:pt x="3292757" y="6223635"/>
                  <a:pt x="3318665" y="6220714"/>
                  <a:pt x="3344319" y="6216396"/>
                </a:cubicBezTo>
                <a:cubicBezTo>
                  <a:pt x="3370481" y="6214872"/>
                  <a:pt x="3396389" y="6211951"/>
                  <a:pt x="3422043" y="6207633"/>
                </a:cubicBezTo>
                <a:cubicBezTo>
                  <a:pt x="3448205" y="6206109"/>
                  <a:pt x="3474113" y="6203188"/>
                  <a:pt x="3499894" y="6198870"/>
                </a:cubicBezTo>
                <a:cubicBezTo>
                  <a:pt x="3526056" y="6197346"/>
                  <a:pt x="3551964" y="6194425"/>
                  <a:pt x="3577618" y="6190107"/>
                </a:cubicBezTo>
                <a:cubicBezTo>
                  <a:pt x="3603780" y="6188583"/>
                  <a:pt x="3629688" y="6185662"/>
                  <a:pt x="3655342" y="6181344"/>
                </a:cubicBezTo>
                <a:cubicBezTo>
                  <a:pt x="3681504" y="6179820"/>
                  <a:pt x="3707539" y="6176899"/>
                  <a:pt x="3733193" y="6172581"/>
                </a:cubicBezTo>
                <a:cubicBezTo>
                  <a:pt x="3759355" y="6171057"/>
                  <a:pt x="3785263" y="6168136"/>
                  <a:pt x="3810917" y="6163818"/>
                </a:cubicBezTo>
                <a:cubicBezTo>
                  <a:pt x="3837079" y="6162294"/>
                  <a:pt x="3862987" y="6159373"/>
                  <a:pt x="3888641" y="6155055"/>
                </a:cubicBezTo>
                <a:cubicBezTo>
                  <a:pt x="3914803" y="6153531"/>
                  <a:pt x="3940711" y="6150610"/>
                  <a:pt x="3966492" y="6146292"/>
                </a:cubicBezTo>
                <a:cubicBezTo>
                  <a:pt x="3992654" y="6144768"/>
                  <a:pt x="4018562" y="6141847"/>
                  <a:pt x="4044343" y="6137529"/>
                </a:cubicBezTo>
                <a:cubicBezTo>
                  <a:pt x="4070505" y="6136005"/>
                  <a:pt x="4096413" y="6133084"/>
                  <a:pt x="4122067" y="6128766"/>
                </a:cubicBezTo>
                <a:cubicBezTo>
                  <a:pt x="4382798" y="6113145"/>
                  <a:pt x="4626130" y="5956808"/>
                  <a:pt x="4740303" y="5701919"/>
                </a:cubicBezTo>
                <a:lnTo>
                  <a:pt x="6724551" y="1271397"/>
                </a:lnTo>
                <a:cubicBezTo>
                  <a:pt x="6888000" y="906399"/>
                  <a:pt x="6724551" y="477901"/>
                  <a:pt x="6359553" y="314452"/>
                </a:cubicBezTo>
                <a:lnTo>
                  <a:pt x="5661307" y="0"/>
                </a:lnTo>
                <a:lnTo>
                  <a:pt x="12192000" y="0"/>
                </a:lnTo>
                <a:lnTo>
                  <a:pt x="12192000" y="6858000"/>
                </a:lnTo>
                <a:lnTo>
                  <a:pt x="0" y="6858000"/>
                </a:lnTo>
                <a:close/>
              </a:path>
            </a:pathLst>
          </a:custGeom>
          <a:solidFill>
            <a:schemeClr val="bg1">
              <a:lumMod val="95000"/>
            </a:schemeClr>
          </a:solidFill>
        </p:spPr>
        <p:txBody>
          <a:bodyPr wrap="square" tIns="864000" anchor="ctr">
            <a:noAutofit/>
          </a:bodyPr>
          <a:lstStyle>
            <a:lvl1pPr algn="ctr">
              <a:spcBef>
                <a:spcPts val="0"/>
              </a:spcBef>
              <a:spcAft>
                <a:spcPts val="0"/>
              </a:spcAft>
              <a:defRPr sz="1200"/>
            </a:lvl1pPr>
          </a:lstStyle>
          <a:p>
            <a:r>
              <a:rPr lang="de-DE" noProof="0"/>
              <a:t> </a:t>
            </a:r>
          </a:p>
        </p:txBody>
      </p:sp>
      <p:sp>
        <p:nvSpPr>
          <p:cNvPr id="3" name="Fußzeilenplatzhalter 2">
            <a:extLst>
              <a:ext uri="{FF2B5EF4-FFF2-40B4-BE49-F238E27FC236}">
                <a16:creationId xmlns:a16="http://schemas.microsoft.com/office/drawing/2014/main" id="{623D00F7-8C18-A586-2A9F-A786948C036A}"/>
              </a:ext>
            </a:extLst>
          </p:cNvPr>
          <p:cNvSpPr>
            <a:spLocks noGrp="1"/>
          </p:cNvSpPr>
          <p:nvPr>
            <p:ph type="ftr" sz="quarter" idx="15"/>
          </p:nvPr>
        </p:nvSpPr>
        <p:spPr bwMode="gray"/>
        <p:txBody>
          <a:bodyPr/>
          <a:lstStyle/>
          <a:p>
            <a:r>
              <a:rPr lang="de-DE"/>
              <a:t>Date dd.mm.yyyy  |  Security label</a:t>
            </a:r>
          </a:p>
        </p:txBody>
      </p:sp>
      <p:sp>
        <p:nvSpPr>
          <p:cNvPr id="6" name="Titel 5">
            <a:extLst>
              <a:ext uri="{FF2B5EF4-FFF2-40B4-BE49-F238E27FC236}">
                <a16:creationId xmlns:a16="http://schemas.microsoft.com/office/drawing/2014/main" id="{DAB1CA6A-0175-6FFC-DB0C-6065B00CC521}"/>
              </a:ext>
            </a:extLst>
          </p:cNvPr>
          <p:cNvSpPr>
            <a:spLocks noGrp="1"/>
          </p:cNvSpPr>
          <p:nvPr>
            <p:ph type="title" hasCustomPrompt="1"/>
          </p:nvPr>
        </p:nvSpPr>
        <p:spPr bwMode="gray">
          <a:xfrm>
            <a:off x="1092200" y="2312988"/>
            <a:ext cx="4175709" cy="1179991"/>
          </a:xfrm>
        </p:spPr>
        <p:txBody>
          <a:bodyPr anchor="b"/>
          <a:lstStyle>
            <a:lvl1pPr>
              <a:defRPr sz="6400"/>
            </a:lvl1pPr>
          </a:lstStyle>
          <a:p>
            <a:r>
              <a:rPr lang="de-DE" noProof="0"/>
              <a:t>Title</a:t>
            </a:r>
            <a:endParaRPr lang="de-DE"/>
          </a:p>
        </p:txBody>
      </p:sp>
      <p:sp>
        <p:nvSpPr>
          <p:cNvPr id="14" name="Textplatzhalter 4">
            <a:extLst>
              <a:ext uri="{FF2B5EF4-FFF2-40B4-BE49-F238E27FC236}">
                <a16:creationId xmlns:a16="http://schemas.microsoft.com/office/drawing/2014/main" id="{1FDFDF76-1EE0-0549-116C-A1D6684844C9}"/>
              </a:ext>
            </a:extLst>
          </p:cNvPr>
          <p:cNvSpPr>
            <a:spLocks noGrp="1"/>
          </p:cNvSpPr>
          <p:nvPr>
            <p:ph type="body" sz="quarter" idx="17" hasCustomPrompt="1"/>
          </p:nvPr>
        </p:nvSpPr>
        <p:spPr bwMode="gray">
          <a:xfrm>
            <a:off x="1092199" y="3708879"/>
            <a:ext cx="4175710" cy="2349021"/>
          </a:xfrm>
          <a:prstGeom prst="rect">
            <a:avLst/>
          </a:prstGeom>
        </p:spPr>
        <p:txBody>
          <a:bodyPr/>
          <a:lstStyle>
            <a:lvl1pPr marL="0" indent="0">
              <a:lnSpc>
                <a:spcPct val="100000"/>
              </a:lnSpc>
              <a:spcBef>
                <a:spcPts val="0"/>
              </a:spcBef>
              <a:spcAft>
                <a:spcPts val="0"/>
              </a:spcAft>
              <a:buFont typeface="Arial" panose="020B0604020202020204" pitchFamily="34" charset="0"/>
              <a:buNone/>
              <a:defRPr sz="3700" b="1" i="1" cap="none" baseline="0">
                <a:latin typeface="Barlow ExtraBold" pitchFamily="2" charset="77"/>
              </a:defRPr>
            </a:lvl1pPr>
            <a:lvl2pPr marL="0" indent="0">
              <a:lnSpc>
                <a:spcPct val="100000"/>
              </a:lnSpc>
              <a:spcBef>
                <a:spcPts val="0"/>
              </a:spcBef>
              <a:spcAft>
                <a:spcPts val="0"/>
              </a:spcAft>
              <a:buFont typeface="Arial" panose="020B0604020202020204" pitchFamily="34" charset="0"/>
              <a:buNone/>
              <a:defRPr sz="3700" b="1">
                <a:latin typeface="+mj-lt"/>
              </a:defRPr>
            </a:lvl2pPr>
            <a:lvl3pPr marL="0" indent="0">
              <a:lnSpc>
                <a:spcPct val="100000"/>
              </a:lnSpc>
              <a:spcBef>
                <a:spcPts val="0"/>
              </a:spcBef>
              <a:spcAft>
                <a:spcPts val="0"/>
              </a:spcAft>
              <a:buFont typeface="Arial" panose="020B0604020202020204" pitchFamily="34" charset="0"/>
              <a:buNone/>
              <a:defRPr sz="3700" b="1">
                <a:latin typeface="+mj-lt"/>
              </a:defRPr>
            </a:lvl3pPr>
            <a:lvl4pPr marL="0" indent="0">
              <a:lnSpc>
                <a:spcPct val="100000"/>
              </a:lnSpc>
              <a:spcBef>
                <a:spcPts val="0"/>
              </a:spcBef>
              <a:spcAft>
                <a:spcPts val="0"/>
              </a:spcAft>
              <a:buFont typeface="Arial" panose="020B0604020202020204" pitchFamily="34" charset="0"/>
              <a:buNone/>
              <a:defRPr sz="3700" b="1">
                <a:latin typeface="+mj-lt"/>
              </a:defRPr>
            </a:lvl4pPr>
            <a:lvl5pPr marL="0" indent="0">
              <a:lnSpc>
                <a:spcPct val="100000"/>
              </a:lnSpc>
              <a:spcBef>
                <a:spcPts val="0"/>
              </a:spcBef>
              <a:spcAft>
                <a:spcPts val="0"/>
              </a:spcAft>
              <a:buFont typeface="Arial" panose="020B0604020202020204" pitchFamily="34" charset="0"/>
              <a:buNone/>
              <a:defRPr sz="3700" b="0" cap="all" baseline="0">
                <a:latin typeface="Barlow Black" panose="00000A00000000000000" pitchFamily="2" charset="0"/>
              </a:defRPr>
            </a:lvl5pPr>
            <a:lvl6pPr marL="0" indent="0">
              <a:lnSpc>
                <a:spcPct val="100000"/>
              </a:lnSpc>
              <a:spcBef>
                <a:spcPts val="0"/>
              </a:spcBef>
              <a:spcAft>
                <a:spcPts val="0"/>
              </a:spcAft>
              <a:buFont typeface="Arial" panose="020B0604020202020204" pitchFamily="34" charset="0"/>
              <a:buNone/>
              <a:defRPr sz="3700" b="1">
                <a:latin typeface="+mj-lt"/>
              </a:defRPr>
            </a:lvl6pPr>
            <a:lvl7pPr marL="0" indent="0">
              <a:lnSpc>
                <a:spcPct val="100000"/>
              </a:lnSpc>
              <a:spcBef>
                <a:spcPts val="0"/>
              </a:spcBef>
              <a:spcAft>
                <a:spcPts val="0"/>
              </a:spcAft>
              <a:buFont typeface="Arial" panose="020B0604020202020204" pitchFamily="34" charset="0"/>
              <a:buNone/>
              <a:defRPr sz="3700" b="1">
                <a:latin typeface="+mj-lt"/>
              </a:defRPr>
            </a:lvl7pPr>
            <a:lvl8pPr marL="0" indent="0">
              <a:lnSpc>
                <a:spcPct val="100000"/>
              </a:lnSpc>
              <a:spcBef>
                <a:spcPts val="0"/>
              </a:spcBef>
              <a:spcAft>
                <a:spcPts val="0"/>
              </a:spcAft>
              <a:buFont typeface="Arial" panose="020B0604020202020204" pitchFamily="34" charset="0"/>
              <a:buNone/>
              <a:defRPr sz="3700" b="1">
                <a:latin typeface="+mj-lt"/>
              </a:defRPr>
            </a:lvl8pPr>
            <a:lvl9pPr marL="0" indent="0">
              <a:lnSpc>
                <a:spcPct val="100000"/>
              </a:lnSpc>
              <a:spcBef>
                <a:spcPts val="0"/>
              </a:spcBef>
              <a:spcAft>
                <a:spcPts val="0"/>
              </a:spcAft>
              <a:buFont typeface="Arial" panose="020B0604020202020204" pitchFamily="34" charset="0"/>
              <a:buNone/>
              <a:defRPr sz="3700" b="1">
                <a:latin typeface="+mj-lt"/>
              </a:defRPr>
            </a:lvl9pPr>
          </a:lstStyle>
          <a:p>
            <a:pPr lvl="0"/>
            <a:r>
              <a:rPr lang="de-DE" noProof="0"/>
              <a:t>Use </a:t>
            </a:r>
            <a:r>
              <a:rPr lang="de-DE" noProof="0" err="1"/>
              <a:t>this</a:t>
            </a:r>
            <a:r>
              <a:rPr lang="de-DE" noProof="0"/>
              <a:t> </a:t>
            </a:r>
            <a:r>
              <a:rPr lang="de-DE" noProof="0" err="1"/>
              <a:t>field</a:t>
            </a:r>
            <a:r>
              <a:rPr lang="de-DE" noProof="0"/>
              <a:t> </a:t>
            </a:r>
            <a:r>
              <a:rPr lang="de-DE" noProof="0" err="1"/>
              <a:t>to</a:t>
            </a:r>
            <a:r>
              <a:rPr lang="de-DE" noProof="0"/>
              <a:t> </a:t>
            </a:r>
            <a:r>
              <a:rPr lang="de-DE" noProof="0" err="1"/>
              <a:t>enter</a:t>
            </a:r>
            <a:r>
              <a:rPr lang="de-DE" noProof="0"/>
              <a:t> </a:t>
            </a:r>
            <a:r>
              <a:rPr lang="de-DE" noProof="0" err="1"/>
              <a:t>text</a:t>
            </a:r>
            <a:r>
              <a:rPr lang="de-DE" noProof="0"/>
              <a:t>.</a:t>
            </a:r>
          </a:p>
          <a:p>
            <a:pPr lvl="4"/>
            <a:endParaRPr lang="de-DE" noProof="0"/>
          </a:p>
        </p:txBody>
      </p:sp>
      <p:sp>
        <p:nvSpPr>
          <p:cNvPr id="11" name="Textplatzhalter 10">
            <a:extLst>
              <a:ext uri="{FF2B5EF4-FFF2-40B4-BE49-F238E27FC236}">
                <a16:creationId xmlns:a16="http://schemas.microsoft.com/office/drawing/2014/main" id="{6A5FFF97-8CEE-229E-8346-84BCBBBE242B}"/>
              </a:ext>
            </a:extLst>
          </p:cNvPr>
          <p:cNvSpPr>
            <a:spLocks noGrp="1"/>
          </p:cNvSpPr>
          <p:nvPr>
            <p:ph type="body" sz="quarter" idx="18" hasCustomPrompt="1"/>
          </p:nvPr>
        </p:nvSpPr>
        <p:spPr bwMode="gray">
          <a:xfrm>
            <a:off x="11352648" y="307218"/>
            <a:ext cx="576000" cy="313200"/>
          </a:xfrm>
          <a:custGeom>
            <a:avLst/>
            <a:gdLst>
              <a:gd name="connsiteX0" fmla="*/ 471895 w 4139828"/>
              <a:gd name="connsiteY0" fmla="*/ 507 h 2242189"/>
              <a:gd name="connsiteX1" fmla="*/ 1132548 w 4139828"/>
              <a:gd name="connsiteY1" fmla="*/ 507 h 2242189"/>
              <a:gd name="connsiteX2" fmla="*/ 1179737 w 4139828"/>
              <a:gd name="connsiteY2" fmla="*/ 47691 h 2242189"/>
              <a:gd name="connsiteX3" fmla="*/ 1179737 w 4139828"/>
              <a:gd name="connsiteY3" fmla="*/ 425671 h 2242189"/>
              <a:gd name="connsiteX4" fmla="*/ 1132548 w 4139828"/>
              <a:gd name="connsiteY4" fmla="*/ 472855 h 2242189"/>
              <a:gd name="connsiteX5" fmla="*/ 659508 w 4139828"/>
              <a:gd name="connsiteY5" fmla="*/ 472855 h 2242189"/>
              <a:gd name="connsiteX6" fmla="*/ 470750 w 4139828"/>
              <a:gd name="connsiteY6" fmla="*/ 661591 h 2242189"/>
              <a:gd name="connsiteX7" fmla="*/ 470750 w 4139828"/>
              <a:gd name="connsiteY7" fmla="*/ 728742 h 2242189"/>
              <a:gd name="connsiteX8" fmla="*/ 494281 w 4139828"/>
              <a:gd name="connsiteY8" fmla="*/ 752270 h 2242189"/>
              <a:gd name="connsiteX9" fmla="*/ 800059 w 4139828"/>
              <a:gd name="connsiteY9" fmla="*/ 752270 h 2242189"/>
              <a:gd name="connsiteX10" fmla="*/ 847248 w 4139828"/>
              <a:gd name="connsiteY10" fmla="*/ 799454 h 2242189"/>
              <a:gd name="connsiteX11" fmla="*/ 847248 w 4139828"/>
              <a:gd name="connsiteY11" fmla="*/ 1081668 h 2242189"/>
              <a:gd name="connsiteX12" fmla="*/ 800059 w 4139828"/>
              <a:gd name="connsiteY12" fmla="*/ 1128852 h 2242189"/>
              <a:gd name="connsiteX13" fmla="*/ 494281 w 4139828"/>
              <a:gd name="connsiteY13" fmla="*/ 1128852 h 2242189"/>
              <a:gd name="connsiteX14" fmla="*/ 470750 w 4139828"/>
              <a:gd name="connsiteY14" fmla="*/ 1152380 h 2242189"/>
              <a:gd name="connsiteX15" fmla="*/ 470750 w 4139828"/>
              <a:gd name="connsiteY15" fmla="*/ 1227671 h 2242189"/>
              <a:gd name="connsiteX16" fmla="*/ 659508 w 4139828"/>
              <a:gd name="connsiteY16" fmla="*/ 1416406 h 2242189"/>
              <a:gd name="connsiteX17" fmla="*/ 1297775 w 4139828"/>
              <a:gd name="connsiteY17" fmla="*/ 1416406 h 2242189"/>
              <a:gd name="connsiteX18" fmla="*/ 1297775 w 4139828"/>
              <a:gd name="connsiteY18" fmla="*/ 1413100 h 2242189"/>
              <a:gd name="connsiteX19" fmla="*/ 1297775 w 4139828"/>
              <a:gd name="connsiteY19" fmla="*/ 472728 h 2242189"/>
              <a:gd name="connsiteX20" fmla="*/ 1769797 w 4139828"/>
              <a:gd name="connsiteY20" fmla="*/ 889 h 2242189"/>
              <a:gd name="connsiteX21" fmla="*/ 2359729 w 4139828"/>
              <a:gd name="connsiteY21" fmla="*/ 889 h 2242189"/>
              <a:gd name="connsiteX22" fmla="*/ 2831624 w 4139828"/>
              <a:gd name="connsiteY22" fmla="*/ 472728 h 2242189"/>
              <a:gd name="connsiteX23" fmla="*/ 2831624 w 4139828"/>
              <a:gd name="connsiteY23" fmla="*/ 2195005 h 2242189"/>
              <a:gd name="connsiteX24" fmla="*/ 2784434 w 4139828"/>
              <a:gd name="connsiteY24" fmla="*/ 2242189 h 2242189"/>
              <a:gd name="connsiteX25" fmla="*/ 2408063 w 4139828"/>
              <a:gd name="connsiteY25" fmla="*/ 2242189 h 2242189"/>
              <a:gd name="connsiteX26" fmla="*/ 2360874 w 4139828"/>
              <a:gd name="connsiteY26" fmla="*/ 2195005 h 2242189"/>
              <a:gd name="connsiteX27" fmla="*/ 2360874 w 4139828"/>
              <a:gd name="connsiteY27" fmla="*/ 661336 h 2242189"/>
              <a:gd name="connsiteX28" fmla="*/ 2172116 w 4139828"/>
              <a:gd name="connsiteY28" fmla="*/ 472601 h 2242189"/>
              <a:gd name="connsiteX29" fmla="*/ 1957410 w 4139828"/>
              <a:gd name="connsiteY29" fmla="*/ 472601 h 2242189"/>
              <a:gd name="connsiteX30" fmla="*/ 1768652 w 4139828"/>
              <a:gd name="connsiteY30" fmla="*/ 661336 h 2242189"/>
              <a:gd name="connsiteX31" fmla="*/ 1768652 w 4139828"/>
              <a:gd name="connsiteY31" fmla="*/ 1227671 h 2242189"/>
              <a:gd name="connsiteX32" fmla="*/ 1957410 w 4139828"/>
              <a:gd name="connsiteY32" fmla="*/ 1416406 h 2242189"/>
              <a:gd name="connsiteX33" fmla="*/ 2219305 w 4139828"/>
              <a:gd name="connsiteY33" fmla="*/ 1416406 h 2242189"/>
              <a:gd name="connsiteX34" fmla="*/ 2242963 w 4139828"/>
              <a:gd name="connsiteY34" fmla="*/ 1439935 h 2242189"/>
              <a:gd name="connsiteX35" fmla="*/ 2242963 w 4139828"/>
              <a:gd name="connsiteY35" fmla="*/ 1864717 h 2242189"/>
              <a:gd name="connsiteX36" fmla="*/ 2219305 w 4139828"/>
              <a:gd name="connsiteY36" fmla="*/ 1888246 h 2242189"/>
              <a:gd name="connsiteX37" fmla="*/ 472022 w 4139828"/>
              <a:gd name="connsiteY37" fmla="*/ 1888246 h 2242189"/>
              <a:gd name="connsiteX38" fmla="*/ 0 w 4139828"/>
              <a:gd name="connsiteY38" fmla="*/ 1416406 h 2242189"/>
              <a:gd name="connsiteX39" fmla="*/ 0 w 4139828"/>
              <a:gd name="connsiteY39" fmla="*/ 472346 h 2242189"/>
              <a:gd name="connsiteX40" fmla="*/ 471895 w 4139828"/>
              <a:gd name="connsiteY40" fmla="*/ 507 h 2242189"/>
              <a:gd name="connsiteX41" fmla="*/ 3422701 w 4139828"/>
              <a:gd name="connsiteY41" fmla="*/ 0 h 2242189"/>
              <a:gd name="connsiteX42" fmla="*/ 4021918 w 4139828"/>
              <a:gd name="connsiteY42" fmla="*/ 0 h 2242189"/>
              <a:gd name="connsiteX43" fmla="*/ 4069108 w 4139828"/>
              <a:gd name="connsiteY43" fmla="*/ 47184 h 2242189"/>
              <a:gd name="connsiteX44" fmla="*/ 4069108 w 4139828"/>
              <a:gd name="connsiteY44" fmla="*/ 425546 h 2242189"/>
              <a:gd name="connsiteX45" fmla="*/ 4021918 w 4139828"/>
              <a:gd name="connsiteY45" fmla="*/ 472730 h 2242189"/>
              <a:gd name="connsiteX46" fmla="*/ 3532979 w 4139828"/>
              <a:gd name="connsiteY46" fmla="*/ 472730 h 2242189"/>
              <a:gd name="connsiteX47" fmla="*/ 3532852 w 4139828"/>
              <a:gd name="connsiteY47" fmla="*/ 472857 h 2242189"/>
              <a:gd name="connsiteX48" fmla="*/ 3488969 w 4139828"/>
              <a:gd name="connsiteY48" fmla="*/ 599147 h 2242189"/>
              <a:gd name="connsiteX49" fmla="*/ 3904008 w 4139828"/>
              <a:gd name="connsiteY49" fmla="*/ 927781 h 2242189"/>
              <a:gd name="connsiteX50" fmla="*/ 4139828 w 4139828"/>
              <a:gd name="connsiteY50" fmla="*/ 1415391 h 2242189"/>
              <a:gd name="connsiteX51" fmla="*/ 4001312 w 4139828"/>
              <a:gd name="connsiteY51" fmla="*/ 1749875 h 2242189"/>
              <a:gd name="connsiteX52" fmla="*/ 3666916 w 4139828"/>
              <a:gd name="connsiteY52" fmla="*/ 1888375 h 2242189"/>
              <a:gd name="connsiteX53" fmla="*/ 2973319 w 4139828"/>
              <a:gd name="connsiteY53" fmla="*/ 1888375 h 2242189"/>
              <a:gd name="connsiteX54" fmla="*/ 2949788 w 4139828"/>
              <a:gd name="connsiteY54" fmla="*/ 1864846 h 2242189"/>
              <a:gd name="connsiteX55" fmla="*/ 2949788 w 4139828"/>
              <a:gd name="connsiteY55" fmla="*/ 1439173 h 2242189"/>
              <a:gd name="connsiteX56" fmla="*/ 2973319 w 4139828"/>
              <a:gd name="connsiteY56" fmla="*/ 1415518 h 2242189"/>
              <a:gd name="connsiteX57" fmla="*/ 3556637 w 4139828"/>
              <a:gd name="connsiteY57" fmla="*/ 1415518 h 2242189"/>
              <a:gd name="connsiteX58" fmla="*/ 3600520 w 4139828"/>
              <a:gd name="connsiteY58" fmla="*/ 1289228 h 2242189"/>
              <a:gd name="connsiteX59" fmla="*/ 3185481 w 4139828"/>
              <a:gd name="connsiteY59" fmla="*/ 960594 h 2242189"/>
              <a:gd name="connsiteX60" fmla="*/ 2949661 w 4139828"/>
              <a:gd name="connsiteY60" fmla="*/ 472984 h 2242189"/>
              <a:gd name="connsiteX61" fmla="*/ 3422701 w 4139828"/>
              <a:gd name="connsiteY61" fmla="*/ 0 h 22421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4139828" h="2242189">
                <a:moveTo>
                  <a:pt x="471895" y="507"/>
                </a:moveTo>
                <a:lnTo>
                  <a:pt x="1132548" y="507"/>
                </a:lnTo>
                <a:cubicBezTo>
                  <a:pt x="1158623" y="507"/>
                  <a:pt x="1179737" y="21619"/>
                  <a:pt x="1179737" y="47691"/>
                </a:cubicBezTo>
                <a:lnTo>
                  <a:pt x="1179737" y="425671"/>
                </a:lnTo>
                <a:cubicBezTo>
                  <a:pt x="1179737" y="451743"/>
                  <a:pt x="1158623" y="472855"/>
                  <a:pt x="1132548" y="472855"/>
                </a:cubicBezTo>
                <a:lnTo>
                  <a:pt x="659508" y="472855"/>
                </a:lnTo>
                <a:cubicBezTo>
                  <a:pt x="555208" y="472855"/>
                  <a:pt x="470750" y="557303"/>
                  <a:pt x="470750" y="661591"/>
                </a:cubicBezTo>
                <a:lnTo>
                  <a:pt x="470750" y="728742"/>
                </a:lnTo>
                <a:cubicBezTo>
                  <a:pt x="470750" y="741714"/>
                  <a:pt x="481307" y="752270"/>
                  <a:pt x="494281" y="752270"/>
                </a:cubicBezTo>
                <a:lnTo>
                  <a:pt x="800059" y="752270"/>
                </a:lnTo>
                <a:cubicBezTo>
                  <a:pt x="826134" y="752270"/>
                  <a:pt x="847248" y="773382"/>
                  <a:pt x="847248" y="799454"/>
                </a:cubicBezTo>
                <a:lnTo>
                  <a:pt x="847248" y="1081668"/>
                </a:lnTo>
                <a:cubicBezTo>
                  <a:pt x="847248" y="1107740"/>
                  <a:pt x="826134" y="1128852"/>
                  <a:pt x="800059" y="1128852"/>
                </a:cubicBezTo>
                <a:lnTo>
                  <a:pt x="494281" y="1128852"/>
                </a:lnTo>
                <a:cubicBezTo>
                  <a:pt x="481307" y="1128852"/>
                  <a:pt x="470750" y="1139408"/>
                  <a:pt x="470750" y="1152380"/>
                </a:cubicBezTo>
                <a:lnTo>
                  <a:pt x="470750" y="1227671"/>
                </a:lnTo>
                <a:cubicBezTo>
                  <a:pt x="470750" y="1331832"/>
                  <a:pt x="555208" y="1416406"/>
                  <a:pt x="659508" y="1416406"/>
                </a:cubicBezTo>
                <a:lnTo>
                  <a:pt x="1297775" y="1416406"/>
                </a:lnTo>
                <a:cubicBezTo>
                  <a:pt x="1297775" y="1415389"/>
                  <a:pt x="1297775" y="1414244"/>
                  <a:pt x="1297775" y="1413100"/>
                </a:cubicBezTo>
                <a:lnTo>
                  <a:pt x="1297775" y="472728"/>
                </a:lnTo>
                <a:cubicBezTo>
                  <a:pt x="1297775" y="212135"/>
                  <a:pt x="1509173" y="889"/>
                  <a:pt x="1769797" y="889"/>
                </a:cubicBezTo>
                <a:lnTo>
                  <a:pt x="2359729" y="889"/>
                </a:lnTo>
                <a:cubicBezTo>
                  <a:pt x="2620352" y="889"/>
                  <a:pt x="2831624" y="212135"/>
                  <a:pt x="2831624" y="472728"/>
                </a:cubicBezTo>
                <a:lnTo>
                  <a:pt x="2831624" y="2195005"/>
                </a:lnTo>
                <a:cubicBezTo>
                  <a:pt x="2831624" y="2221077"/>
                  <a:pt x="2810509" y="2242189"/>
                  <a:pt x="2784434" y="2242189"/>
                </a:cubicBezTo>
                <a:lnTo>
                  <a:pt x="2408063" y="2242189"/>
                </a:lnTo>
                <a:cubicBezTo>
                  <a:pt x="2381988" y="2242189"/>
                  <a:pt x="2360874" y="2221077"/>
                  <a:pt x="2360874" y="2195005"/>
                </a:cubicBezTo>
                <a:lnTo>
                  <a:pt x="2360874" y="661336"/>
                </a:lnTo>
                <a:cubicBezTo>
                  <a:pt x="2360874" y="557176"/>
                  <a:pt x="2276289" y="472601"/>
                  <a:pt x="2172116" y="472601"/>
                </a:cubicBezTo>
                <a:lnTo>
                  <a:pt x="1957410" y="472601"/>
                </a:lnTo>
                <a:cubicBezTo>
                  <a:pt x="1853110" y="472601"/>
                  <a:pt x="1768652" y="557176"/>
                  <a:pt x="1768652" y="661336"/>
                </a:cubicBezTo>
                <a:lnTo>
                  <a:pt x="1768652" y="1227671"/>
                </a:lnTo>
                <a:cubicBezTo>
                  <a:pt x="1768652" y="1331832"/>
                  <a:pt x="1853110" y="1416406"/>
                  <a:pt x="1957410" y="1416406"/>
                </a:cubicBezTo>
                <a:lnTo>
                  <a:pt x="2219305" y="1416406"/>
                </a:lnTo>
                <a:cubicBezTo>
                  <a:pt x="2232406" y="1416406"/>
                  <a:pt x="2242963" y="1426962"/>
                  <a:pt x="2242963" y="1439935"/>
                </a:cubicBezTo>
                <a:lnTo>
                  <a:pt x="2242963" y="1864717"/>
                </a:lnTo>
                <a:cubicBezTo>
                  <a:pt x="2242963" y="1877690"/>
                  <a:pt x="2232406" y="1888246"/>
                  <a:pt x="2219305" y="1888246"/>
                </a:cubicBezTo>
                <a:lnTo>
                  <a:pt x="472022" y="1888246"/>
                </a:lnTo>
                <a:cubicBezTo>
                  <a:pt x="211272" y="1888246"/>
                  <a:pt x="0" y="1676999"/>
                  <a:pt x="0" y="1416406"/>
                </a:cubicBezTo>
                <a:lnTo>
                  <a:pt x="0" y="472346"/>
                </a:lnTo>
                <a:cubicBezTo>
                  <a:pt x="0" y="211754"/>
                  <a:pt x="211272" y="507"/>
                  <a:pt x="471895" y="507"/>
                </a:cubicBezTo>
                <a:close/>
                <a:moveTo>
                  <a:pt x="3422701" y="0"/>
                </a:moveTo>
                <a:lnTo>
                  <a:pt x="4021918" y="0"/>
                </a:lnTo>
                <a:cubicBezTo>
                  <a:pt x="4047993" y="0"/>
                  <a:pt x="4069108" y="21112"/>
                  <a:pt x="4069108" y="47184"/>
                </a:cubicBezTo>
                <a:lnTo>
                  <a:pt x="4069108" y="425546"/>
                </a:lnTo>
                <a:cubicBezTo>
                  <a:pt x="4069108" y="451618"/>
                  <a:pt x="4047993" y="472730"/>
                  <a:pt x="4021918" y="472730"/>
                </a:cubicBezTo>
                <a:lnTo>
                  <a:pt x="3532979" y="472730"/>
                </a:lnTo>
                <a:lnTo>
                  <a:pt x="3532852" y="472857"/>
                </a:lnTo>
                <a:cubicBezTo>
                  <a:pt x="3465693" y="472857"/>
                  <a:pt x="3436311" y="557432"/>
                  <a:pt x="3488969" y="599147"/>
                </a:cubicBezTo>
                <a:lnTo>
                  <a:pt x="3904008" y="927781"/>
                </a:lnTo>
                <a:cubicBezTo>
                  <a:pt x="4052954" y="1045804"/>
                  <a:pt x="4139828" y="1225383"/>
                  <a:pt x="4139828" y="1415391"/>
                </a:cubicBezTo>
                <a:cubicBezTo>
                  <a:pt x="4139828" y="1546005"/>
                  <a:pt x="4086915" y="1664156"/>
                  <a:pt x="4001312" y="1749875"/>
                </a:cubicBezTo>
                <a:cubicBezTo>
                  <a:pt x="3915710" y="1835468"/>
                  <a:pt x="3797418" y="1888375"/>
                  <a:pt x="3666916" y="1888375"/>
                </a:cubicBezTo>
                <a:lnTo>
                  <a:pt x="2973319" y="1888375"/>
                </a:lnTo>
                <a:cubicBezTo>
                  <a:pt x="2960346" y="1888375"/>
                  <a:pt x="2949788" y="1877819"/>
                  <a:pt x="2949788" y="1864846"/>
                </a:cubicBezTo>
                <a:lnTo>
                  <a:pt x="2949788" y="1439173"/>
                </a:lnTo>
                <a:cubicBezTo>
                  <a:pt x="2949788" y="1426201"/>
                  <a:pt x="2960346" y="1415518"/>
                  <a:pt x="2973319" y="1415518"/>
                </a:cubicBezTo>
                <a:lnTo>
                  <a:pt x="3556637" y="1415518"/>
                </a:lnTo>
                <a:cubicBezTo>
                  <a:pt x="3623797" y="1415518"/>
                  <a:pt x="3653179" y="1330943"/>
                  <a:pt x="3600520" y="1289228"/>
                </a:cubicBezTo>
                <a:lnTo>
                  <a:pt x="3185481" y="960594"/>
                </a:lnTo>
                <a:cubicBezTo>
                  <a:pt x="3036535" y="842570"/>
                  <a:pt x="2949661" y="662991"/>
                  <a:pt x="2949661" y="472984"/>
                </a:cubicBezTo>
                <a:cubicBezTo>
                  <a:pt x="2949661" y="211755"/>
                  <a:pt x="3161441" y="0"/>
                  <a:pt x="3422701" y="0"/>
                </a:cubicBezTo>
                <a:close/>
              </a:path>
            </a:pathLst>
          </a:custGeom>
          <a:solidFill>
            <a:srgbClr val="E90055"/>
          </a:solidFill>
          <a:ln w="127">
            <a:solidFill>
              <a:schemeClr val="bg1">
                <a:alpha val="0"/>
              </a:schemeClr>
            </a:solidFill>
          </a:ln>
        </p:spPr>
        <p:txBody>
          <a:bodyPr wrap="square">
            <a:noAutofit/>
          </a:bodyPr>
          <a:lstStyle>
            <a:lvl1pPr>
              <a:defRPr/>
            </a:lvl1pPr>
          </a:lstStyle>
          <a:p>
            <a:pPr lvl="0"/>
            <a:r>
              <a:rPr lang="de-DE"/>
              <a:t> </a:t>
            </a:r>
          </a:p>
        </p:txBody>
      </p:sp>
      <p:sp>
        <p:nvSpPr>
          <p:cNvPr id="2" name="Slide Number Placeholder 1">
            <a:extLst>
              <a:ext uri="{FF2B5EF4-FFF2-40B4-BE49-F238E27FC236}">
                <a16:creationId xmlns:a16="http://schemas.microsoft.com/office/drawing/2014/main" id="{D56D9AFF-FDAD-41F9-A6B3-751E2DD942EE}"/>
              </a:ext>
            </a:extLst>
          </p:cNvPr>
          <p:cNvSpPr>
            <a:spLocks noGrp="1"/>
          </p:cNvSpPr>
          <p:nvPr>
            <p:ph type="sldNum" sz="quarter" idx="19"/>
          </p:nvPr>
        </p:nvSpPr>
        <p:spPr/>
        <p:txBody>
          <a:bodyPr/>
          <a:lstStyle/>
          <a:p>
            <a:fld id="{44661A95-0089-4306-9485-D330C59FE3ED}" type="slidenum">
              <a:rPr lang="de-DE" smtClean="0"/>
              <a:pPr/>
              <a:t>‹#›</a:t>
            </a:fld>
            <a:endParaRPr lang="de-DE"/>
          </a:p>
        </p:txBody>
      </p:sp>
    </p:spTree>
    <p:extLst>
      <p:ext uri="{BB962C8B-B14F-4D97-AF65-F5344CB8AC3E}">
        <p14:creationId xmlns:p14="http://schemas.microsoft.com/office/powerpoint/2010/main" val="2772849440"/>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Picture">
    <p:spTree>
      <p:nvGrpSpPr>
        <p:cNvPr id="1" name=""/>
        <p:cNvGrpSpPr/>
        <p:nvPr/>
      </p:nvGrpSpPr>
      <p:grpSpPr>
        <a:xfrm>
          <a:off x="0" y="0"/>
          <a:ext cx="0" cy="0"/>
          <a:chOff x="0" y="0"/>
          <a:chExt cx="0" cy="0"/>
        </a:xfrm>
      </p:grpSpPr>
      <p:sp>
        <p:nvSpPr>
          <p:cNvPr id="6" name="Bildplatzhalter 5"/>
          <p:cNvSpPr>
            <a:spLocks noGrp="1"/>
          </p:cNvSpPr>
          <p:nvPr>
            <p:ph type="pic" sz="quarter" idx="13" hasCustomPrompt="1"/>
          </p:nvPr>
        </p:nvSpPr>
        <p:spPr bwMode="gray">
          <a:xfrm>
            <a:off x="1092201" y="908051"/>
            <a:ext cx="10007600" cy="5149850"/>
          </a:xfrm>
          <a:prstGeom prst="roundRect">
            <a:avLst>
              <a:gd name="adj" fmla="val 7789"/>
            </a:avLst>
          </a:prstGeom>
          <a:solidFill>
            <a:schemeClr val="bg1">
              <a:lumMod val="95000"/>
            </a:schemeClr>
          </a:solidFill>
        </p:spPr>
        <p:txBody>
          <a:bodyPr tIns="864000" anchor="ctr"/>
          <a:lstStyle>
            <a:lvl1pPr algn="ctr">
              <a:spcBef>
                <a:spcPts val="0"/>
              </a:spcBef>
              <a:spcAft>
                <a:spcPts val="0"/>
              </a:spcAft>
              <a:defRPr sz="1200"/>
            </a:lvl1pPr>
          </a:lstStyle>
          <a:p>
            <a:r>
              <a:rPr lang="de-DE" noProof="0"/>
              <a:t> </a:t>
            </a:r>
          </a:p>
        </p:txBody>
      </p:sp>
      <p:sp>
        <p:nvSpPr>
          <p:cNvPr id="2" name="Fußzeilenplatzhalter 1">
            <a:extLst>
              <a:ext uri="{FF2B5EF4-FFF2-40B4-BE49-F238E27FC236}">
                <a16:creationId xmlns:a16="http://schemas.microsoft.com/office/drawing/2014/main" id="{FE4DBAB3-E746-6A83-98BD-2932785473F0}"/>
              </a:ext>
            </a:extLst>
          </p:cNvPr>
          <p:cNvSpPr>
            <a:spLocks noGrp="1"/>
          </p:cNvSpPr>
          <p:nvPr>
            <p:ph type="ftr" sz="quarter" idx="14"/>
          </p:nvPr>
        </p:nvSpPr>
        <p:spPr bwMode="gray"/>
        <p:txBody>
          <a:bodyPr/>
          <a:lstStyle/>
          <a:p>
            <a:r>
              <a:rPr lang="de-DE"/>
              <a:t>Date dd.mm.yyyy  |  Security label</a:t>
            </a:r>
          </a:p>
        </p:txBody>
      </p:sp>
      <p:sp>
        <p:nvSpPr>
          <p:cNvPr id="4" name="Slide Number Placeholder 3">
            <a:extLst>
              <a:ext uri="{FF2B5EF4-FFF2-40B4-BE49-F238E27FC236}">
                <a16:creationId xmlns:a16="http://schemas.microsoft.com/office/drawing/2014/main" id="{4BA5BACB-A2E1-069E-DC6F-C7FEA31818AB}"/>
              </a:ext>
            </a:extLst>
          </p:cNvPr>
          <p:cNvSpPr>
            <a:spLocks noGrp="1"/>
          </p:cNvSpPr>
          <p:nvPr>
            <p:ph type="sldNum" sz="quarter" idx="15"/>
          </p:nvPr>
        </p:nvSpPr>
        <p:spPr/>
        <p:txBody>
          <a:bodyPr/>
          <a:lstStyle/>
          <a:p>
            <a:fld id="{44661A95-0089-4306-9485-D330C59FE3ED}" type="slidenum">
              <a:rPr lang="de-DE" smtClean="0"/>
              <a:pPr/>
              <a:t>‹#›</a:t>
            </a:fld>
            <a:endParaRPr lang="de-DE"/>
          </a:p>
        </p:txBody>
      </p:sp>
    </p:spTree>
    <p:extLst>
      <p:ext uri="{BB962C8B-B14F-4D97-AF65-F5344CB8AC3E}">
        <p14:creationId xmlns:p14="http://schemas.microsoft.com/office/powerpoint/2010/main" val="306688678"/>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Big picture">
    <p:spTree>
      <p:nvGrpSpPr>
        <p:cNvPr id="1" name=""/>
        <p:cNvGrpSpPr/>
        <p:nvPr/>
      </p:nvGrpSpPr>
      <p:grpSpPr>
        <a:xfrm>
          <a:off x="0" y="0"/>
          <a:ext cx="0" cy="0"/>
          <a:chOff x="0" y="0"/>
          <a:chExt cx="0" cy="0"/>
        </a:xfrm>
      </p:grpSpPr>
      <p:sp>
        <p:nvSpPr>
          <p:cNvPr id="5" name="Bildplatzhalter 5"/>
          <p:cNvSpPr>
            <a:spLocks noGrp="1"/>
          </p:cNvSpPr>
          <p:nvPr>
            <p:ph type="pic" sz="quarter" idx="13" hasCustomPrompt="1"/>
          </p:nvPr>
        </p:nvSpPr>
        <p:spPr bwMode="gray">
          <a:xfrm>
            <a:off x="0" y="0"/>
            <a:ext cx="12192000" cy="6858000"/>
          </a:xfrm>
          <a:prstGeom prst="rect">
            <a:avLst/>
          </a:prstGeom>
          <a:solidFill>
            <a:schemeClr val="bg1">
              <a:lumMod val="95000"/>
            </a:schemeClr>
          </a:solidFill>
        </p:spPr>
        <p:txBody>
          <a:bodyPr tIns="864000" anchor="ctr"/>
          <a:lstStyle>
            <a:lvl1pPr algn="ctr">
              <a:spcBef>
                <a:spcPts val="0"/>
              </a:spcBef>
              <a:spcAft>
                <a:spcPts val="0"/>
              </a:spcAft>
              <a:defRPr sz="1200"/>
            </a:lvl1pPr>
          </a:lstStyle>
          <a:p>
            <a:r>
              <a:rPr lang="de-DE" noProof="0"/>
              <a:t> </a:t>
            </a:r>
          </a:p>
        </p:txBody>
      </p:sp>
      <p:sp>
        <p:nvSpPr>
          <p:cNvPr id="2" name="Fußzeilenplatzhalter 1">
            <a:extLst>
              <a:ext uri="{FF2B5EF4-FFF2-40B4-BE49-F238E27FC236}">
                <a16:creationId xmlns:a16="http://schemas.microsoft.com/office/drawing/2014/main" id="{491EBA27-97B8-4F77-1B5D-64CCF637E2E1}"/>
              </a:ext>
            </a:extLst>
          </p:cNvPr>
          <p:cNvSpPr>
            <a:spLocks noGrp="1"/>
          </p:cNvSpPr>
          <p:nvPr>
            <p:ph type="ftr" sz="quarter" idx="14"/>
          </p:nvPr>
        </p:nvSpPr>
        <p:spPr bwMode="gray"/>
        <p:txBody>
          <a:bodyPr/>
          <a:lstStyle/>
          <a:p>
            <a:r>
              <a:rPr lang="de-DE"/>
              <a:t>Date dd.mm.yyyy  |  Security label</a:t>
            </a:r>
          </a:p>
        </p:txBody>
      </p:sp>
      <p:sp>
        <p:nvSpPr>
          <p:cNvPr id="4" name="Textplatzhalter 3">
            <a:extLst>
              <a:ext uri="{FF2B5EF4-FFF2-40B4-BE49-F238E27FC236}">
                <a16:creationId xmlns:a16="http://schemas.microsoft.com/office/drawing/2014/main" id="{EFB9F6C4-8549-66BA-5095-152C1D76F5D2}"/>
              </a:ext>
            </a:extLst>
          </p:cNvPr>
          <p:cNvSpPr>
            <a:spLocks noGrp="1"/>
          </p:cNvSpPr>
          <p:nvPr>
            <p:ph type="body" sz="quarter" idx="18" hasCustomPrompt="1"/>
          </p:nvPr>
        </p:nvSpPr>
        <p:spPr bwMode="gray">
          <a:xfrm>
            <a:off x="11352648" y="307218"/>
            <a:ext cx="576000" cy="313200"/>
          </a:xfrm>
          <a:custGeom>
            <a:avLst/>
            <a:gdLst>
              <a:gd name="connsiteX0" fmla="*/ 471895 w 4139828"/>
              <a:gd name="connsiteY0" fmla="*/ 507 h 2242189"/>
              <a:gd name="connsiteX1" fmla="*/ 1132548 w 4139828"/>
              <a:gd name="connsiteY1" fmla="*/ 507 h 2242189"/>
              <a:gd name="connsiteX2" fmla="*/ 1179737 w 4139828"/>
              <a:gd name="connsiteY2" fmla="*/ 47691 h 2242189"/>
              <a:gd name="connsiteX3" fmla="*/ 1179737 w 4139828"/>
              <a:gd name="connsiteY3" fmla="*/ 425671 h 2242189"/>
              <a:gd name="connsiteX4" fmla="*/ 1132548 w 4139828"/>
              <a:gd name="connsiteY4" fmla="*/ 472855 h 2242189"/>
              <a:gd name="connsiteX5" fmla="*/ 659508 w 4139828"/>
              <a:gd name="connsiteY5" fmla="*/ 472855 h 2242189"/>
              <a:gd name="connsiteX6" fmla="*/ 470750 w 4139828"/>
              <a:gd name="connsiteY6" fmla="*/ 661591 h 2242189"/>
              <a:gd name="connsiteX7" fmla="*/ 470750 w 4139828"/>
              <a:gd name="connsiteY7" fmla="*/ 728742 h 2242189"/>
              <a:gd name="connsiteX8" fmla="*/ 494281 w 4139828"/>
              <a:gd name="connsiteY8" fmla="*/ 752270 h 2242189"/>
              <a:gd name="connsiteX9" fmla="*/ 800059 w 4139828"/>
              <a:gd name="connsiteY9" fmla="*/ 752270 h 2242189"/>
              <a:gd name="connsiteX10" fmla="*/ 847248 w 4139828"/>
              <a:gd name="connsiteY10" fmla="*/ 799454 h 2242189"/>
              <a:gd name="connsiteX11" fmla="*/ 847248 w 4139828"/>
              <a:gd name="connsiteY11" fmla="*/ 1081668 h 2242189"/>
              <a:gd name="connsiteX12" fmla="*/ 800059 w 4139828"/>
              <a:gd name="connsiteY12" fmla="*/ 1128852 h 2242189"/>
              <a:gd name="connsiteX13" fmla="*/ 494281 w 4139828"/>
              <a:gd name="connsiteY13" fmla="*/ 1128852 h 2242189"/>
              <a:gd name="connsiteX14" fmla="*/ 470750 w 4139828"/>
              <a:gd name="connsiteY14" fmla="*/ 1152380 h 2242189"/>
              <a:gd name="connsiteX15" fmla="*/ 470750 w 4139828"/>
              <a:gd name="connsiteY15" fmla="*/ 1227671 h 2242189"/>
              <a:gd name="connsiteX16" fmla="*/ 659508 w 4139828"/>
              <a:gd name="connsiteY16" fmla="*/ 1416406 h 2242189"/>
              <a:gd name="connsiteX17" fmla="*/ 1297775 w 4139828"/>
              <a:gd name="connsiteY17" fmla="*/ 1416406 h 2242189"/>
              <a:gd name="connsiteX18" fmla="*/ 1297775 w 4139828"/>
              <a:gd name="connsiteY18" fmla="*/ 1413100 h 2242189"/>
              <a:gd name="connsiteX19" fmla="*/ 1297775 w 4139828"/>
              <a:gd name="connsiteY19" fmla="*/ 472728 h 2242189"/>
              <a:gd name="connsiteX20" fmla="*/ 1769797 w 4139828"/>
              <a:gd name="connsiteY20" fmla="*/ 889 h 2242189"/>
              <a:gd name="connsiteX21" fmla="*/ 2359729 w 4139828"/>
              <a:gd name="connsiteY21" fmla="*/ 889 h 2242189"/>
              <a:gd name="connsiteX22" fmla="*/ 2831624 w 4139828"/>
              <a:gd name="connsiteY22" fmla="*/ 472728 h 2242189"/>
              <a:gd name="connsiteX23" fmla="*/ 2831624 w 4139828"/>
              <a:gd name="connsiteY23" fmla="*/ 2195005 h 2242189"/>
              <a:gd name="connsiteX24" fmla="*/ 2784434 w 4139828"/>
              <a:gd name="connsiteY24" fmla="*/ 2242189 h 2242189"/>
              <a:gd name="connsiteX25" fmla="*/ 2408063 w 4139828"/>
              <a:gd name="connsiteY25" fmla="*/ 2242189 h 2242189"/>
              <a:gd name="connsiteX26" fmla="*/ 2360874 w 4139828"/>
              <a:gd name="connsiteY26" fmla="*/ 2195005 h 2242189"/>
              <a:gd name="connsiteX27" fmla="*/ 2360874 w 4139828"/>
              <a:gd name="connsiteY27" fmla="*/ 661336 h 2242189"/>
              <a:gd name="connsiteX28" fmla="*/ 2172116 w 4139828"/>
              <a:gd name="connsiteY28" fmla="*/ 472601 h 2242189"/>
              <a:gd name="connsiteX29" fmla="*/ 1957410 w 4139828"/>
              <a:gd name="connsiteY29" fmla="*/ 472601 h 2242189"/>
              <a:gd name="connsiteX30" fmla="*/ 1768652 w 4139828"/>
              <a:gd name="connsiteY30" fmla="*/ 661336 h 2242189"/>
              <a:gd name="connsiteX31" fmla="*/ 1768652 w 4139828"/>
              <a:gd name="connsiteY31" fmla="*/ 1227671 h 2242189"/>
              <a:gd name="connsiteX32" fmla="*/ 1957410 w 4139828"/>
              <a:gd name="connsiteY32" fmla="*/ 1416406 h 2242189"/>
              <a:gd name="connsiteX33" fmla="*/ 2219305 w 4139828"/>
              <a:gd name="connsiteY33" fmla="*/ 1416406 h 2242189"/>
              <a:gd name="connsiteX34" fmla="*/ 2242963 w 4139828"/>
              <a:gd name="connsiteY34" fmla="*/ 1439935 h 2242189"/>
              <a:gd name="connsiteX35" fmla="*/ 2242963 w 4139828"/>
              <a:gd name="connsiteY35" fmla="*/ 1864717 h 2242189"/>
              <a:gd name="connsiteX36" fmla="*/ 2219305 w 4139828"/>
              <a:gd name="connsiteY36" fmla="*/ 1888246 h 2242189"/>
              <a:gd name="connsiteX37" fmla="*/ 472022 w 4139828"/>
              <a:gd name="connsiteY37" fmla="*/ 1888246 h 2242189"/>
              <a:gd name="connsiteX38" fmla="*/ 0 w 4139828"/>
              <a:gd name="connsiteY38" fmla="*/ 1416406 h 2242189"/>
              <a:gd name="connsiteX39" fmla="*/ 0 w 4139828"/>
              <a:gd name="connsiteY39" fmla="*/ 472346 h 2242189"/>
              <a:gd name="connsiteX40" fmla="*/ 471895 w 4139828"/>
              <a:gd name="connsiteY40" fmla="*/ 507 h 2242189"/>
              <a:gd name="connsiteX41" fmla="*/ 3422701 w 4139828"/>
              <a:gd name="connsiteY41" fmla="*/ 0 h 2242189"/>
              <a:gd name="connsiteX42" fmla="*/ 4021918 w 4139828"/>
              <a:gd name="connsiteY42" fmla="*/ 0 h 2242189"/>
              <a:gd name="connsiteX43" fmla="*/ 4069108 w 4139828"/>
              <a:gd name="connsiteY43" fmla="*/ 47184 h 2242189"/>
              <a:gd name="connsiteX44" fmla="*/ 4069108 w 4139828"/>
              <a:gd name="connsiteY44" fmla="*/ 425546 h 2242189"/>
              <a:gd name="connsiteX45" fmla="*/ 4021918 w 4139828"/>
              <a:gd name="connsiteY45" fmla="*/ 472730 h 2242189"/>
              <a:gd name="connsiteX46" fmla="*/ 3532979 w 4139828"/>
              <a:gd name="connsiteY46" fmla="*/ 472730 h 2242189"/>
              <a:gd name="connsiteX47" fmla="*/ 3532852 w 4139828"/>
              <a:gd name="connsiteY47" fmla="*/ 472857 h 2242189"/>
              <a:gd name="connsiteX48" fmla="*/ 3488969 w 4139828"/>
              <a:gd name="connsiteY48" fmla="*/ 599147 h 2242189"/>
              <a:gd name="connsiteX49" fmla="*/ 3904008 w 4139828"/>
              <a:gd name="connsiteY49" fmla="*/ 927781 h 2242189"/>
              <a:gd name="connsiteX50" fmla="*/ 4139828 w 4139828"/>
              <a:gd name="connsiteY50" fmla="*/ 1415391 h 2242189"/>
              <a:gd name="connsiteX51" fmla="*/ 4001312 w 4139828"/>
              <a:gd name="connsiteY51" fmla="*/ 1749875 h 2242189"/>
              <a:gd name="connsiteX52" fmla="*/ 3666916 w 4139828"/>
              <a:gd name="connsiteY52" fmla="*/ 1888375 h 2242189"/>
              <a:gd name="connsiteX53" fmla="*/ 2973319 w 4139828"/>
              <a:gd name="connsiteY53" fmla="*/ 1888375 h 2242189"/>
              <a:gd name="connsiteX54" fmla="*/ 2949788 w 4139828"/>
              <a:gd name="connsiteY54" fmla="*/ 1864846 h 2242189"/>
              <a:gd name="connsiteX55" fmla="*/ 2949788 w 4139828"/>
              <a:gd name="connsiteY55" fmla="*/ 1439173 h 2242189"/>
              <a:gd name="connsiteX56" fmla="*/ 2973319 w 4139828"/>
              <a:gd name="connsiteY56" fmla="*/ 1415518 h 2242189"/>
              <a:gd name="connsiteX57" fmla="*/ 3556637 w 4139828"/>
              <a:gd name="connsiteY57" fmla="*/ 1415518 h 2242189"/>
              <a:gd name="connsiteX58" fmla="*/ 3600520 w 4139828"/>
              <a:gd name="connsiteY58" fmla="*/ 1289228 h 2242189"/>
              <a:gd name="connsiteX59" fmla="*/ 3185481 w 4139828"/>
              <a:gd name="connsiteY59" fmla="*/ 960594 h 2242189"/>
              <a:gd name="connsiteX60" fmla="*/ 2949661 w 4139828"/>
              <a:gd name="connsiteY60" fmla="*/ 472984 h 2242189"/>
              <a:gd name="connsiteX61" fmla="*/ 3422701 w 4139828"/>
              <a:gd name="connsiteY61" fmla="*/ 0 h 22421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4139828" h="2242189">
                <a:moveTo>
                  <a:pt x="471895" y="507"/>
                </a:moveTo>
                <a:lnTo>
                  <a:pt x="1132548" y="507"/>
                </a:lnTo>
                <a:cubicBezTo>
                  <a:pt x="1158623" y="507"/>
                  <a:pt x="1179737" y="21619"/>
                  <a:pt x="1179737" y="47691"/>
                </a:cubicBezTo>
                <a:lnTo>
                  <a:pt x="1179737" y="425671"/>
                </a:lnTo>
                <a:cubicBezTo>
                  <a:pt x="1179737" y="451743"/>
                  <a:pt x="1158623" y="472855"/>
                  <a:pt x="1132548" y="472855"/>
                </a:cubicBezTo>
                <a:lnTo>
                  <a:pt x="659508" y="472855"/>
                </a:lnTo>
                <a:cubicBezTo>
                  <a:pt x="555208" y="472855"/>
                  <a:pt x="470750" y="557303"/>
                  <a:pt x="470750" y="661591"/>
                </a:cubicBezTo>
                <a:lnTo>
                  <a:pt x="470750" y="728742"/>
                </a:lnTo>
                <a:cubicBezTo>
                  <a:pt x="470750" y="741714"/>
                  <a:pt x="481307" y="752270"/>
                  <a:pt x="494281" y="752270"/>
                </a:cubicBezTo>
                <a:lnTo>
                  <a:pt x="800059" y="752270"/>
                </a:lnTo>
                <a:cubicBezTo>
                  <a:pt x="826134" y="752270"/>
                  <a:pt x="847248" y="773382"/>
                  <a:pt x="847248" y="799454"/>
                </a:cubicBezTo>
                <a:lnTo>
                  <a:pt x="847248" y="1081668"/>
                </a:lnTo>
                <a:cubicBezTo>
                  <a:pt x="847248" y="1107740"/>
                  <a:pt x="826134" y="1128852"/>
                  <a:pt x="800059" y="1128852"/>
                </a:cubicBezTo>
                <a:lnTo>
                  <a:pt x="494281" y="1128852"/>
                </a:lnTo>
                <a:cubicBezTo>
                  <a:pt x="481307" y="1128852"/>
                  <a:pt x="470750" y="1139408"/>
                  <a:pt x="470750" y="1152380"/>
                </a:cubicBezTo>
                <a:lnTo>
                  <a:pt x="470750" y="1227671"/>
                </a:lnTo>
                <a:cubicBezTo>
                  <a:pt x="470750" y="1331832"/>
                  <a:pt x="555208" y="1416406"/>
                  <a:pt x="659508" y="1416406"/>
                </a:cubicBezTo>
                <a:lnTo>
                  <a:pt x="1297775" y="1416406"/>
                </a:lnTo>
                <a:cubicBezTo>
                  <a:pt x="1297775" y="1415389"/>
                  <a:pt x="1297775" y="1414244"/>
                  <a:pt x="1297775" y="1413100"/>
                </a:cubicBezTo>
                <a:lnTo>
                  <a:pt x="1297775" y="472728"/>
                </a:lnTo>
                <a:cubicBezTo>
                  <a:pt x="1297775" y="212135"/>
                  <a:pt x="1509173" y="889"/>
                  <a:pt x="1769797" y="889"/>
                </a:cubicBezTo>
                <a:lnTo>
                  <a:pt x="2359729" y="889"/>
                </a:lnTo>
                <a:cubicBezTo>
                  <a:pt x="2620352" y="889"/>
                  <a:pt x="2831624" y="212135"/>
                  <a:pt x="2831624" y="472728"/>
                </a:cubicBezTo>
                <a:lnTo>
                  <a:pt x="2831624" y="2195005"/>
                </a:lnTo>
                <a:cubicBezTo>
                  <a:pt x="2831624" y="2221077"/>
                  <a:pt x="2810509" y="2242189"/>
                  <a:pt x="2784434" y="2242189"/>
                </a:cubicBezTo>
                <a:lnTo>
                  <a:pt x="2408063" y="2242189"/>
                </a:lnTo>
                <a:cubicBezTo>
                  <a:pt x="2381988" y="2242189"/>
                  <a:pt x="2360874" y="2221077"/>
                  <a:pt x="2360874" y="2195005"/>
                </a:cubicBezTo>
                <a:lnTo>
                  <a:pt x="2360874" y="661336"/>
                </a:lnTo>
                <a:cubicBezTo>
                  <a:pt x="2360874" y="557176"/>
                  <a:pt x="2276289" y="472601"/>
                  <a:pt x="2172116" y="472601"/>
                </a:cubicBezTo>
                <a:lnTo>
                  <a:pt x="1957410" y="472601"/>
                </a:lnTo>
                <a:cubicBezTo>
                  <a:pt x="1853110" y="472601"/>
                  <a:pt x="1768652" y="557176"/>
                  <a:pt x="1768652" y="661336"/>
                </a:cubicBezTo>
                <a:lnTo>
                  <a:pt x="1768652" y="1227671"/>
                </a:lnTo>
                <a:cubicBezTo>
                  <a:pt x="1768652" y="1331832"/>
                  <a:pt x="1853110" y="1416406"/>
                  <a:pt x="1957410" y="1416406"/>
                </a:cubicBezTo>
                <a:lnTo>
                  <a:pt x="2219305" y="1416406"/>
                </a:lnTo>
                <a:cubicBezTo>
                  <a:pt x="2232406" y="1416406"/>
                  <a:pt x="2242963" y="1426962"/>
                  <a:pt x="2242963" y="1439935"/>
                </a:cubicBezTo>
                <a:lnTo>
                  <a:pt x="2242963" y="1864717"/>
                </a:lnTo>
                <a:cubicBezTo>
                  <a:pt x="2242963" y="1877690"/>
                  <a:pt x="2232406" y="1888246"/>
                  <a:pt x="2219305" y="1888246"/>
                </a:cubicBezTo>
                <a:lnTo>
                  <a:pt x="472022" y="1888246"/>
                </a:lnTo>
                <a:cubicBezTo>
                  <a:pt x="211272" y="1888246"/>
                  <a:pt x="0" y="1676999"/>
                  <a:pt x="0" y="1416406"/>
                </a:cubicBezTo>
                <a:lnTo>
                  <a:pt x="0" y="472346"/>
                </a:lnTo>
                <a:cubicBezTo>
                  <a:pt x="0" y="211754"/>
                  <a:pt x="211272" y="507"/>
                  <a:pt x="471895" y="507"/>
                </a:cubicBezTo>
                <a:close/>
                <a:moveTo>
                  <a:pt x="3422701" y="0"/>
                </a:moveTo>
                <a:lnTo>
                  <a:pt x="4021918" y="0"/>
                </a:lnTo>
                <a:cubicBezTo>
                  <a:pt x="4047993" y="0"/>
                  <a:pt x="4069108" y="21112"/>
                  <a:pt x="4069108" y="47184"/>
                </a:cubicBezTo>
                <a:lnTo>
                  <a:pt x="4069108" y="425546"/>
                </a:lnTo>
                <a:cubicBezTo>
                  <a:pt x="4069108" y="451618"/>
                  <a:pt x="4047993" y="472730"/>
                  <a:pt x="4021918" y="472730"/>
                </a:cubicBezTo>
                <a:lnTo>
                  <a:pt x="3532979" y="472730"/>
                </a:lnTo>
                <a:lnTo>
                  <a:pt x="3532852" y="472857"/>
                </a:lnTo>
                <a:cubicBezTo>
                  <a:pt x="3465693" y="472857"/>
                  <a:pt x="3436311" y="557432"/>
                  <a:pt x="3488969" y="599147"/>
                </a:cubicBezTo>
                <a:lnTo>
                  <a:pt x="3904008" y="927781"/>
                </a:lnTo>
                <a:cubicBezTo>
                  <a:pt x="4052954" y="1045804"/>
                  <a:pt x="4139828" y="1225383"/>
                  <a:pt x="4139828" y="1415391"/>
                </a:cubicBezTo>
                <a:cubicBezTo>
                  <a:pt x="4139828" y="1546005"/>
                  <a:pt x="4086915" y="1664156"/>
                  <a:pt x="4001312" y="1749875"/>
                </a:cubicBezTo>
                <a:cubicBezTo>
                  <a:pt x="3915710" y="1835468"/>
                  <a:pt x="3797418" y="1888375"/>
                  <a:pt x="3666916" y="1888375"/>
                </a:cubicBezTo>
                <a:lnTo>
                  <a:pt x="2973319" y="1888375"/>
                </a:lnTo>
                <a:cubicBezTo>
                  <a:pt x="2960346" y="1888375"/>
                  <a:pt x="2949788" y="1877819"/>
                  <a:pt x="2949788" y="1864846"/>
                </a:cubicBezTo>
                <a:lnTo>
                  <a:pt x="2949788" y="1439173"/>
                </a:lnTo>
                <a:cubicBezTo>
                  <a:pt x="2949788" y="1426201"/>
                  <a:pt x="2960346" y="1415518"/>
                  <a:pt x="2973319" y="1415518"/>
                </a:cubicBezTo>
                <a:lnTo>
                  <a:pt x="3556637" y="1415518"/>
                </a:lnTo>
                <a:cubicBezTo>
                  <a:pt x="3623797" y="1415518"/>
                  <a:pt x="3653179" y="1330943"/>
                  <a:pt x="3600520" y="1289228"/>
                </a:cubicBezTo>
                <a:lnTo>
                  <a:pt x="3185481" y="960594"/>
                </a:lnTo>
                <a:cubicBezTo>
                  <a:pt x="3036535" y="842570"/>
                  <a:pt x="2949661" y="662991"/>
                  <a:pt x="2949661" y="472984"/>
                </a:cubicBezTo>
                <a:cubicBezTo>
                  <a:pt x="2949661" y="211755"/>
                  <a:pt x="3161441" y="0"/>
                  <a:pt x="3422701" y="0"/>
                </a:cubicBezTo>
                <a:close/>
              </a:path>
            </a:pathLst>
          </a:custGeom>
          <a:solidFill>
            <a:srgbClr val="E90055"/>
          </a:solidFill>
          <a:ln w="127">
            <a:solidFill>
              <a:schemeClr val="bg1">
                <a:alpha val="0"/>
              </a:schemeClr>
            </a:solidFill>
          </a:ln>
        </p:spPr>
        <p:txBody>
          <a:bodyPr wrap="square">
            <a:noAutofit/>
          </a:bodyPr>
          <a:lstStyle>
            <a:lvl1pPr>
              <a:defRPr/>
            </a:lvl1pPr>
          </a:lstStyle>
          <a:p>
            <a:pPr lvl="0"/>
            <a:r>
              <a:rPr lang="de-DE"/>
              <a:t> </a:t>
            </a:r>
          </a:p>
        </p:txBody>
      </p:sp>
      <p:sp>
        <p:nvSpPr>
          <p:cNvPr id="6" name="Slide Number Placeholder 5">
            <a:extLst>
              <a:ext uri="{FF2B5EF4-FFF2-40B4-BE49-F238E27FC236}">
                <a16:creationId xmlns:a16="http://schemas.microsoft.com/office/drawing/2014/main" id="{6FC075F3-7DE2-E6DC-F9B1-F639FB564873}"/>
              </a:ext>
            </a:extLst>
          </p:cNvPr>
          <p:cNvSpPr>
            <a:spLocks noGrp="1"/>
          </p:cNvSpPr>
          <p:nvPr>
            <p:ph type="sldNum" sz="quarter" idx="19"/>
          </p:nvPr>
        </p:nvSpPr>
        <p:spPr/>
        <p:txBody>
          <a:bodyPr/>
          <a:lstStyle/>
          <a:p>
            <a:fld id="{44661A95-0089-4306-9485-D330C59FE3ED}" type="slidenum">
              <a:rPr lang="de-DE" smtClean="0"/>
              <a:pPr/>
              <a:t>‹#›</a:t>
            </a:fld>
            <a:endParaRPr lang="de-DE"/>
          </a:p>
        </p:txBody>
      </p:sp>
    </p:spTree>
    <p:extLst>
      <p:ext uri="{BB962C8B-B14F-4D97-AF65-F5344CB8AC3E}">
        <p14:creationId xmlns:p14="http://schemas.microsoft.com/office/powerpoint/2010/main" val="4145480334"/>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Quotation 1">
    <p:spTree>
      <p:nvGrpSpPr>
        <p:cNvPr id="1" name=""/>
        <p:cNvGrpSpPr/>
        <p:nvPr/>
      </p:nvGrpSpPr>
      <p:grpSpPr>
        <a:xfrm>
          <a:off x="0" y="0"/>
          <a:ext cx="0" cy="0"/>
          <a:chOff x="0" y="0"/>
          <a:chExt cx="0" cy="0"/>
        </a:xfrm>
      </p:grpSpPr>
      <p:sp>
        <p:nvSpPr>
          <p:cNvPr id="8" name="Freeform 5"/>
          <p:cNvSpPr>
            <a:spLocks noChangeAspect="1"/>
          </p:cNvSpPr>
          <p:nvPr userDrawn="1"/>
        </p:nvSpPr>
        <p:spPr bwMode="gray">
          <a:xfrm>
            <a:off x="1092200" y="908050"/>
            <a:ext cx="10007600" cy="4393158"/>
          </a:xfrm>
          <a:prstGeom prst="roundRect">
            <a:avLst>
              <a:gd name="adj" fmla="val 9048"/>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de-DE" noProof="0"/>
          </a:p>
        </p:txBody>
      </p:sp>
      <p:sp>
        <p:nvSpPr>
          <p:cNvPr id="4" name="Textplatzhalter 3"/>
          <p:cNvSpPr>
            <a:spLocks noGrp="1"/>
          </p:cNvSpPr>
          <p:nvPr>
            <p:ph type="body" sz="quarter" idx="12" hasCustomPrompt="1"/>
          </p:nvPr>
        </p:nvSpPr>
        <p:spPr bwMode="gray">
          <a:xfrm>
            <a:off x="1092200" y="5480620"/>
            <a:ext cx="9108256" cy="936712"/>
          </a:xfrm>
          <a:prstGeom prst="rect">
            <a:avLst/>
          </a:prstGeom>
        </p:spPr>
        <p:txBody>
          <a:bodyPr wrap="square">
            <a:normAutofit/>
          </a:bodyPr>
          <a:lstStyle>
            <a:lvl1pPr marL="0" algn="r">
              <a:lnSpc>
                <a:spcPct val="100000"/>
              </a:lnSpc>
              <a:spcBef>
                <a:spcPts val="0"/>
              </a:spcBef>
              <a:spcAft>
                <a:spcPts val="0"/>
              </a:spcAft>
              <a:defRPr sz="2000">
                <a:solidFill>
                  <a:schemeClr val="tx1"/>
                </a:solidFill>
                <a:latin typeface="+mj-lt"/>
              </a:defRPr>
            </a:lvl1pPr>
            <a:lvl2pPr marL="0" indent="0" algn="r">
              <a:lnSpc>
                <a:spcPct val="100000"/>
              </a:lnSpc>
              <a:spcBef>
                <a:spcPts val="0"/>
              </a:spcBef>
              <a:spcAft>
                <a:spcPts val="0"/>
              </a:spcAft>
              <a:buFont typeface="Arial" panose="020B0604020202020204" pitchFamily="34" charset="0"/>
              <a:buNone/>
              <a:defRPr sz="2000">
                <a:solidFill>
                  <a:schemeClr val="tx1"/>
                </a:solidFill>
                <a:latin typeface="+mn-lt"/>
              </a:defRPr>
            </a:lvl2pPr>
            <a:lvl3pPr marL="0" indent="0" algn="r">
              <a:lnSpc>
                <a:spcPct val="100000"/>
              </a:lnSpc>
              <a:spcBef>
                <a:spcPts val="0"/>
              </a:spcBef>
              <a:spcAft>
                <a:spcPts val="0"/>
              </a:spcAft>
              <a:buNone/>
              <a:defRPr sz="2000">
                <a:solidFill>
                  <a:schemeClr val="tx1"/>
                </a:solidFill>
                <a:latin typeface="+mn-lt"/>
              </a:defRPr>
            </a:lvl3pPr>
            <a:lvl4pPr marL="0" indent="0" algn="r">
              <a:lnSpc>
                <a:spcPct val="100000"/>
              </a:lnSpc>
              <a:spcBef>
                <a:spcPts val="0"/>
              </a:spcBef>
              <a:spcAft>
                <a:spcPts val="0"/>
              </a:spcAft>
              <a:buNone/>
              <a:defRPr sz="2000">
                <a:solidFill>
                  <a:schemeClr val="tx1"/>
                </a:solidFill>
                <a:latin typeface="+mn-lt"/>
              </a:defRPr>
            </a:lvl4pPr>
            <a:lvl5pPr marL="0" indent="0" algn="r">
              <a:lnSpc>
                <a:spcPct val="100000"/>
              </a:lnSpc>
              <a:spcBef>
                <a:spcPts val="0"/>
              </a:spcBef>
              <a:spcAft>
                <a:spcPts val="0"/>
              </a:spcAft>
              <a:buNone/>
              <a:defRPr sz="2000">
                <a:solidFill>
                  <a:schemeClr val="tx1"/>
                </a:solidFill>
                <a:latin typeface="+mn-lt"/>
              </a:defRPr>
            </a:lvl5pPr>
            <a:lvl6pPr marL="0" indent="0" algn="r">
              <a:lnSpc>
                <a:spcPct val="100000"/>
              </a:lnSpc>
              <a:spcBef>
                <a:spcPts val="0"/>
              </a:spcBef>
              <a:spcAft>
                <a:spcPts val="0"/>
              </a:spcAft>
              <a:buNone/>
              <a:defRPr sz="2000">
                <a:solidFill>
                  <a:schemeClr val="tx1"/>
                </a:solidFill>
                <a:latin typeface="+mn-lt"/>
              </a:defRPr>
            </a:lvl6pPr>
            <a:lvl7pPr marL="0" indent="0" algn="r">
              <a:lnSpc>
                <a:spcPct val="100000"/>
              </a:lnSpc>
              <a:spcBef>
                <a:spcPts val="0"/>
              </a:spcBef>
              <a:spcAft>
                <a:spcPts val="0"/>
              </a:spcAft>
              <a:buFont typeface="Arial" panose="020B0604020202020204" pitchFamily="34" charset="0"/>
              <a:buNone/>
              <a:defRPr sz="2000">
                <a:solidFill>
                  <a:schemeClr val="tx1"/>
                </a:solidFill>
                <a:latin typeface="+mn-lt"/>
              </a:defRPr>
            </a:lvl7pPr>
            <a:lvl8pPr marL="0" indent="0" algn="r">
              <a:lnSpc>
                <a:spcPct val="100000"/>
              </a:lnSpc>
              <a:spcBef>
                <a:spcPts val="0"/>
              </a:spcBef>
              <a:spcAft>
                <a:spcPts val="0"/>
              </a:spcAft>
              <a:buNone/>
              <a:defRPr sz="2000">
                <a:solidFill>
                  <a:schemeClr val="tx1"/>
                </a:solidFill>
                <a:latin typeface="+mn-lt"/>
              </a:defRPr>
            </a:lvl8pPr>
            <a:lvl9pPr marL="0" indent="0" algn="r">
              <a:lnSpc>
                <a:spcPct val="100000"/>
              </a:lnSpc>
              <a:spcBef>
                <a:spcPts val="0"/>
              </a:spcBef>
              <a:spcAft>
                <a:spcPts val="0"/>
              </a:spcAft>
              <a:buNone/>
              <a:defRPr sz="2000">
                <a:solidFill>
                  <a:schemeClr val="tx1"/>
                </a:solidFill>
                <a:latin typeface="+mn-lt"/>
              </a:defRPr>
            </a:lvl9pPr>
          </a:lstStyle>
          <a:p>
            <a:pPr lvl="0"/>
            <a:r>
              <a:rPr lang="de-DE" noProof="0"/>
              <a:t>First name, Surname</a:t>
            </a:r>
          </a:p>
          <a:p>
            <a:pPr lvl="1"/>
            <a:br>
              <a:rPr lang="de-DE" noProof="0"/>
            </a:br>
            <a:r>
              <a:rPr lang="de-DE" noProof="0"/>
              <a:t>2. level</a:t>
            </a:r>
          </a:p>
          <a:p>
            <a:pPr lvl="1"/>
            <a:endParaRPr lang="de-DE" noProof="0"/>
          </a:p>
        </p:txBody>
      </p:sp>
      <p:sp>
        <p:nvSpPr>
          <p:cNvPr id="3" name="Fußzeilenplatzhalter 2">
            <a:extLst>
              <a:ext uri="{FF2B5EF4-FFF2-40B4-BE49-F238E27FC236}">
                <a16:creationId xmlns:a16="http://schemas.microsoft.com/office/drawing/2014/main" id="{D1B96093-51C2-16CD-6F32-CB756C0AB19D}"/>
              </a:ext>
            </a:extLst>
          </p:cNvPr>
          <p:cNvSpPr>
            <a:spLocks noGrp="1"/>
          </p:cNvSpPr>
          <p:nvPr>
            <p:ph type="ftr" sz="quarter" idx="13"/>
          </p:nvPr>
        </p:nvSpPr>
        <p:spPr bwMode="gray"/>
        <p:txBody>
          <a:bodyPr/>
          <a:lstStyle/>
          <a:p>
            <a:r>
              <a:rPr lang="de-DE"/>
              <a:t>Date dd.mm.yyyy  |  Security label</a:t>
            </a:r>
          </a:p>
        </p:txBody>
      </p:sp>
      <p:sp>
        <p:nvSpPr>
          <p:cNvPr id="9" name="Untertitel 2">
            <a:extLst>
              <a:ext uri="{FF2B5EF4-FFF2-40B4-BE49-F238E27FC236}">
                <a16:creationId xmlns:a16="http://schemas.microsoft.com/office/drawing/2014/main" id="{8ED8EC94-E4A7-BA07-10A4-30F145E7268E}"/>
              </a:ext>
            </a:extLst>
          </p:cNvPr>
          <p:cNvSpPr>
            <a:spLocks noGrp="1"/>
          </p:cNvSpPr>
          <p:nvPr>
            <p:ph type="subTitle" idx="15" hasCustomPrompt="1"/>
          </p:nvPr>
        </p:nvSpPr>
        <p:spPr bwMode="gray">
          <a:xfrm>
            <a:off x="1955540" y="1520789"/>
            <a:ext cx="8424936" cy="3456384"/>
          </a:xfrm>
          <a:prstGeom prst="rect">
            <a:avLst/>
          </a:prstGeom>
          <a:noFill/>
        </p:spPr>
        <p:txBody>
          <a:bodyPr wrap="square" lIns="0" tIns="0" rIns="0" bIns="0">
            <a:normAutofit/>
          </a:bodyPr>
          <a:lstStyle>
            <a:lvl1pPr marL="0" indent="0" algn="l">
              <a:lnSpc>
                <a:spcPct val="100000"/>
              </a:lnSpc>
              <a:spcBef>
                <a:spcPts val="0"/>
              </a:spcBef>
              <a:spcAft>
                <a:spcPts val="600"/>
              </a:spcAft>
              <a:buNone/>
              <a:defRPr sz="3700" b="1" i="1" cap="none" baseline="0">
                <a:solidFill>
                  <a:schemeClr val="bg1"/>
                </a:solidFill>
                <a:latin typeface="Barlow ExtraBold" pitchFamily="2" charset="77"/>
              </a:defRPr>
            </a:lvl1pPr>
            <a:lvl2pPr marL="0" indent="0" algn="l">
              <a:lnSpc>
                <a:spcPct val="100000"/>
              </a:lnSpc>
              <a:spcBef>
                <a:spcPts val="0"/>
              </a:spcBef>
              <a:spcAft>
                <a:spcPts val="0"/>
              </a:spcAft>
              <a:buNone/>
              <a:defRPr sz="3700" b="0" i="1">
                <a:solidFill>
                  <a:schemeClr val="bg1"/>
                </a:solidFill>
                <a:latin typeface="Barlow Medium" panose="00000600000000000000" pitchFamily="2" charset="0"/>
              </a:defRPr>
            </a:lvl2pPr>
            <a:lvl3pPr marL="0" indent="0" algn="l">
              <a:lnSpc>
                <a:spcPct val="110000"/>
              </a:lnSpc>
              <a:spcBef>
                <a:spcPts val="0"/>
              </a:spcBef>
              <a:spcAft>
                <a:spcPts val="0"/>
              </a:spcAft>
              <a:buNone/>
              <a:defRPr sz="3700" b="0" i="1">
                <a:solidFill>
                  <a:schemeClr val="bg1"/>
                </a:solidFill>
                <a:latin typeface="Barlow Condensed Medium" panose="00000606000000000000" pitchFamily="2" charset="0"/>
              </a:defRPr>
            </a:lvl3pPr>
            <a:lvl4pPr marL="0" indent="0" algn="l">
              <a:lnSpc>
                <a:spcPct val="110000"/>
              </a:lnSpc>
              <a:spcBef>
                <a:spcPts val="0"/>
              </a:spcBef>
              <a:spcAft>
                <a:spcPts val="0"/>
              </a:spcAft>
              <a:buNone/>
              <a:defRPr sz="3700" b="0" i="1">
                <a:solidFill>
                  <a:schemeClr val="bg1"/>
                </a:solidFill>
                <a:latin typeface="Barlow Condensed Medium" panose="00000606000000000000" pitchFamily="2" charset="0"/>
              </a:defRPr>
            </a:lvl4pPr>
            <a:lvl5pPr marL="0" indent="0" algn="l">
              <a:lnSpc>
                <a:spcPct val="110000"/>
              </a:lnSpc>
              <a:spcBef>
                <a:spcPts val="0"/>
              </a:spcBef>
              <a:spcAft>
                <a:spcPts val="0"/>
              </a:spcAft>
              <a:buNone/>
              <a:defRPr sz="3700" b="0" i="1">
                <a:solidFill>
                  <a:schemeClr val="bg1"/>
                </a:solidFill>
                <a:latin typeface="Barlow Condensed Medium" panose="00000606000000000000" pitchFamily="2" charset="0"/>
              </a:defRPr>
            </a:lvl5pPr>
            <a:lvl6pPr marL="0" indent="0" algn="l">
              <a:lnSpc>
                <a:spcPct val="110000"/>
              </a:lnSpc>
              <a:spcBef>
                <a:spcPts val="0"/>
              </a:spcBef>
              <a:spcAft>
                <a:spcPts val="0"/>
              </a:spcAft>
              <a:buNone/>
              <a:defRPr sz="3700" b="0" i="1">
                <a:solidFill>
                  <a:schemeClr val="bg1"/>
                </a:solidFill>
                <a:latin typeface="Barlow Condensed Medium" panose="00000606000000000000" pitchFamily="2" charset="0"/>
              </a:defRPr>
            </a:lvl6pPr>
            <a:lvl7pPr marL="0" indent="0" algn="l">
              <a:lnSpc>
                <a:spcPct val="110000"/>
              </a:lnSpc>
              <a:spcBef>
                <a:spcPts val="0"/>
              </a:spcBef>
              <a:spcAft>
                <a:spcPts val="0"/>
              </a:spcAft>
              <a:buNone/>
              <a:defRPr sz="3700" b="0" i="1">
                <a:solidFill>
                  <a:schemeClr val="bg1"/>
                </a:solidFill>
                <a:latin typeface="Barlow Condensed Medium" panose="00000606000000000000" pitchFamily="2" charset="0"/>
              </a:defRPr>
            </a:lvl7pPr>
            <a:lvl8pPr marL="0" indent="0" algn="l">
              <a:lnSpc>
                <a:spcPct val="110000"/>
              </a:lnSpc>
              <a:spcBef>
                <a:spcPts val="0"/>
              </a:spcBef>
              <a:spcAft>
                <a:spcPts val="0"/>
              </a:spcAft>
              <a:buNone/>
              <a:defRPr sz="3700" b="0" i="1">
                <a:solidFill>
                  <a:schemeClr val="bg1"/>
                </a:solidFill>
                <a:latin typeface="Barlow Condensed Medium" panose="00000606000000000000" pitchFamily="2" charset="0"/>
              </a:defRPr>
            </a:lvl8pPr>
            <a:lvl9pPr marL="0" indent="0" algn="l">
              <a:lnSpc>
                <a:spcPct val="110000"/>
              </a:lnSpc>
              <a:spcBef>
                <a:spcPts val="0"/>
              </a:spcBef>
              <a:spcAft>
                <a:spcPts val="0"/>
              </a:spcAft>
              <a:buNone/>
              <a:defRPr sz="3700" b="0" i="1">
                <a:solidFill>
                  <a:schemeClr val="bg1"/>
                </a:solidFill>
                <a:latin typeface="Barlow Condensed Medium" panose="00000606000000000000" pitchFamily="2" charset="0"/>
              </a:defRPr>
            </a:lvl9pPr>
          </a:lstStyle>
          <a:p>
            <a:pPr lvl="0"/>
            <a:r>
              <a:rPr lang="de-DE" noProof="0"/>
              <a:t>Use This Field </a:t>
            </a:r>
            <a:r>
              <a:rPr lang="de-DE" noProof="0" err="1"/>
              <a:t>To</a:t>
            </a:r>
            <a:r>
              <a:rPr lang="de-DE" noProof="0"/>
              <a:t> Enter Text.</a:t>
            </a:r>
          </a:p>
          <a:p>
            <a:pPr lvl="1"/>
            <a:r>
              <a:rPr lang="de-DE" noProof="0"/>
              <a:t>2. Level</a:t>
            </a:r>
          </a:p>
        </p:txBody>
      </p:sp>
      <p:pic>
        <p:nvPicPr>
          <p:cNvPr id="11" name="Grafik 10">
            <a:extLst>
              <a:ext uri="{FF2B5EF4-FFF2-40B4-BE49-F238E27FC236}">
                <a16:creationId xmlns:a16="http://schemas.microsoft.com/office/drawing/2014/main" id="{E4271796-653F-2AC4-897F-DF2D19EDE5B3}"/>
              </a:ext>
            </a:extLst>
          </p:cNvPr>
          <p:cNvPicPr>
            <a:picLocks noChangeAspect="1"/>
          </p:cNvPicPr>
          <p:nvPr userDrawn="1"/>
        </p:nvPicPr>
        <p:blipFill>
          <a:blip r:embed="rId2"/>
          <a:stretch>
            <a:fillRect/>
          </a:stretch>
        </p:blipFill>
        <p:spPr bwMode="gray">
          <a:xfrm>
            <a:off x="8652460" y="439926"/>
            <a:ext cx="1584000" cy="1008854"/>
          </a:xfrm>
          <a:prstGeom prst="rect">
            <a:avLst/>
          </a:prstGeom>
        </p:spPr>
      </p:pic>
      <p:sp>
        <p:nvSpPr>
          <p:cNvPr id="2" name="Slide Number Placeholder 1">
            <a:extLst>
              <a:ext uri="{FF2B5EF4-FFF2-40B4-BE49-F238E27FC236}">
                <a16:creationId xmlns:a16="http://schemas.microsoft.com/office/drawing/2014/main" id="{C964E8F5-BCE4-25FF-A4DD-1744D694C063}"/>
              </a:ext>
            </a:extLst>
          </p:cNvPr>
          <p:cNvSpPr>
            <a:spLocks noGrp="1"/>
          </p:cNvSpPr>
          <p:nvPr>
            <p:ph type="sldNum" sz="quarter" idx="16"/>
          </p:nvPr>
        </p:nvSpPr>
        <p:spPr/>
        <p:txBody>
          <a:bodyPr/>
          <a:lstStyle/>
          <a:p>
            <a:fld id="{44661A95-0089-4306-9485-D330C59FE3ED}" type="slidenum">
              <a:rPr lang="de-DE" smtClean="0"/>
              <a:pPr/>
              <a:t>‹#›</a:t>
            </a:fld>
            <a:endParaRPr lang="de-DE"/>
          </a:p>
        </p:txBody>
      </p:sp>
    </p:spTree>
    <p:extLst>
      <p:ext uri="{BB962C8B-B14F-4D97-AF65-F5344CB8AC3E}">
        <p14:creationId xmlns:p14="http://schemas.microsoft.com/office/powerpoint/2010/main" val="421138155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able of content | One column">
    <p:bg>
      <p:bgPr>
        <a:solidFill>
          <a:schemeClr val="accent1"/>
        </a:solidFill>
        <a:effectLst/>
      </p:bgPr>
    </p:bg>
    <p:spTree>
      <p:nvGrpSpPr>
        <p:cNvPr id="1" name=""/>
        <p:cNvGrpSpPr/>
        <p:nvPr/>
      </p:nvGrpSpPr>
      <p:grpSpPr>
        <a:xfrm>
          <a:off x="0" y="0"/>
          <a:ext cx="0" cy="0"/>
          <a:chOff x="0" y="0"/>
          <a:chExt cx="0" cy="0"/>
        </a:xfrm>
      </p:grpSpPr>
      <p:sp>
        <p:nvSpPr>
          <p:cNvPr id="5" name="Textplatzhalter 4"/>
          <p:cNvSpPr>
            <a:spLocks noGrp="1"/>
          </p:cNvSpPr>
          <p:nvPr>
            <p:ph type="body" sz="quarter" idx="12" hasCustomPrompt="1"/>
          </p:nvPr>
        </p:nvSpPr>
        <p:spPr bwMode="gray">
          <a:xfrm>
            <a:off x="1092200" y="2312988"/>
            <a:ext cx="10007600" cy="3744912"/>
          </a:xfrm>
          <a:prstGeom prst="rect">
            <a:avLst/>
          </a:prstGeom>
        </p:spPr>
        <p:txBody>
          <a:bodyPr wrap="square" numCol="1" spcCol="432000"/>
          <a:lstStyle>
            <a:lvl1pPr marL="457200" indent="-457200">
              <a:lnSpc>
                <a:spcPct val="110000"/>
              </a:lnSpc>
              <a:spcBef>
                <a:spcPts val="1800"/>
              </a:spcBef>
              <a:spcAft>
                <a:spcPts val="0"/>
              </a:spcAft>
              <a:buSzPct val="150000"/>
              <a:buFont typeface="+mj-lt"/>
              <a:buAutoNum type="arabicPeriod"/>
              <a:tabLst>
                <a:tab pos="449263" algn="l"/>
              </a:tabLst>
              <a:defRPr sz="2500" b="1">
                <a:solidFill>
                  <a:schemeClr val="bg1"/>
                </a:solidFill>
                <a:latin typeface="+mj-lt"/>
              </a:defRPr>
            </a:lvl1pPr>
            <a:lvl2pPr marL="450000" indent="-450000">
              <a:lnSpc>
                <a:spcPct val="110000"/>
              </a:lnSpc>
              <a:spcBef>
                <a:spcPts val="600"/>
              </a:spcBef>
              <a:spcAft>
                <a:spcPts val="0"/>
              </a:spcAft>
              <a:buFont typeface="+mj-lt"/>
              <a:buNone/>
              <a:tabLst/>
              <a:defRPr sz="2000" b="0">
                <a:solidFill>
                  <a:schemeClr val="bg1"/>
                </a:solidFill>
                <a:latin typeface="+mj-lt"/>
              </a:defRPr>
            </a:lvl2pPr>
            <a:lvl3pPr marL="450000" indent="-450000">
              <a:lnSpc>
                <a:spcPct val="110000"/>
              </a:lnSpc>
              <a:spcBef>
                <a:spcPts val="600"/>
              </a:spcBef>
              <a:spcAft>
                <a:spcPts val="0"/>
              </a:spcAft>
              <a:buFont typeface="+mj-lt"/>
              <a:buNone/>
              <a:tabLst/>
              <a:defRPr sz="2000" b="0">
                <a:solidFill>
                  <a:schemeClr val="bg1"/>
                </a:solidFill>
                <a:latin typeface="+mj-lt"/>
              </a:defRPr>
            </a:lvl3pPr>
            <a:lvl4pPr marL="450000" indent="-450000">
              <a:lnSpc>
                <a:spcPct val="110000"/>
              </a:lnSpc>
              <a:spcBef>
                <a:spcPts val="600"/>
              </a:spcBef>
              <a:spcAft>
                <a:spcPts val="0"/>
              </a:spcAft>
              <a:buFont typeface="+mj-lt"/>
              <a:buNone/>
              <a:tabLst/>
              <a:defRPr sz="2000" b="0">
                <a:solidFill>
                  <a:schemeClr val="bg1"/>
                </a:solidFill>
                <a:latin typeface="+mj-lt"/>
              </a:defRPr>
            </a:lvl4pPr>
            <a:lvl5pPr marL="450000" indent="-450000">
              <a:lnSpc>
                <a:spcPct val="110000"/>
              </a:lnSpc>
              <a:spcBef>
                <a:spcPts val="600"/>
              </a:spcBef>
              <a:spcAft>
                <a:spcPts val="0"/>
              </a:spcAft>
              <a:buFont typeface="+mj-lt"/>
              <a:buNone/>
              <a:tabLst/>
              <a:defRPr sz="2000" b="0">
                <a:solidFill>
                  <a:schemeClr val="bg1"/>
                </a:solidFill>
                <a:latin typeface="+mj-lt"/>
              </a:defRPr>
            </a:lvl5pPr>
            <a:lvl6pPr marL="450000" indent="-450000">
              <a:lnSpc>
                <a:spcPct val="110000"/>
              </a:lnSpc>
              <a:spcBef>
                <a:spcPts val="600"/>
              </a:spcBef>
              <a:spcAft>
                <a:spcPts val="0"/>
              </a:spcAft>
              <a:buFont typeface="+mj-lt"/>
              <a:buNone/>
              <a:tabLst>
                <a:tab pos="449263" algn="l"/>
              </a:tabLst>
              <a:defRPr sz="2000">
                <a:solidFill>
                  <a:schemeClr val="bg1"/>
                </a:solidFill>
                <a:latin typeface="+mj-lt"/>
              </a:defRPr>
            </a:lvl6pPr>
            <a:lvl7pPr marL="450000" indent="-450000">
              <a:lnSpc>
                <a:spcPct val="110000"/>
              </a:lnSpc>
              <a:spcBef>
                <a:spcPts val="600"/>
              </a:spcBef>
              <a:spcAft>
                <a:spcPts val="0"/>
              </a:spcAft>
              <a:buNone/>
              <a:tabLst>
                <a:tab pos="449263" algn="l"/>
              </a:tabLst>
              <a:defRPr sz="2000">
                <a:solidFill>
                  <a:schemeClr val="bg1"/>
                </a:solidFill>
                <a:latin typeface="+mj-lt"/>
              </a:defRPr>
            </a:lvl7pPr>
            <a:lvl8pPr marL="450000" indent="-450000">
              <a:lnSpc>
                <a:spcPct val="110000"/>
              </a:lnSpc>
              <a:spcBef>
                <a:spcPts val="600"/>
              </a:spcBef>
              <a:spcAft>
                <a:spcPts val="0"/>
              </a:spcAft>
              <a:buFont typeface="+mj-lt"/>
              <a:buNone/>
              <a:tabLst>
                <a:tab pos="449263" algn="l"/>
              </a:tabLst>
              <a:defRPr sz="2000">
                <a:solidFill>
                  <a:schemeClr val="bg1"/>
                </a:solidFill>
                <a:latin typeface="+mj-lt"/>
              </a:defRPr>
            </a:lvl8pPr>
            <a:lvl9pPr marL="450000" indent="-450000">
              <a:lnSpc>
                <a:spcPct val="110000"/>
              </a:lnSpc>
              <a:spcBef>
                <a:spcPts val="600"/>
              </a:spcBef>
              <a:spcAft>
                <a:spcPts val="0"/>
              </a:spcAft>
              <a:buFont typeface="+mj-lt"/>
              <a:buNone/>
              <a:tabLst>
                <a:tab pos="449263" algn="l"/>
              </a:tabLst>
              <a:defRPr sz="2000">
                <a:solidFill>
                  <a:schemeClr val="bg1"/>
                </a:solidFill>
                <a:latin typeface="+mj-lt"/>
              </a:defRPr>
            </a:lvl9pPr>
          </a:lstStyle>
          <a:p>
            <a:pPr lvl="0"/>
            <a:r>
              <a:rPr lang="de-DE" noProof="0"/>
              <a:t>XX	Insert your agenda points here.</a:t>
            </a:r>
          </a:p>
          <a:p>
            <a:pPr lvl="1"/>
            <a:r>
              <a:rPr lang="de-DE" noProof="0"/>
              <a:t>2. level</a:t>
            </a:r>
          </a:p>
          <a:p>
            <a:pPr lvl="2"/>
            <a:r>
              <a:rPr lang="de-DE" noProof="0"/>
              <a:t>3. level</a:t>
            </a:r>
          </a:p>
          <a:p>
            <a:pPr lvl="3"/>
            <a:r>
              <a:rPr lang="de-DE" noProof="0"/>
              <a:t>4. level</a:t>
            </a:r>
          </a:p>
          <a:p>
            <a:pPr lvl="4"/>
            <a:r>
              <a:rPr lang="de-DE" noProof="0"/>
              <a:t>5. level</a:t>
            </a:r>
          </a:p>
          <a:p>
            <a:pPr lvl="5"/>
            <a:r>
              <a:rPr lang="de-DE" noProof="0"/>
              <a:t>6. level</a:t>
            </a:r>
          </a:p>
          <a:p>
            <a:pPr lvl="6"/>
            <a:r>
              <a:rPr lang="de-DE" noProof="0"/>
              <a:t>7. level</a:t>
            </a:r>
          </a:p>
          <a:p>
            <a:pPr lvl="7"/>
            <a:r>
              <a:rPr lang="de-DE" noProof="0"/>
              <a:t>8. level</a:t>
            </a:r>
          </a:p>
          <a:p>
            <a:pPr lvl="8"/>
            <a:r>
              <a:rPr lang="de-DE" noProof="0"/>
              <a:t>9. level</a:t>
            </a:r>
          </a:p>
        </p:txBody>
      </p:sp>
      <p:sp>
        <p:nvSpPr>
          <p:cNvPr id="3" name="Fußzeilenplatzhalter 2">
            <a:extLst>
              <a:ext uri="{FF2B5EF4-FFF2-40B4-BE49-F238E27FC236}">
                <a16:creationId xmlns:a16="http://schemas.microsoft.com/office/drawing/2014/main" id="{6FCB8DCE-EA7C-B70E-9EE8-18C529B32104}"/>
              </a:ext>
            </a:extLst>
          </p:cNvPr>
          <p:cNvSpPr>
            <a:spLocks noGrp="1"/>
          </p:cNvSpPr>
          <p:nvPr>
            <p:ph type="ftr" sz="quarter" idx="13"/>
          </p:nvPr>
        </p:nvSpPr>
        <p:spPr bwMode="gray"/>
        <p:txBody>
          <a:bodyPr/>
          <a:lstStyle>
            <a:lvl1pPr>
              <a:defRPr>
                <a:solidFill>
                  <a:schemeClr val="bg1"/>
                </a:solidFill>
              </a:defRPr>
            </a:lvl1pPr>
          </a:lstStyle>
          <a:p>
            <a:r>
              <a:rPr lang="de-DE"/>
              <a:t>Date dd.mm.yyyy  |  Security label</a:t>
            </a:r>
          </a:p>
        </p:txBody>
      </p:sp>
      <p:sp>
        <p:nvSpPr>
          <p:cNvPr id="10" name="Titel 9">
            <a:extLst>
              <a:ext uri="{FF2B5EF4-FFF2-40B4-BE49-F238E27FC236}">
                <a16:creationId xmlns:a16="http://schemas.microsoft.com/office/drawing/2014/main" id="{9BC260D5-1FBD-B1A8-E74B-2F6870E6D0BD}"/>
              </a:ext>
            </a:extLst>
          </p:cNvPr>
          <p:cNvSpPr>
            <a:spLocks noGrp="1"/>
          </p:cNvSpPr>
          <p:nvPr>
            <p:ph type="title" hasCustomPrompt="1"/>
          </p:nvPr>
        </p:nvSpPr>
        <p:spPr bwMode="gray"/>
        <p:txBody>
          <a:bodyPr/>
          <a:lstStyle>
            <a:lvl1pPr>
              <a:defRPr>
                <a:solidFill>
                  <a:schemeClr val="bg1"/>
                </a:solidFill>
              </a:defRPr>
            </a:lvl1pPr>
          </a:lstStyle>
          <a:p>
            <a:r>
              <a:rPr lang="de-DE" err="1"/>
              <a:t>Heading</a:t>
            </a:r>
            <a:r>
              <a:rPr lang="de-DE"/>
              <a:t> (</a:t>
            </a:r>
            <a:r>
              <a:rPr lang="de-DE" err="1"/>
              <a:t>one</a:t>
            </a:r>
            <a:r>
              <a:rPr lang="de-DE"/>
              <a:t> </a:t>
            </a:r>
            <a:r>
              <a:rPr lang="de-DE" err="1"/>
              <a:t>line</a:t>
            </a:r>
            <a:r>
              <a:rPr lang="de-DE"/>
              <a:t>)</a:t>
            </a:r>
          </a:p>
        </p:txBody>
      </p:sp>
      <p:sp>
        <p:nvSpPr>
          <p:cNvPr id="6" name="Slide Number Placeholder 5">
            <a:extLst>
              <a:ext uri="{FF2B5EF4-FFF2-40B4-BE49-F238E27FC236}">
                <a16:creationId xmlns:a16="http://schemas.microsoft.com/office/drawing/2014/main" id="{ED768CD4-FEEE-DA3F-9363-E85267DD0A16}"/>
              </a:ext>
            </a:extLst>
          </p:cNvPr>
          <p:cNvSpPr>
            <a:spLocks noGrp="1"/>
          </p:cNvSpPr>
          <p:nvPr>
            <p:ph type="sldNum" sz="quarter" idx="14"/>
          </p:nvPr>
        </p:nvSpPr>
        <p:spPr>
          <a:solidFill>
            <a:schemeClr val="bg1"/>
          </a:solidFill>
          <a:ln>
            <a:solidFill>
              <a:schemeClr val="bg1"/>
            </a:solidFill>
          </a:ln>
        </p:spPr>
        <p:txBody>
          <a:bodyPr/>
          <a:lstStyle>
            <a:lvl1pPr>
              <a:defRPr>
                <a:solidFill>
                  <a:schemeClr val="accent1"/>
                </a:solidFill>
              </a:defRPr>
            </a:lvl1pPr>
          </a:lstStyle>
          <a:p>
            <a:fld id="{44661A95-0089-4306-9485-D330C59FE3ED}" type="slidenum">
              <a:rPr lang="de-DE" smtClean="0"/>
              <a:pPr/>
              <a:t>‹#›</a:t>
            </a:fld>
            <a:endParaRPr lang="de-DE"/>
          </a:p>
        </p:txBody>
      </p:sp>
      <p:sp>
        <p:nvSpPr>
          <p:cNvPr id="4" name="Freihandform: Form 459">
            <a:extLst>
              <a:ext uri="{FF2B5EF4-FFF2-40B4-BE49-F238E27FC236}">
                <a16:creationId xmlns:a16="http://schemas.microsoft.com/office/drawing/2014/main" id="{47379F18-9F59-EC13-7CBA-6C9CB36D656A}"/>
              </a:ext>
            </a:extLst>
          </p:cNvPr>
          <p:cNvSpPr txBox="1">
            <a:spLocks noChangeAspect="1"/>
          </p:cNvSpPr>
          <p:nvPr userDrawn="1"/>
        </p:nvSpPr>
        <p:spPr bwMode="gray">
          <a:xfrm>
            <a:off x="11352648" y="307218"/>
            <a:ext cx="576000" cy="313470"/>
          </a:xfrm>
          <a:custGeom>
            <a:avLst/>
            <a:gdLst>
              <a:gd name="connsiteX0" fmla="*/ 471895 w 4139828"/>
              <a:gd name="connsiteY0" fmla="*/ 507 h 2242189"/>
              <a:gd name="connsiteX1" fmla="*/ 1132548 w 4139828"/>
              <a:gd name="connsiteY1" fmla="*/ 507 h 2242189"/>
              <a:gd name="connsiteX2" fmla="*/ 1179737 w 4139828"/>
              <a:gd name="connsiteY2" fmla="*/ 47691 h 2242189"/>
              <a:gd name="connsiteX3" fmla="*/ 1179737 w 4139828"/>
              <a:gd name="connsiteY3" fmla="*/ 425671 h 2242189"/>
              <a:gd name="connsiteX4" fmla="*/ 1132548 w 4139828"/>
              <a:gd name="connsiteY4" fmla="*/ 472855 h 2242189"/>
              <a:gd name="connsiteX5" fmla="*/ 659508 w 4139828"/>
              <a:gd name="connsiteY5" fmla="*/ 472855 h 2242189"/>
              <a:gd name="connsiteX6" fmla="*/ 470750 w 4139828"/>
              <a:gd name="connsiteY6" fmla="*/ 661591 h 2242189"/>
              <a:gd name="connsiteX7" fmla="*/ 470750 w 4139828"/>
              <a:gd name="connsiteY7" fmla="*/ 728742 h 2242189"/>
              <a:gd name="connsiteX8" fmla="*/ 494281 w 4139828"/>
              <a:gd name="connsiteY8" fmla="*/ 752270 h 2242189"/>
              <a:gd name="connsiteX9" fmla="*/ 800059 w 4139828"/>
              <a:gd name="connsiteY9" fmla="*/ 752270 h 2242189"/>
              <a:gd name="connsiteX10" fmla="*/ 847248 w 4139828"/>
              <a:gd name="connsiteY10" fmla="*/ 799454 h 2242189"/>
              <a:gd name="connsiteX11" fmla="*/ 847248 w 4139828"/>
              <a:gd name="connsiteY11" fmla="*/ 1081668 h 2242189"/>
              <a:gd name="connsiteX12" fmla="*/ 800059 w 4139828"/>
              <a:gd name="connsiteY12" fmla="*/ 1128852 h 2242189"/>
              <a:gd name="connsiteX13" fmla="*/ 494281 w 4139828"/>
              <a:gd name="connsiteY13" fmla="*/ 1128852 h 2242189"/>
              <a:gd name="connsiteX14" fmla="*/ 470750 w 4139828"/>
              <a:gd name="connsiteY14" fmla="*/ 1152380 h 2242189"/>
              <a:gd name="connsiteX15" fmla="*/ 470750 w 4139828"/>
              <a:gd name="connsiteY15" fmla="*/ 1227671 h 2242189"/>
              <a:gd name="connsiteX16" fmla="*/ 659508 w 4139828"/>
              <a:gd name="connsiteY16" fmla="*/ 1416406 h 2242189"/>
              <a:gd name="connsiteX17" fmla="*/ 1297775 w 4139828"/>
              <a:gd name="connsiteY17" fmla="*/ 1416406 h 2242189"/>
              <a:gd name="connsiteX18" fmla="*/ 1297775 w 4139828"/>
              <a:gd name="connsiteY18" fmla="*/ 1413100 h 2242189"/>
              <a:gd name="connsiteX19" fmla="*/ 1297775 w 4139828"/>
              <a:gd name="connsiteY19" fmla="*/ 472728 h 2242189"/>
              <a:gd name="connsiteX20" fmla="*/ 1769797 w 4139828"/>
              <a:gd name="connsiteY20" fmla="*/ 889 h 2242189"/>
              <a:gd name="connsiteX21" fmla="*/ 2359729 w 4139828"/>
              <a:gd name="connsiteY21" fmla="*/ 889 h 2242189"/>
              <a:gd name="connsiteX22" fmla="*/ 2831624 w 4139828"/>
              <a:gd name="connsiteY22" fmla="*/ 472728 h 2242189"/>
              <a:gd name="connsiteX23" fmla="*/ 2831624 w 4139828"/>
              <a:gd name="connsiteY23" fmla="*/ 2195005 h 2242189"/>
              <a:gd name="connsiteX24" fmla="*/ 2784434 w 4139828"/>
              <a:gd name="connsiteY24" fmla="*/ 2242189 h 2242189"/>
              <a:gd name="connsiteX25" fmla="*/ 2408063 w 4139828"/>
              <a:gd name="connsiteY25" fmla="*/ 2242189 h 2242189"/>
              <a:gd name="connsiteX26" fmla="*/ 2360874 w 4139828"/>
              <a:gd name="connsiteY26" fmla="*/ 2195005 h 2242189"/>
              <a:gd name="connsiteX27" fmla="*/ 2360874 w 4139828"/>
              <a:gd name="connsiteY27" fmla="*/ 661336 h 2242189"/>
              <a:gd name="connsiteX28" fmla="*/ 2172116 w 4139828"/>
              <a:gd name="connsiteY28" fmla="*/ 472601 h 2242189"/>
              <a:gd name="connsiteX29" fmla="*/ 1957410 w 4139828"/>
              <a:gd name="connsiteY29" fmla="*/ 472601 h 2242189"/>
              <a:gd name="connsiteX30" fmla="*/ 1768652 w 4139828"/>
              <a:gd name="connsiteY30" fmla="*/ 661336 h 2242189"/>
              <a:gd name="connsiteX31" fmla="*/ 1768652 w 4139828"/>
              <a:gd name="connsiteY31" fmla="*/ 1227671 h 2242189"/>
              <a:gd name="connsiteX32" fmla="*/ 1957410 w 4139828"/>
              <a:gd name="connsiteY32" fmla="*/ 1416406 h 2242189"/>
              <a:gd name="connsiteX33" fmla="*/ 2219305 w 4139828"/>
              <a:gd name="connsiteY33" fmla="*/ 1416406 h 2242189"/>
              <a:gd name="connsiteX34" fmla="*/ 2242963 w 4139828"/>
              <a:gd name="connsiteY34" fmla="*/ 1439935 h 2242189"/>
              <a:gd name="connsiteX35" fmla="*/ 2242963 w 4139828"/>
              <a:gd name="connsiteY35" fmla="*/ 1864717 h 2242189"/>
              <a:gd name="connsiteX36" fmla="*/ 2219305 w 4139828"/>
              <a:gd name="connsiteY36" fmla="*/ 1888246 h 2242189"/>
              <a:gd name="connsiteX37" fmla="*/ 472022 w 4139828"/>
              <a:gd name="connsiteY37" fmla="*/ 1888246 h 2242189"/>
              <a:gd name="connsiteX38" fmla="*/ 0 w 4139828"/>
              <a:gd name="connsiteY38" fmla="*/ 1416406 h 2242189"/>
              <a:gd name="connsiteX39" fmla="*/ 0 w 4139828"/>
              <a:gd name="connsiteY39" fmla="*/ 472346 h 2242189"/>
              <a:gd name="connsiteX40" fmla="*/ 471895 w 4139828"/>
              <a:gd name="connsiteY40" fmla="*/ 507 h 2242189"/>
              <a:gd name="connsiteX41" fmla="*/ 3422701 w 4139828"/>
              <a:gd name="connsiteY41" fmla="*/ 0 h 2242189"/>
              <a:gd name="connsiteX42" fmla="*/ 4021918 w 4139828"/>
              <a:gd name="connsiteY42" fmla="*/ 0 h 2242189"/>
              <a:gd name="connsiteX43" fmla="*/ 4069108 w 4139828"/>
              <a:gd name="connsiteY43" fmla="*/ 47184 h 2242189"/>
              <a:gd name="connsiteX44" fmla="*/ 4069108 w 4139828"/>
              <a:gd name="connsiteY44" fmla="*/ 425546 h 2242189"/>
              <a:gd name="connsiteX45" fmla="*/ 4021918 w 4139828"/>
              <a:gd name="connsiteY45" fmla="*/ 472730 h 2242189"/>
              <a:gd name="connsiteX46" fmla="*/ 3532979 w 4139828"/>
              <a:gd name="connsiteY46" fmla="*/ 472730 h 2242189"/>
              <a:gd name="connsiteX47" fmla="*/ 3532852 w 4139828"/>
              <a:gd name="connsiteY47" fmla="*/ 472857 h 2242189"/>
              <a:gd name="connsiteX48" fmla="*/ 3488969 w 4139828"/>
              <a:gd name="connsiteY48" fmla="*/ 599147 h 2242189"/>
              <a:gd name="connsiteX49" fmla="*/ 3904008 w 4139828"/>
              <a:gd name="connsiteY49" fmla="*/ 927781 h 2242189"/>
              <a:gd name="connsiteX50" fmla="*/ 4139828 w 4139828"/>
              <a:gd name="connsiteY50" fmla="*/ 1415391 h 2242189"/>
              <a:gd name="connsiteX51" fmla="*/ 4001312 w 4139828"/>
              <a:gd name="connsiteY51" fmla="*/ 1749875 h 2242189"/>
              <a:gd name="connsiteX52" fmla="*/ 3666916 w 4139828"/>
              <a:gd name="connsiteY52" fmla="*/ 1888375 h 2242189"/>
              <a:gd name="connsiteX53" fmla="*/ 2973319 w 4139828"/>
              <a:gd name="connsiteY53" fmla="*/ 1888375 h 2242189"/>
              <a:gd name="connsiteX54" fmla="*/ 2949788 w 4139828"/>
              <a:gd name="connsiteY54" fmla="*/ 1864846 h 2242189"/>
              <a:gd name="connsiteX55" fmla="*/ 2949788 w 4139828"/>
              <a:gd name="connsiteY55" fmla="*/ 1439173 h 2242189"/>
              <a:gd name="connsiteX56" fmla="*/ 2973319 w 4139828"/>
              <a:gd name="connsiteY56" fmla="*/ 1415518 h 2242189"/>
              <a:gd name="connsiteX57" fmla="*/ 3556637 w 4139828"/>
              <a:gd name="connsiteY57" fmla="*/ 1415518 h 2242189"/>
              <a:gd name="connsiteX58" fmla="*/ 3600520 w 4139828"/>
              <a:gd name="connsiteY58" fmla="*/ 1289228 h 2242189"/>
              <a:gd name="connsiteX59" fmla="*/ 3185481 w 4139828"/>
              <a:gd name="connsiteY59" fmla="*/ 960594 h 2242189"/>
              <a:gd name="connsiteX60" fmla="*/ 2949661 w 4139828"/>
              <a:gd name="connsiteY60" fmla="*/ 472984 h 2242189"/>
              <a:gd name="connsiteX61" fmla="*/ 3422701 w 4139828"/>
              <a:gd name="connsiteY61" fmla="*/ 0 h 22421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4139828" h="2242189">
                <a:moveTo>
                  <a:pt x="471895" y="507"/>
                </a:moveTo>
                <a:lnTo>
                  <a:pt x="1132548" y="507"/>
                </a:lnTo>
                <a:cubicBezTo>
                  <a:pt x="1158623" y="507"/>
                  <a:pt x="1179737" y="21619"/>
                  <a:pt x="1179737" y="47691"/>
                </a:cubicBezTo>
                <a:lnTo>
                  <a:pt x="1179737" y="425671"/>
                </a:lnTo>
                <a:cubicBezTo>
                  <a:pt x="1179737" y="451743"/>
                  <a:pt x="1158623" y="472855"/>
                  <a:pt x="1132548" y="472855"/>
                </a:cubicBezTo>
                <a:lnTo>
                  <a:pt x="659508" y="472855"/>
                </a:lnTo>
                <a:cubicBezTo>
                  <a:pt x="555208" y="472855"/>
                  <a:pt x="470750" y="557303"/>
                  <a:pt x="470750" y="661591"/>
                </a:cubicBezTo>
                <a:lnTo>
                  <a:pt x="470750" y="728742"/>
                </a:lnTo>
                <a:cubicBezTo>
                  <a:pt x="470750" y="741714"/>
                  <a:pt x="481307" y="752270"/>
                  <a:pt x="494281" y="752270"/>
                </a:cubicBezTo>
                <a:lnTo>
                  <a:pt x="800059" y="752270"/>
                </a:lnTo>
                <a:cubicBezTo>
                  <a:pt x="826134" y="752270"/>
                  <a:pt x="847248" y="773382"/>
                  <a:pt x="847248" y="799454"/>
                </a:cubicBezTo>
                <a:lnTo>
                  <a:pt x="847248" y="1081668"/>
                </a:lnTo>
                <a:cubicBezTo>
                  <a:pt x="847248" y="1107740"/>
                  <a:pt x="826134" y="1128852"/>
                  <a:pt x="800059" y="1128852"/>
                </a:cubicBezTo>
                <a:lnTo>
                  <a:pt x="494281" y="1128852"/>
                </a:lnTo>
                <a:cubicBezTo>
                  <a:pt x="481307" y="1128852"/>
                  <a:pt x="470750" y="1139408"/>
                  <a:pt x="470750" y="1152380"/>
                </a:cubicBezTo>
                <a:lnTo>
                  <a:pt x="470750" y="1227671"/>
                </a:lnTo>
                <a:cubicBezTo>
                  <a:pt x="470750" y="1331832"/>
                  <a:pt x="555208" y="1416406"/>
                  <a:pt x="659508" y="1416406"/>
                </a:cubicBezTo>
                <a:lnTo>
                  <a:pt x="1297775" y="1416406"/>
                </a:lnTo>
                <a:cubicBezTo>
                  <a:pt x="1297775" y="1415389"/>
                  <a:pt x="1297775" y="1414244"/>
                  <a:pt x="1297775" y="1413100"/>
                </a:cubicBezTo>
                <a:lnTo>
                  <a:pt x="1297775" y="472728"/>
                </a:lnTo>
                <a:cubicBezTo>
                  <a:pt x="1297775" y="212135"/>
                  <a:pt x="1509173" y="889"/>
                  <a:pt x="1769797" y="889"/>
                </a:cubicBezTo>
                <a:lnTo>
                  <a:pt x="2359729" y="889"/>
                </a:lnTo>
                <a:cubicBezTo>
                  <a:pt x="2620352" y="889"/>
                  <a:pt x="2831624" y="212135"/>
                  <a:pt x="2831624" y="472728"/>
                </a:cubicBezTo>
                <a:lnTo>
                  <a:pt x="2831624" y="2195005"/>
                </a:lnTo>
                <a:cubicBezTo>
                  <a:pt x="2831624" y="2221077"/>
                  <a:pt x="2810509" y="2242189"/>
                  <a:pt x="2784434" y="2242189"/>
                </a:cubicBezTo>
                <a:lnTo>
                  <a:pt x="2408063" y="2242189"/>
                </a:lnTo>
                <a:cubicBezTo>
                  <a:pt x="2381988" y="2242189"/>
                  <a:pt x="2360874" y="2221077"/>
                  <a:pt x="2360874" y="2195005"/>
                </a:cubicBezTo>
                <a:lnTo>
                  <a:pt x="2360874" y="661336"/>
                </a:lnTo>
                <a:cubicBezTo>
                  <a:pt x="2360874" y="557176"/>
                  <a:pt x="2276289" y="472601"/>
                  <a:pt x="2172116" y="472601"/>
                </a:cubicBezTo>
                <a:lnTo>
                  <a:pt x="1957410" y="472601"/>
                </a:lnTo>
                <a:cubicBezTo>
                  <a:pt x="1853110" y="472601"/>
                  <a:pt x="1768652" y="557176"/>
                  <a:pt x="1768652" y="661336"/>
                </a:cubicBezTo>
                <a:lnTo>
                  <a:pt x="1768652" y="1227671"/>
                </a:lnTo>
                <a:cubicBezTo>
                  <a:pt x="1768652" y="1331832"/>
                  <a:pt x="1853110" y="1416406"/>
                  <a:pt x="1957410" y="1416406"/>
                </a:cubicBezTo>
                <a:lnTo>
                  <a:pt x="2219305" y="1416406"/>
                </a:lnTo>
                <a:cubicBezTo>
                  <a:pt x="2232406" y="1416406"/>
                  <a:pt x="2242963" y="1426962"/>
                  <a:pt x="2242963" y="1439935"/>
                </a:cubicBezTo>
                <a:lnTo>
                  <a:pt x="2242963" y="1864717"/>
                </a:lnTo>
                <a:cubicBezTo>
                  <a:pt x="2242963" y="1877690"/>
                  <a:pt x="2232406" y="1888246"/>
                  <a:pt x="2219305" y="1888246"/>
                </a:cubicBezTo>
                <a:lnTo>
                  <a:pt x="472022" y="1888246"/>
                </a:lnTo>
                <a:cubicBezTo>
                  <a:pt x="211272" y="1888246"/>
                  <a:pt x="0" y="1676999"/>
                  <a:pt x="0" y="1416406"/>
                </a:cubicBezTo>
                <a:lnTo>
                  <a:pt x="0" y="472346"/>
                </a:lnTo>
                <a:cubicBezTo>
                  <a:pt x="0" y="211754"/>
                  <a:pt x="211272" y="507"/>
                  <a:pt x="471895" y="507"/>
                </a:cubicBezTo>
                <a:close/>
                <a:moveTo>
                  <a:pt x="3422701" y="0"/>
                </a:moveTo>
                <a:lnTo>
                  <a:pt x="4021918" y="0"/>
                </a:lnTo>
                <a:cubicBezTo>
                  <a:pt x="4047993" y="0"/>
                  <a:pt x="4069108" y="21112"/>
                  <a:pt x="4069108" y="47184"/>
                </a:cubicBezTo>
                <a:lnTo>
                  <a:pt x="4069108" y="425546"/>
                </a:lnTo>
                <a:cubicBezTo>
                  <a:pt x="4069108" y="451618"/>
                  <a:pt x="4047993" y="472730"/>
                  <a:pt x="4021918" y="472730"/>
                </a:cubicBezTo>
                <a:lnTo>
                  <a:pt x="3532979" y="472730"/>
                </a:lnTo>
                <a:lnTo>
                  <a:pt x="3532852" y="472857"/>
                </a:lnTo>
                <a:cubicBezTo>
                  <a:pt x="3465693" y="472857"/>
                  <a:pt x="3436311" y="557432"/>
                  <a:pt x="3488969" y="599147"/>
                </a:cubicBezTo>
                <a:lnTo>
                  <a:pt x="3904008" y="927781"/>
                </a:lnTo>
                <a:cubicBezTo>
                  <a:pt x="4052954" y="1045804"/>
                  <a:pt x="4139828" y="1225383"/>
                  <a:pt x="4139828" y="1415391"/>
                </a:cubicBezTo>
                <a:cubicBezTo>
                  <a:pt x="4139828" y="1546005"/>
                  <a:pt x="4086915" y="1664156"/>
                  <a:pt x="4001312" y="1749875"/>
                </a:cubicBezTo>
                <a:cubicBezTo>
                  <a:pt x="3915710" y="1835468"/>
                  <a:pt x="3797418" y="1888375"/>
                  <a:pt x="3666916" y="1888375"/>
                </a:cubicBezTo>
                <a:lnTo>
                  <a:pt x="2973319" y="1888375"/>
                </a:lnTo>
                <a:cubicBezTo>
                  <a:pt x="2960346" y="1888375"/>
                  <a:pt x="2949788" y="1877819"/>
                  <a:pt x="2949788" y="1864846"/>
                </a:cubicBezTo>
                <a:lnTo>
                  <a:pt x="2949788" y="1439173"/>
                </a:lnTo>
                <a:cubicBezTo>
                  <a:pt x="2949788" y="1426201"/>
                  <a:pt x="2960346" y="1415518"/>
                  <a:pt x="2973319" y="1415518"/>
                </a:cubicBezTo>
                <a:lnTo>
                  <a:pt x="3556637" y="1415518"/>
                </a:lnTo>
                <a:cubicBezTo>
                  <a:pt x="3623797" y="1415518"/>
                  <a:pt x="3653179" y="1330943"/>
                  <a:pt x="3600520" y="1289228"/>
                </a:cubicBezTo>
                <a:lnTo>
                  <a:pt x="3185481" y="960594"/>
                </a:lnTo>
                <a:cubicBezTo>
                  <a:pt x="3036535" y="842570"/>
                  <a:pt x="2949661" y="662991"/>
                  <a:pt x="2949661" y="472984"/>
                </a:cubicBezTo>
                <a:cubicBezTo>
                  <a:pt x="2949661" y="211755"/>
                  <a:pt x="3161441" y="0"/>
                  <a:pt x="3422701" y="0"/>
                </a:cubicBezTo>
                <a:close/>
              </a:path>
            </a:pathLst>
          </a:custGeom>
          <a:solidFill>
            <a:schemeClr val="bg1"/>
          </a:solidFill>
          <a:ln w="127">
            <a:solidFill>
              <a:schemeClr val="bg1">
                <a:alpha val="0"/>
              </a:schemeClr>
            </a:solidFill>
          </a:ln>
        </p:spPr>
        <p:txBody>
          <a:bodyPr wrap="square">
            <a:noAutofit/>
          </a:bodyPr>
          <a:lstStyle>
            <a:lvl1pPr marL="0" indent="0" algn="l" defTabSz="914400" rtl="0" eaLnBrk="1" latinLnBrk="0" hangingPunct="1">
              <a:lnSpc>
                <a:spcPct val="110000"/>
              </a:lnSpc>
              <a:spcBef>
                <a:spcPts val="600"/>
              </a:spcBef>
              <a:spcAft>
                <a:spcPts val="600"/>
              </a:spcAft>
              <a:buFont typeface="Arial" panose="020B0604020202020204" pitchFamily="34" charset="0"/>
              <a:buNone/>
              <a:defRPr sz="2000" b="1" kern="1200">
                <a:solidFill>
                  <a:schemeClr val="tx1"/>
                </a:solidFill>
                <a:latin typeface="+mj-lt"/>
                <a:ea typeface="+mn-ea"/>
                <a:cs typeface="+mn-cs"/>
              </a:defRPr>
            </a:lvl1pPr>
            <a:lvl2pPr marL="0" indent="0" algn="l" defTabSz="914400" rtl="0" eaLnBrk="1" latinLnBrk="0" hangingPunct="1">
              <a:lnSpc>
                <a:spcPct val="110000"/>
              </a:lnSpc>
              <a:spcBef>
                <a:spcPts val="600"/>
              </a:spcBef>
              <a:spcAft>
                <a:spcPts val="600"/>
              </a:spcAft>
              <a:buFont typeface="Arial" panose="020B0604020202020204" pitchFamily="34" charset="0"/>
              <a:buNone/>
              <a:defRPr sz="2000" kern="1200">
                <a:solidFill>
                  <a:schemeClr val="tx1"/>
                </a:solidFill>
                <a:latin typeface="+mn-lt"/>
                <a:ea typeface="+mn-ea"/>
                <a:cs typeface="+mn-cs"/>
              </a:defRPr>
            </a:lvl2pPr>
            <a:lvl3pPr marL="361950" indent="-361950" algn="l" defTabSz="914400" rtl="0" eaLnBrk="1" latinLnBrk="0" hangingPunct="1">
              <a:lnSpc>
                <a:spcPct val="110000"/>
              </a:lnSpc>
              <a:spcBef>
                <a:spcPts val="600"/>
              </a:spcBef>
              <a:spcAft>
                <a:spcPts val="600"/>
              </a:spcAft>
              <a:buClr>
                <a:schemeClr val="accent1"/>
              </a:buClr>
              <a:buFontTx/>
              <a:buBlip>
                <a:blip r:embed="rId2"/>
              </a:buBlip>
              <a:defRPr sz="2000" kern="1200">
                <a:solidFill>
                  <a:schemeClr val="tx1"/>
                </a:solidFill>
                <a:latin typeface="+mn-lt"/>
                <a:ea typeface="+mn-ea"/>
                <a:cs typeface="+mn-cs"/>
              </a:defRPr>
            </a:lvl3pPr>
            <a:lvl4pPr marL="714375" indent="-352425" algn="l" defTabSz="914400" rtl="0" eaLnBrk="1" latinLnBrk="0" hangingPunct="1">
              <a:lnSpc>
                <a:spcPct val="110000"/>
              </a:lnSpc>
              <a:spcBef>
                <a:spcPts val="600"/>
              </a:spcBef>
              <a:spcAft>
                <a:spcPts val="600"/>
              </a:spcAft>
              <a:buClr>
                <a:schemeClr val="accent1"/>
              </a:buClr>
              <a:buFontTx/>
              <a:buBlip>
                <a:blip r:embed="rId2"/>
              </a:buBlip>
              <a:defRPr sz="2000" kern="1200">
                <a:solidFill>
                  <a:schemeClr val="tx1"/>
                </a:solidFill>
                <a:latin typeface="+mn-lt"/>
                <a:ea typeface="+mn-ea"/>
                <a:cs typeface="+mn-cs"/>
              </a:defRPr>
            </a:lvl4pPr>
            <a:lvl5pPr marL="0" indent="0" algn="l" defTabSz="914400" rtl="0" eaLnBrk="1" latinLnBrk="0" hangingPunct="1">
              <a:lnSpc>
                <a:spcPct val="110000"/>
              </a:lnSpc>
              <a:spcBef>
                <a:spcPts val="600"/>
              </a:spcBef>
              <a:spcAft>
                <a:spcPts val="600"/>
              </a:spcAft>
              <a:buClr>
                <a:schemeClr val="accent1"/>
              </a:buClr>
              <a:buFont typeface="Arial" panose="020B0604020202020204" pitchFamily="34" charset="0"/>
              <a:buNone/>
              <a:defRPr sz="2500" kern="1200">
                <a:solidFill>
                  <a:schemeClr val="tx1"/>
                </a:solidFill>
                <a:latin typeface="+mn-lt"/>
                <a:ea typeface="+mn-ea"/>
                <a:cs typeface="+mn-cs"/>
              </a:defRPr>
            </a:lvl5pPr>
            <a:lvl6pPr marL="361950" indent="-361950" algn="l" defTabSz="914400" rtl="0" eaLnBrk="1" latinLnBrk="0" hangingPunct="1">
              <a:lnSpc>
                <a:spcPct val="110000"/>
              </a:lnSpc>
              <a:spcBef>
                <a:spcPts val="600"/>
              </a:spcBef>
              <a:spcAft>
                <a:spcPts val="600"/>
              </a:spcAft>
              <a:buClr>
                <a:schemeClr val="accent1"/>
              </a:buClr>
              <a:buFontTx/>
              <a:buBlip>
                <a:blip r:embed="rId2"/>
              </a:buBlip>
              <a:defRPr sz="2500" kern="1200">
                <a:solidFill>
                  <a:schemeClr val="tx1"/>
                </a:solidFill>
                <a:latin typeface="+mn-lt"/>
                <a:ea typeface="+mn-ea"/>
                <a:cs typeface="+mn-cs"/>
              </a:defRPr>
            </a:lvl6pPr>
            <a:lvl7pPr marL="360000" indent="-360000" algn="l" defTabSz="914400" rtl="0" eaLnBrk="1" latinLnBrk="0" hangingPunct="1">
              <a:lnSpc>
                <a:spcPct val="110000"/>
              </a:lnSpc>
              <a:spcBef>
                <a:spcPts val="600"/>
              </a:spcBef>
              <a:spcAft>
                <a:spcPts val="600"/>
              </a:spcAft>
              <a:buClr>
                <a:schemeClr val="accent1"/>
              </a:buClr>
              <a:buFont typeface="+mj-lt"/>
              <a:buAutoNum type="arabicPeriod"/>
              <a:defRPr sz="2000" kern="1200">
                <a:solidFill>
                  <a:schemeClr val="tx1"/>
                </a:solidFill>
                <a:latin typeface="+mn-lt"/>
                <a:ea typeface="+mn-ea"/>
                <a:cs typeface="+mn-cs"/>
              </a:defRPr>
            </a:lvl7pPr>
            <a:lvl8pPr marL="714375" indent="-354013" algn="l" defTabSz="914400" rtl="0" eaLnBrk="1" latinLnBrk="0" hangingPunct="1">
              <a:lnSpc>
                <a:spcPct val="110000"/>
              </a:lnSpc>
              <a:spcBef>
                <a:spcPts val="600"/>
              </a:spcBef>
              <a:spcAft>
                <a:spcPts val="600"/>
              </a:spcAft>
              <a:buClr>
                <a:schemeClr val="accent1"/>
              </a:buClr>
              <a:buFontTx/>
              <a:buBlip>
                <a:blip r:embed="rId2"/>
              </a:buBlip>
              <a:defRPr sz="2000" kern="1200">
                <a:solidFill>
                  <a:schemeClr val="tx1"/>
                </a:solidFill>
                <a:latin typeface="+mn-lt"/>
                <a:ea typeface="+mn-ea"/>
                <a:cs typeface="+mn-cs"/>
              </a:defRPr>
            </a:lvl8pPr>
            <a:lvl9pPr marL="1076325" indent="-361950" algn="l" defTabSz="914400" rtl="0" eaLnBrk="1" latinLnBrk="0" hangingPunct="1">
              <a:lnSpc>
                <a:spcPct val="110000"/>
              </a:lnSpc>
              <a:spcBef>
                <a:spcPts val="600"/>
              </a:spcBef>
              <a:spcAft>
                <a:spcPts val="600"/>
              </a:spcAft>
              <a:buClr>
                <a:schemeClr val="accent1"/>
              </a:buClr>
              <a:buFontTx/>
              <a:buBlip>
                <a:blip r:embed="rId2"/>
              </a:buBlip>
              <a:defRPr sz="2000" kern="1200">
                <a:solidFill>
                  <a:schemeClr val="tx1"/>
                </a:solidFill>
                <a:latin typeface="+mn-lt"/>
                <a:ea typeface="+mn-ea"/>
                <a:cs typeface="+mn-cs"/>
              </a:defRPr>
            </a:lvl9pPr>
          </a:lstStyle>
          <a:p>
            <a:r>
              <a:rPr lang="de-DE"/>
              <a:t> </a:t>
            </a:r>
          </a:p>
        </p:txBody>
      </p:sp>
    </p:spTree>
    <p:extLst>
      <p:ext uri="{BB962C8B-B14F-4D97-AF65-F5344CB8AC3E}">
        <p14:creationId xmlns:p14="http://schemas.microsoft.com/office/powerpoint/2010/main" val="3350332789"/>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Purpose | dark">
    <p:bg>
      <p:bgPr>
        <a:solidFill>
          <a:schemeClr val="accent1"/>
        </a:solidFill>
        <a:effectLst/>
      </p:bgPr>
    </p:bg>
    <p:spTree>
      <p:nvGrpSpPr>
        <p:cNvPr id="1" name=""/>
        <p:cNvGrpSpPr/>
        <p:nvPr/>
      </p:nvGrpSpPr>
      <p:grpSpPr>
        <a:xfrm>
          <a:off x="0" y="0"/>
          <a:ext cx="0" cy="0"/>
          <a:chOff x="0" y="0"/>
          <a:chExt cx="0" cy="0"/>
        </a:xfrm>
      </p:grpSpPr>
      <p:sp>
        <p:nvSpPr>
          <p:cNvPr id="4" name="Textplatzhalter 3"/>
          <p:cNvSpPr>
            <a:spLocks noGrp="1"/>
          </p:cNvSpPr>
          <p:nvPr>
            <p:ph type="body" sz="quarter" idx="12" hasCustomPrompt="1"/>
          </p:nvPr>
        </p:nvSpPr>
        <p:spPr bwMode="gray">
          <a:xfrm>
            <a:off x="1092201" y="2168252"/>
            <a:ext cx="7416800" cy="3024944"/>
          </a:xfrm>
          <a:prstGeom prst="rect">
            <a:avLst/>
          </a:prstGeom>
        </p:spPr>
        <p:txBody>
          <a:bodyPr/>
          <a:lstStyle>
            <a:lvl1pPr marL="0">
              <a:lnSpc>
                <a:spcPct val="100000"/>
              </a:lnSpc>
              <a:spcBef>
                <a:spcPts val="0"/>
              </a:spcBef>
              <a:spcAft>
                <a:spcPts val="0"/>
              </a:spcAft>
              <a:defRPr sz="3700" b="1">
                <a:solidFill>
                  <a:schemeClr val="bg1"/>
                </a:solidFill>
                <a:latin typeface="+mn-lt"/>
              </a:defRPr>
            </a:lvl1pPr>
            <a:lvl2pPr marL="0" indent="0">
              <a:lnSpc>
                <a:spcPct val="100000"/>
              </a:lnSpc>
              <a:spcBef>
                <a:spcPts val="0"/>
              </a:spcBef>
              <a:spcAft>
                <a:spcPts val="0"/>
              </a:spcAft>
              <a:buFont typeface="Arial" panose="020B0604020202020204" pitchFamily="34" charset="0"/>
              <a:buNone/>
              <a:defRPr sz="3700" b="0" cap="all" baseline="0">
                <a:solidFill>
                  <a:schemeClr val="bg1"/>
                </a:solidFill>
                <a:latin typeface="Barlow Black" panose="00000A00000000000000" pitchFamily="2" charset="0"/>
              </a:defRPr>
            </a:lvl2pPr>
            <a:lvl3pPr marL="0" indent="0">
              <a:lnSpc>
                <a:spcPct val="100000"/>
              </a:lnSpc>
              <a:spcBef>
                <a:spcPts val="0"/>
              </a:spcBef>
              <a:spcAft>
                <a:spcPts val="0"/>
              </a:spcAft>
              <a:buNone/>
              <a:defRPr sz="3700" b="1">
                <a:solidFill>
                  <a:schemeClr val="bg1"/>
                </a:solidFill>
                <a:latin typeface="+mn-lt"/>
              </a:defRPr>
            </a:lvl3pPr>
            <a:lvl4pPr marL="0" indent="0">
              <a:lnSpc>
                <a:spcPct val="100000"/>
              </a:lnSpc>
              <a:spcBef>
                <a:spcPts val="0"/>
              </a:spcBef>
              <a:spcAft>
                <a:spcPts val="0"/>
              </a:spcAft>
              <a:buNone/>
              <a:defRPr sz="3700" b="1">
                <a:solidFill>
                  <a:schemeClr val="bg1"/>
                </a:solidFill>
                <a:latin typeface="+mn-lt"/>
              </a:defRPr>
            </a:lvl4pPr>
            <a:lvl5pPr marL="0" indent="0">
              <a:lnSpc>
                <a:spcPct val="100000"/>
              </a:lnSpc>
              <a:spcBef>
                <a:spcPts val="0"/>
              </a:spcBef>
              <a:spcAft>
                <a:spcPts val="0"/>
              </a:spcAft>
              <a:buNone/>
              <a:defRPr sz="3700" b="1">
                <a:solidFill>
                  <a:schemeClr val="bg1"/>
                </a:solidFill>
                <a:latin typeface="+mn-lt"/>
              </a:defRPr>
            </a:lvl5pPr>
            <a:lvl6pPr marL="0" indent="0">
              <a:lnSpc>
                <a:spcPct val="100000"/>
              </a:lnSpc>
              <a:spcBef>
                <a:spcPts val="0"/>
              </a:spcBef>
              <a:spcAft>
                <a:spcPts val="0"/>
              </a:spcAft>
              <a:buNone/>
              <a:defRPr sz="3700" b="1">
                <a:solidFill>
                  <a:schemeClr val="bg1"/>
                </a:solidFill>
                <a:latin typeface="+mn-lt"/>
              </a:defRPr>
            </a:lvl6pPr>
            <a:lvl7pPr marL="0" indent="0">
              <a:lnSpc>
                <a:spcPct val="100000"/>
              </a:lnSpc>
              <a:spcBef>
                <a:spcPts val="0"/>
              </a:spcBef>
              <a:spcAft>
                <a:spcPts val="0"/>
              </a:spcAft>
              <a:buFont typeface="Arial" panose="020B0604020202020204" pitchFamily="34" charset="0"/>
              <a:buNone/>
              <a:defRPr sz="3700" b="1">
                <a:solidFill>
                  <a:schemeClr val="bg1"/>
                </a:solidFill>
                <a:latin typeface="+mn-lt"/>
              </a:defRPr>
            </a:lvl7pPr>
            <a:lvl8pPr marL="0" indent="0">
              <a:lnSpc>
                <a:spcPct val="100000"/>
              </a:lnSpc>
              <a:spcBef>
                <a:spcPts val="0"/>
              </a:spcBef>
              <a:spcAft>
                <a:spcPts val="0"/>
              </a:spcAft>
              <a:buNone/>
              <a:defRPr sz="3700" b="1">
                <a:solidFill>
                  <a:schemeClr val="bg1"/>
                </a:solidFill>
                <a:latin typeface="+mn-lt"/>
              </a:defRPr>
            </a:lvl8pPr>
            <a:lvl9pPr marL="0" indent="0">
              <a:lnSpc>
                <a:spcPct val="100000"/>
              </a:lnSpc>
              <a:spcBef>
                <a:spcPts val="0"/>
              </a:spcBef>
              <a:spcAft>
                <a:spcPts val="0"/>
              </a:spcAft>
              <a:buNone/>
              <a:defRPr sz="3700" b="1">
                <a:solidFill>
                  <a:schemeClr val="bg1"/>
                </a:solidFill>
                <a:latin typeface="+mn-lt"/>
              </a:defRPr>
            </a:lvl9pPr>
          </a:lstStyle>
          <a:p>
            <a:pPr lvl="0"/>
            <a:r>
              <a:rPr lang="de-DE" noProof="0"/>
              <a:t>Use </a:t>
            </a:r>
            <a:r>
              <a:rPr lang="de-DE" noProof="0" err="1"/>
              <a:t>this</a:t>
            </a:r>
            <a:r>
              <a:rPr lang="de-DE" noProof="0"/>
              <a:t> </a:t>
            </a:r>
            <a:r>
              <a:rPr lang="de-DE" noProof="0" err="1"/>
              <a:t>field</a:t>
            </a:r>
            <a:r>
              <a:rPr lang="de-DE" noProof="0"/>
              <a:t> </a:t>
            </a:r>
            <a:r>
              <a:rPr lang="de-DE" noProof="0" err="1"/>
              <a:t>to</a:t>
            </a:r>
            <a:r>
              <a:rPr lang="de-DE" noProof="0"/>
              <a:t> </a:t>
            </a:r>
            <a:r>
              <a:rPr lang="de-DE" noProof="0" err="1"/>
              <a:t>enter</a:t>
            </a:r>
            <a:r>
              <a:rPr lang="de-DE" noProof="0"/>
              <a:t> </a:t>
            </a:r>
            <a:r>
              <a:rPr lang="de-DE" noProof="0" err="1"/>
              <a:t>text</a:t>
            </a:r>
            <a:r>
              <a:rPr lang="de-DE" noProof="0"/>
              <a:t>.</a:t>
            </a:r>
          </a:p>
          <a:p>
            <a:pPr lvl="1"/>
            <a:r>
              <a:rPr lang="de-DE" noProof="0"/>
              <a:t>2. </a:t>
            </a:r>
            <a:r>
              <a:rPr lang="de-DE" noProof="0" err="1"/>
              <a:t>level</a:t>
            </a:r>
            <a:endParaRPr lang="de-DE" noProof="0"/>
          </a:p>
          <a:p>
            <a:pPr lvl="2"/>
            <a:r>
              <a:rPr lang="de-DE" noProof="0"/>
              <a:t>3. </a:t>
            </a:r>
            <a:r>
              <a:rPr lang="de-DE" noProof="0" err="1"/>
              <a:t>level</a:t>
            </a:r>
            <a:endParaRPr lang="de-DE" noProof="0"/>
          </a:p>
          <a:p>
            <a:pPr lvl="3"/>
            <a:r>
              <a:rPr lang="de-DE" noProof="0"/>
              <a:t>4. </a:t>
            </a:r>
            <a:r>
              <a:rPr lang="de-DE" noProof="0" err="1"/>
              <a:t>level</a:t>
            </a:r>
            <a:endParaRPr lang="de-DE" noProof="0"/>
          </a:p>
          <a:p>
            <a:pPr lvl="4"/>
            <a:r>
              <a:rPr lang="de-DE" noProof="0"/>
              <a:t>5. </a:t>
            </a:r>
            <a:r>
              <a:rPr lang="de-DE" noProof="0" err="1"/>
              <a:t>level</a:t>
            </a:r>
            <a:endParaRPr lang="de-DE" noProof="0"/>
          </a:p>
        </p:txBody>
      </p:sp>
      <p:sp>
        <p:nvSpPr>
          <p:cNvPr id="3" name="Titel 2">
            <a:extLst>
              <a:ext uri="{FF2B5EF4-FFF2-40B4-BE49-F238E27FC236}">
                <a16:creationId xmlns:a16="http://schemas.microsoft.com/office/drawing/2014/main" id="{64270121-E5D7-EFF4-9F8F-7BB7BFE33CE1}"/>
              </a:ext>
            </a:extLst>
          </p:cNvPr>
          <p:cNvSpPr>
            <a:spLocks noGrp="1"/>
          </p:cNvSpPr>
          <p:nvPr>
            <p:ph type="title" hasCustomPrompt="1"/>
          </p:nvPr>
        </p:nvSpPr>
        <p:spPr bwMode="gray">
          <a:xfrm>
            <a:off x="1092201" y="1340160"/>
            <a:ext cx="7416800" cy="604039"/>
          </a:xfrm>
        </p:spPr>
        <p:txBody>
          <a:bodyPr anchor="b"/>
          <a:lstStyle>
            <a:lvl1pPr>
              <a:defRPr>
                <a:solidFill>
                  <a:schemeClr val="bg1"/>
                </a:solidFill>
              </a:defRPr>
            </a:lvl1pPr>
          </a:lstStyle>
          <a:p>
            <a:r>
              <a:rPr lang="de-DE"/>
              <a:t>Title in </a:t>
            </a:r>
            <a:r>
              <a:rPr lang="de-DE" err="1"/>
              <a:t>one</a:t>
            </a:r>
            <a:r>
              <a:rPr lang="de-DE"/>
              <a:t> </a:t>
            </a:r>
            <a:r>
              <a:rPr lang="de-DE" err="1"/>
              <a:t>line</a:t>
            </a:r>
            <a:endParaRPr lang="de-DE"/>
          </a:p>
        </p:txBody>
      </p:sp>
      <p:sp>
        <p:nvSpPr>
          <p:cNvPr id="8" name="Fußzeilenplatzhalter 7">
            <a:extLst>
              <a:ext uri="{FF2B5EF4-FFF2-40B4-BE49-F238E27FC236}">
                <a16:creationId xmlns:a16="http://schemas.microsoft.com/office/drawing/2014/main" id="{540FBBB7-7BBE-6015-3C91-BE2D92D0B348}"/>
              </a:ext>
            </a:extLst>
          </p:cNvPr>
          <p:cNvSpPr>
            <a:spLocks noGrp="1"/>
          </p:cNvSpPr>
          <p:nvPr>
            <p:ph type="ftr" sz="quarter" idx="19"/>
          </p:nvPr>
        </p:nvSpPr>
        <p:spPr bwMode="gray"/>
        <p:txBody>
          <a:bodyPr/>
          <a:lstStyle>
            <a:lvl1pPr>
              <a:defRPr>
                <a:solidFill>
                  <a:schemeClr val="bg1"/>
                </a:solidFill>
              </a:defRPr>
            </a:lvl1pPr>
          </a:lstStyle>
          <a:p>
            <a:r>
              <a:rPr lang="de-DE"/>
              <a:t>Date dd.mm.yyyy  |  Security label</a:t>
            </a:r>
          </a:p>
        </p:txBody>
      </p:sp>
      <p:sp>
        <p:nvSpPr>
          <p:cNvPr id="2" name="Slide Number Placeholder 1">
            <a:extLst>
              <a:ext uri="{FF2B5EF4-FFF2-40B4-BE49-F238E27FC236}">
                <a16:creationId xmlns:a16="http://schemas.microsoft.com/office/drawing/2014/main" id="{FA2A1114-59DC-816E-742C-17694F0BECD5}"/>
              </a:ext>
            </a:extLst>
          </p:cNvPr>
          <p:cNvSpPr>
            <a:spLocks noGrp="1"/>
          </p:cNvSpPr>
          <p:nvPr>
            <p:ph type="sldNum" sz="quarter" idx="20"/>
          </p:nvPr>
        </p:nvSpPr>
        <p:spPr>
          <a:solidFill>
            <a:schemeClr val="bg1"/>
          </a:solidFill>
          <a:ln>
            <a:solidFill>
              <a:schemeClr val="bg1"/>
            </a:solidFill>
          </a:ln>
        </p:spPr>
        <p:txBody>
          <a:bodyPr/>
          <a:lstStyle>
            <a:lvl1pPr>
              <a:defRPr>
                <a:solidFill>
                  <a:schemeClr val="accent1"/>
                </a:solidFill>
              </a:defRPr>
            </a:lvl1pPr>
          </a:lstStyle>
          <a:p>
            <a:fld id="{44661A95-0089-4306-9485-D330C59FE3ED}" type="slidenum">
              <a:rPr lang="de-DE" smtClean="0"/>
              <a:pPr/>
              <a:t>‹#›</a:t>
            </a:fld>
            <a:endParaRPr lang="de-DE"/>
          </a:p>
        </p:txBody>
      </p:sp>
      <p:sp>
        <p:nvSpPr>
          <p:cNvPr id="6" name="Freihandform: Form 459">
            <a:extLst>
              <a:ext uri="{FF2B5EF4-FFF2-40B4-BE49-F238E27FC236}">
                <a16:creationId xmlns:a16="http://schemas.microsoft.com/office/drawing/2014/main" id="{A75B66C5-E1A9-16DE-708B-5B5637D9FD4C}"/>
              </a:ext>
            </a:extLst>
          </p:cNvPr>
          <p:cNvSpPr txBox="1">
            <a:spLocks noChangeAspect="1"/>
          </p:cNvSpPr>
          <p:nvPr userDrawn="1"/>
        </p:nvSpPr>
        <p:spPr bwMode="gray">
          <a:xfrm>
            <a:off x="11352648" y="307218"/>
            <a:ext cx="576000" cy="313470"/>
          </a:xfrm>
          <a:custGeom>
            <a:avLst/>
            <a:gdLst>
              <a:gd name="connsiteX0" fmla="*/ 471895 w 4139828"/>
              <a:gd name="connsiteY0" fmla="*/ 507 h 2242189"/>
              <a:gd name="connsiteX1" fmla="*/ 1132548 w 4139828"/>
              <a:gd name="connsiteY1" fmla="*/ 507 h 2242189"/>
              <a:gd name="connsiteX2" fmla="*/ 1179737 w 4139828"/>
              <a:gd name="connsiteY2" fmla="*/ 47691 h 2242189"/>
              <a:gd name="connsiteX3" fmla="*/ 1179737 w 4139828"/>
              <a:gd name="connsiteY3" fmla="*/ 425671 h 2242189"/>
              <a:gd name="connsiteX4" fmla="*/ 1132548 w 4139828"/>
              <a:gd name="connsiteY4" fmla="*/ 472855 h 2242189"/>
              <a:gd name="connsiteX5" fmla="*/ 659508 w 4139828"/>
              <a:gd name="connsiteY5" fmla="*/ 472855 h 2242189"/>
              <a:gd name="connsiteX6" fmla="*/ 470750 w 4139828"/>
              <a:gd name="connsiteY6" fmla="*/ 661591 h 2242189"/>
              <a:gd name="connsiteX7" fmla="*/ 470750 w 4139828"/>
              <a:gd name="connsiteY7" fmla="*/ 728742 h 2242189"/>
              <a:gd name="connsiteX8" fmla="*/ 494281 w 4139828"/>
              <a:gd name="connsiteY8" fmla="*/ 752270 h 2242189"/>
              <a:gd name="connsiteX9" fmla="*/ 800059 w 4139828"/>
              <a:gd name="connsiteY9" fmla="*/ 752270 h 2242189"/>
              <a:gd name="connsiteX10" fmla="*/ 847248 w 4139828"/>
              <a:gd name="connsiteY10" fmla="*/ 799454 h 2242189"/>
              <a:gd name="connsiteX11" fmla="*/ 847248 w 4139828"/>
              <a:gd name="connsiteY11" fmla="*/ 1081668 h 2242189"/>
              <a:gd name="connsiteX12" fmla="*/ 800059 w 4139828"/>
              <a:gd name="connsiteY12" fmla="*/ 1128852 h 2242189"/>
              <a:gd name="connsiteX13" fmla="*/ 494281 w 4139828"/>
              <a:gd name="connsiteY13" fmla="*/ 1128852 h 2242189"/>
              <a:gd name="connsiteX14" fmla="*/ 470750 w 4139828"/>
              <a:gd name="connsiteY14" fmla="*/ 1152380 h 2242189"/>
              <a:gd name="connsiteX15" fmla="*/ 470750 w 4139828"/>
              <a:gd name="connsiteY15" fmla="*/ 1227671 h 2242189"/>
              <a:gd name="connsiteX16" fmla="*/ 659508 w 4139828"/>
              <a:gd name="connsiteY16" fmla="*/ 1416406 h 2242189"/>
              <a:gd name="connsiteX17" fmla="*/ 1297775 w 4139828"/>
              <a:gd name="connsiteY17" fmla="*/ 1416406 h 2242189"/>
              <a:gd name="connsiteX18" fmla="*/ 1297775 w 4139828"/>
              <a:gd name="connsiteY18" fmla="*/ 1413100 h 2242189"/>
              <a:gd name="connsiteX19" fmla="*/ 1297775 w 4139828"/>
              <a:gd name="connsiteY19" fmla="*/ 472728 h 2242189"/>
              <a:gd name="connsiteX20" fmla="*/ 1769797 w 4139828"/>
              <a:gd name="connsiteY20" fmla="*/ 889 h 2242189"/>
              <a:gd name="connsiteX21" fmla="*/ 2359729 w 4139828"/>
              <a:gd name="connsiteY21" fmla="*/ 889 h 2242189"/>
              <a:gd name="connsiteX22" fmla="*/ 2831624 w 4139828"/>
              <a:gd name="connsiteY22" fmla="*/ 472728 h 2242189"/>
              <a:gd name="connsiteX23" fmla="*/ 2831624 w 4139828"/>
              <a:gd name="connsiteY23" fmla="*/ 2195005 h 2242189"/>
              <a:gd name="connsiteX24" fmla="*/ 2784434 w 4139828"/>
              <a:gd name="connsiteY24" fmla="*/ 2242189 h 2242189"/>
              <a:gd name="connsiteX25" fmla="*/ 2408063 w 4139828"/>
              <a:gd name="connsiteY25" fmla="*/ 2242189 h 2242189"/>
              <a:gd name="connsiteX26" fmla="*/ 2360874 w 4139828"/>
              <a:gd name="connsiteY26" fmla="*/ 2195005 h 2242189"/>
              <a:gd name="connsiteX27" fmla="*/ 2360874 w 4139828"/>
              <a:gd name="connsiteY27" fmla="*/ 661336 h 2242189"/>
              <a:gd name="connsiteX28" fmla="*/ 2172116 w 4139828"/>
              <a:gd name="connsiteY28" fmla="*/ 472601 h 2242189"/>
              <a:gd name="connsiteX29" fmla="*/ 1957410 w 4139828"/>
              <a:gd name="connsiteY29" fmla="*/ 472601 h 2242189"/>
              <a:gd name="connsiteX30" fmla="*/ 1768652 w 4139828"/>
              <a:gd name="connsiteY30" fmla="*/ 661336 h 2242189"/>
              <a:gd name="connsiteX31" fmla="*/ 1768652 w 4139828"/>
              <a:gd name="connsiteY31" fmla="*/ 1227671 h 2242189"/>
              <a:gd name="connsiteX32" fmla="*/ 1957410 w 4139828"/>
              <a:gd name="connsiteY32" fmla="*/ 1416406 h 2242189"/>
              <a:gd name="connsiteX33" fmla="*/ 2219305 w 4139828"/>
              <a:gd name="connsiteY33" fmla="*/ 1416406 h 2242189"/>
              <a:gd name="connsiteX34" fmla="*/ 2242963 w 4139828"/>
              <a:gd name="connsiteY34" fmla="*/ 1439935 h 2242189"/>
              <a:gd name="connsiteX35" fmla="*/ 2242963 w 4139828"/>
              <a:gd name="connsiteY35" fmla="*/ 1864717 h 2242189"/>
              <a:gd name="connsiteX36" fmla="*/ 2219305 w 4139828"/>
              <a:gd name="connsiteY36" fmla="*/ 1888246 h 2242189"/>
              <a:gd name="connsiteX37" fmla="*/ 472022 w 4139828"/>
              <a:gd name="connsiteY37" fmla="*/ 1888246 h 2242189"/>
              <a:gd name="connsiteX38" fmla="*/ 0 w 4139828"/>
              <a:gd name="connsiteY38" fmla="*/ 1416406 h 2242189"/>
              <a:gd name="connsiteX39" fmla="*/ 0 w 4139828"/>
              <a:gd name="connsiteY39" fmla="*/ 472346 h 2242189"/>
              <a:gd name="connsiteX40" fmla="*/ 471895 w 4139828"/>
              <a:gd name="connsiteY40" fmla="*/ 507 h 2242189"/>
              <a:gd name="connsiteX41" fmla="*/ 3422701 w 4139828"/>
              <a:gd name="connsiteY41" fmla="*/ 0 h 2242189"/>
              <a:gd name="connsiteX42" fmla="*/ 4021918 w 4139828"/>
              <a:gd name="connsiteY42" fmla="*/ 0 h 2242189"/>
              <a:gd name="connsiteX43" fmla="*/ 4069108 w 4139828"/>
              <a:gd name="connsiteY43" fmla="*/ 47184 h 2242189"/>
              <a:gd name="connsiteX44" fmla="*/ 4069108 w 4139828"/>
              <a:gd name="connsiteY44" fmla="*/ 425546 h 2242189"/>
              <a:gd name="connsiteX45" fmla="*/ 4021918 w 4139828"/>
              <a:gd name="connsiteY45" fmla="*/ 472730 h 2242189"/>
              <a:gd name="connsiteX46" fmla="*/ 3532979 w 4139828"/>
              <a:gd name="connsiteY46" fmla="*/ 472730 h 2242189"/>
              <a:gd name="connsiteX47" fmla="*/ 3532852 w 4139828"/>
              <a:gd name="connsiteY47" fmla="*/ 472857 h 2242189"/>
              <a:gd name="connsiteX48" fmla="*/ 3488969 w 4139828"/>
              <a:gd name="connsiteY48" fmla="*/ 599147 h 2242189"/>
              <a:gd name="connsiteX49" fmla="*/ 3904008 w 4139828"/>
              <a:gd name="connsiteY49" fmla="*/ 927781 h 2242189"/>
              <a:gd name="connsiteX50" fmla="*/ 4139828 w 4139828"/>
              <a:gd name="connsiteY50" fmla="*/ 1415391 h 2242189"/>
              <a:gd name="connsiteX51" fmla="*/ 4001312 w 4139828"/>
              <a:gd name="connsiteY51" fmla="*/ 1749875 h 2242189"/>
              <a:gd name="connsiteX52" fmla="*/ 3666916 w 4139828"/>
              <a:gd name="connsiteY52" fmla="*/ 1888375 h 2242189"/>
              <a:gd name="connsiteX53" fmla="*/ 2973319 w 4139828"/>
              <a:gd name="connsiteY53" fmla="*/ 1888375 h 2242189"/>
              <a:gd name="connsiteX54" fmla="*/ 2949788 w 4139828"/>
              <a:gd name="connsiteY54" fmla="*/ 1864846 h 2242189"/>
              <a:gd name="connsiteX55" fmla="*/ 2949788 w 4139828"/>
              <a:gd name="connsiteY55" fmla="*/ 1439173 h 2242189"/>
              <a:gd name="connsiteX56" fmla="*/ 2973319 w 4139828"/>
              <a:gd name="connsiteY56" fmla="*/ 1415518 h 2242189"/>
              <a:gd name="connsiteX57" fmla="*/ 3556637 w 4139828"/>
              <a:gd name="connsiteY57" fmla="*/ 1415518 h 2242189"/>
              <a:gd name="connsiteX58" fmla="*/ 3600520 w 4139828"/>
              <a:gd name="connsiteY58" fmla="*/ 1289228 h 2242189"/>
              <a:gd name="connsiteX59" fmla="*/ 3185481 w 4139828"/>
              <a:gd name="connsiteY59" fmla="*/ 960594 h 2242189"/>
              <a:gd name="connsiteX60" fmla="*/ 2949661 w 4139828"/>
              <a:gd name="connsiteY60" fmla="*/ 472984 h 2242189"/>
              <a:gd name="connsiteX61" fmla="*/ 3422701 w 4139828"/>
              <a:gd name="connsiteY61" fmla="*/ 0 h 22421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4139828" h="2242189">
                <a:moveTo>
                  <a:pt x="471895" y="507"/>
                </a:moveTo>
                <a:lnTo>
                  <a:pt x="1132548" y="507"/>
                </a:lnTo>
                <a:cubicBezTo>
                  <a:pt x="1158623" y="507"/>
                  <a:pt x="1179737" y="21619"/>
                  <a:pt x="1179737" y="47691"/>
                </a:cubicBezTo>
                <a:lnTo>
                  <a:pt x="1179737" y="425671"/>
                </a:lnTo>
                <a:cubicBezTo>
                  <a:pt x="1179737" y="451743"/>
                  <a:pt x="1158623" y="472855"/>
                  <a:pt x="1132548" y="472855"/>
                </a:cubicBezTo>
                <a:lnTo>
                  <a:pt x="659508" y="472855"/>
                </a:lnTo>
                <a:cubicBezTo>
                  <a:pt x="555208" y="472855"/>
                  <a:pt x="470750" y="557303"/>
                  <a:pt x="470750" y="661591"/>
                </a:cubicBezTo>
                <a:lnTo>
                  <a:pt x="470750" y="728742"/>
                </a:lnTo>
                <a:cubicBezTo>
                  <a:pt x="470750" y="741714"/>
                  <a:pt x="481307" y="752270"/>
                  <a:pt x="494281" y="752270"/>
                </a:cubicBezTo>
                <a:lnTo>
                  <a:pt x="800059" y="752270"/>
                </a:lnTo>
                <a:cubicBezTo>
                  <a:pt x="826134" y="752270"/>
                  <a:pt x="847248" y="773382"/>
                  <a:pt x="847248" y="799454"/>
                </a:cubicBezTo>
                <a:lnTo>
                  <a:pt x="847248" y="1081668"/>
                </a:lnTo>
                <a:cubicBezTo>
                  <a:pt x="847248" y="1107740"/>
                  <a:pt x="826134" y="1128852"/>
                  <a:pt x="800059" y="1128852"/>
                </a:cubicBezTo>
                <a:lnTo>
                  <a:pt x="494281" y="1128852"/>
                </a:lnTo>
                <a:cubicBezTo>
                  <a:pt x="481307" y="1128852"/>
                  <a:pt x="470750" y="1139408"/>
                  <a:pt x="470750" y="1152380"/>
                </a:cubicBezTo>
                <a:lnTo>
                  <a:pt x="470750" y="1227671"/>
                </a:lnTo>
                <a:cubicBezTo>
                  <a:pt x="470750" y="1331832"/>
                  <a:pt x="555208" y="1416406"/>
                  <a:pt x="659508" y="1416406"/>
                </a:cubicBezTo>
                <a:lnTo>
                  <a:pt x="1297775" y="1416406"/>
                </a:lnTo>
                <a:cubicBezTo>
                  <a:pt x="1297775" y="1415389"/>
                  <a:pt x="1297775" y="1414244"/>
                  <a:pt x="1297775" y="1413100"/>
                </a:cubicBezTo>
                <a:lnTo>
                  <a:pt x="1297775" y="472728"/>
                </a:lnTo>
                <a:cubicBezTo>
                  <a:pt x="1297775" y="212135"/>
                  <a:pt x="1509173" y="889"/>
                  <a:pt x="1769797" y="889"/>
                </a:cubicBezTo>
                <a:lnTo>
                  <a:pt x="2359729" y="889"/>
                </a:lnTo>
                <a:cubicBezTo>
                  <a:pt x="2620352" y="889"/>
                  <a:pt x="2831624" y="212135"/>
                  <a:pt x="2831624" y="472728"/>
                </a:cubicBezTo>
                <a:lnTo>
                  <a:pt x="2831624" y="2195005"/>
                </a:lnTo>
                <a:cubicBezTo>
                  <a:pt x="2831624" y="2221077"/>
                  <a:pt x="2810509" y="2242189"/>
                  <a:pt x="2784434" y="2242189"/>
                </a:cubicBezTo>
                <a:lnTo>
                  <a:pt x="2408063" y="2242189"/>
                </a:lnTo>
                <a:cubicBezTo>
                  <a:pt x="2381988" y="2242189"/>
                  <a:pt x="2360874" y="2221077"/>
                  <a:pt x="2360874" y="2195005"/>
                </a:cubicBezTo>
                <a:lnTo>
                  <a:pt x="2360874" y="661336"/>
                </a:lnTo>
                <a:cubicBezTo>
                  <a:pt x="2360874" y="557176"/>
                  <a:pt x="2276289" y="472601"/>
                  <a:pt x="2172116" y="472601"/>
                </a:cubicBezTo>
                <a:lnTo>
                  <a:pt x="1957410" y="472601"/>
                </a:lnTo>
                <a:cubicBezTo>
                  <a:pt x="1853110" y="472601"/>
                  <a:pt x="1768652" y="557176"/>
                  <a:pt x="1768652" y="661336"/>
                </a:cubicBezTo>
                <a:lnTo>
                  <a:pt x="1768652" y="1227671"/>
                </a:lnTo>
                <a:cubicBezTo>
                  <a:pt x="1768652" y="1331832"/>
                  <a:pt x="1853110" y="1416406"/>
                  <a:pt x="1957410" y="1416406"/>
                </a:cubicBezTo>
                <a:lnTo>
                  <a:pt x="2219305" y="1416406"/>
                </a:lnTo>
                <a:cubicBezTo>
                  <a:pt x="2232406" y="1416406"/>
                  <a:pt x="2242963" y="1426962"/>
                  <a:pt x="2242963" y="1439935"/>
                </a:cubicBezTo>
                <a:lnTo>
                  <a:pt x="2242963" y="1864717"/>
                </a:lnTo>
                <a:cubicBezTo>
                  <a:pt x="2242963" y="1877690"/>
                  <a:pt x="2232406" y="1888246"/>
                  <a:pt x="2219305" y="1888246"/>
                </a:cubicBezTo>
                <a:lnTo>
                  <a:pt x="472022" y="1888246"/>
                </a:lnTo>
                <a:cubicBezTo>
                  <a:pt x="211272" y="1888246"/>
                  <a:pt x="0" y="1676999"/>
                  <a:pt x="0" y="1416406"/>
                </a:cubicBezTo>
                <a:lnTo>
                  <a:pt x="0" y="472346"/>
                </a:lnTo>
                <a:cubicBezTo>
                  <a:pt x="0" y="211754"/>
                  <a:pt x="211272" y="507"/>
                  <a:pt x="471895" y="507"/>
                </a:cubicBezTo>
                <a:close/>
                <a:moveTo>
                  <a:pt x="3422701" y="0"/>
                </a:moveTo>
                <a:lnTo>
                  <a:pt x="4021918" y="0"/>
                </a:lnTo>
                <a:cubicBezTo>
                  <a:pt x="4047993" y="0"/>
                  <a:pt x="4069108" y="21112"/>
                  <a:pt x="4069108" y="47184"/>
                </a:cubicBezTo>
                <a:lnTo>
                  <a:pt x="4069108" y="425546"/>
                </a:lnTo>
                <a:cubicBezTo>
                  <a:pt x="4069108" y="451618"/>
                  <a:pt x="4047993" y="472730"/>
                  <a:pt x="4021918" y="472730"/>
                </a:cubicBezTo>
                <a:lnTo>
                  <a:pt x="3532979" y="472730"/>
                </a:lnTo>
                <a:lnTo>
                  <a:pt x="3532852" y="472857"/>
                </a:lnTo>
                <a:cubicBezTo>
                  <a:pt x="3465693" y="472857"/>
                  <a:pt x="3436311" y="557432"/>
                  <a:pt x="3488969" y="599147"/>
                </a:cubicBezTo>
                <a:lnTo>
                  <a:pt x="3904008" y="927781"/>
                </a:lnTo>
                <a:cubicBezTo>
                  <a:pt x="4052954" y="1045804"/>
                  <a:pt x="4139828" y="1225383"/>
                  <a:pt x="4139828" y="1415391"/>
                </a:cubicBezTo>
                <a:cubicBezTo>
                  <a:pt x="4139828" y="1546005"/>
                  <a:pt x="4086915" y="1664156"/>
                  <a:pt x="4001312" y="1749875"/>
                </a:cubicBezTo>
                <a:cubicBezTo>
                  <a:pt x="3915710" y="1835468"/>
                  <a:pt x="3797418" y="1888375"/>
                  <a:pt x="3666916" y="1888375"/>
                </a:cubicBezTo>
                <a:lnTo>
                  <a:pt x="2973319" y="1888375"/>
                </a:lnTo>
                <a:cubicBezTo>
                  <a:pt x="2960346" y="1888375"/>
                  <a:pt x="2949788" y="1877819"/>
                  <a:pt x="2949788" y="1864846"/>
                </a:cubicBezTo>
                <a:lnTo>
                  <a:pt x="2949788" y="1439173"/>
                </a:lnTo>
                <a:cubicBezTo>
                  <a:pt x="2949788" y="1426201"/>
                  <a:pt x="2960346" y="1415518"/>
                  <a:pt x="2973319" y="1415518"/>
                </a:cubicBezTo>
                <a:lnTo>
                  <a:pt x="3556637" y="1415518"/>
                </a:lnTo>
                <a:cubicBezTo>
                  <a:pt x="3623797" y="1415518"/>
                  <a:pt x="3653179" y="1330943"/>
                  <a:pt x="3600520" y="1289228"/>
                </a:cubicBezTo>
                <a:lnTo>
                  <a:pt x="3185481" y="960594"/>
                </a:lnTo>
                <a:cubicBezTo>
                  <a:pt x="3036535" y="842570"/>
                  <a:pt x="2949661" y="662991"/>
                  <a:pt x="2949661" y="472984"/>
                </a:cubicBezTo>
                <a:cubicBezTo>
                  <a:pt x="2949661" y="211755"/>
                  <a:pt x="3161441" y="0"/>
                  <a:pt x="3422701" y="0"/>
                </a:cubicBezTo>
                <a:close/>
              </a:path>
            </a:pathLst>
          </a:custGeom>
          <a:solidFill>
            <a:schemeClr val="bg1"/>
          </a:solidFill>
          <a:ln w="127">
            <a:solidFill>
              <a:schemeClr val="bg1">
                <a:alpha val="0"/>
              </a:schemeClr>
            </a:solidFill>
          </a:ln>
        </p:spPr>
        <p:txBody>
          <a:bodyPr wrap="square">
            <a:noAutofit/>
          </a:bodyPr>
          <a:lstStyle>
            <a:lvl1pPr marL="0" indent="0" algn="l" defTabSz="914400" rtl="0" eaLnBrk="1" latinLnBrk="0" hangingPunct="1">
              <a:lnSpc>
                <a:spcPct val="110000"/>
              </a:lnSpc>
              <a:spcBef>
                <a:spcPts val="600"/>
              </a:spcBef>
              <a:spcAft>
                <a:spcPts val="600"/>
              </a:spcAft>
              <a:buFont typeface="Arial" panose="020B0604020202020204" pitchFamily="34" charset="0"/>
              <a:buNone/>
              <a:defRPr sz="2000" b="1" kern="1200">
                <a:solidFill>
                  <a:schemeClr val="tx1"/>
                </a:solidFill>
                <a:latin typeface="+mj-lt"/>
                <a:ea typeface="+mn-ea"/>
                <a:cs typeface="+mn-cs"/>
              </a:defRPr>
            </a:lvl1pPr>
            <a:lvl2pPr marL="0" indent="0" algn="l" defTabSz="914400" rtl="0" eaLnBrk="1" latinLnBrk="0" hangingPunct="1">
              <a:lnSpc>
                <a:spcPct val="110000"/>
              </a:lnSpc>
              <a:spcBef>
                <a:spcPts val="600"/>
              </a:spcBef>
              <a:spcAft>
                <a:spcPts val="600"/>
              </a:spcAft>
              <a:buFont typeface="Arial" panose="020B0604020202020204" pitchFamily="34" charset="0"/>
              <a:buNone/>
              <a:defRPr sz="2000" kern="1200">
                <a:solidFill>
                  <a:schemeClr val="tx1"/>
                </a:solidFill>
                <a:latin typeface="+mn-lt"/>
                <a:ea typeface="+mn-ea"/>
                <a:cs typeface="+mn-cs"/>
              </a:defRPr>
            </a:lvl2pPr>
            <a:lvl3pPr marL="361950" indent="-361950" algn="l" defTabSz="914400" rtl="0" eaLnBrk="1" latinLnBrk="0" hangingPunct="1">
              <a:lnSpc>
                <a:spcPct val="110000"/>
              </a:lnSpc>
              <a:spcBef>
                <a:spcPts val="600"/>
              </a:spcBef>
              <a:spcAft>
                <a:spcPts val="600"/>
              </a:spcAft>
              <a:buClr>
                <a:schemeClr val="accent1"/>
              </a:buClr>
              <a:buFontTx/>
              <a:buBlip>
                <a:blip r:embed="rId2"/>
              </a:buBlip>
              <a:defRPr sz="2000" kern="1200">
                <a:solidFill>
                  <a:schemeClr val="tx1"/>
                </a:solidFill>
                <a:latin typeface="+mn-lt"/>
                <a:ea typeface="+mn-ea"/>
                <a:cs typeface="+mn-cs"/>
              </a:defRPr>
            </a:lvl3pPr>
            <a:lvl4pPr marL="714375" indent="-352425" algn="l" defTabSz="914400" rtl="0" eaLnBrk="1" latinLnBrk="0" hangingPunct="1">
              <a:lnSpc>
                <a:spcPct val="110000"/>
              </a:lnSpc>
              <a:spcBef>
                <a:spcPts val="600"/>
              </a:spcBef>
              <a:spcAft>
                <a:spcPts val="600"/>
              </a:spcAft>
              <a:buClr>
                <a:schemeClr val="accent1"/>
              </a:buClr>
              <a:buFontTx/>
              <a:buBlip>
                <a:blip r:embed="rId2"/>
              </a:buBlip>
              <a:defRPr sz="2000" kern="1200">
                <a:solidFill>
                  <a:schemeClr val="tx1"/>
                </a:solidFill>
                <a:latin typeface="+mn-lt"/>
                <a:ea typeface="+mn-ea"/>
                <a:cs typeface="+mn-cs"/>
              </a:defRPr>
            </a:lvl4pPr>
            <a:lvl5pPr marL="0" indent="0" algn="l" defTabSz="914400" rtl="0" eaLnBrk="1" latinLnBrk="0" hangingPunct="1">
              <a:lnSpc>
                <a:spcPct val="110000"/>
              </a:lnSpc>
              <a:spcBef>
                <a:spcPts val="600"/>
              </a:spcBef>
              <a:spcAft>
                <a:spcPts val="600"/>
              </a:spcAft>
              <a:buClr>
                <a:schemeClr val="accent1"/>
              </a:buClr>
              <a:buFont typeface="Arial" panose="020B0604020202020204" pitchFamily="34" charset="0"/>
              <a:buNone/>
              <a:defRPr sz="2500" kern="1200">
                <a:solidFill>
                  <a:schemeClr val="tx1"/>
                </a:solidFill>
                <a:latin typeface="+mn-lt"/>
                <a:ea typeface="+mn-ea"/>
                <a:cs typeface="+mn-cs"/>
              </a:defRPr>
            </a:lvl5pPr>
            <a:lvl6pPr marL="361950" indent="-361950" algn="l" defTabSz="914400" rtl="0" eaLnBrk="1" latinLnBrk="0" hangingPunct="1">
              <a:lnSpc>
                <a:spcPct val="110000"/>
              </a:lnSpc>
              <a:spcBef>
                <a:spcPts val="600"/>
              </a:spcBef>
              <a:spcAft>
                <a:spcPts val="600"/>
              </a:spcAft>
              <a:buClr>
                <a:schemeClr val="accent1"/>
              </a:buClr>
              <a:buFontTx/>
              <a:buBlip>
                <a:blip r:embed="rId2"/>
              </a:buBlip>
              <a:defRPr sz="2500" kern="1200">
                <a:solidFill>
                  <a:schemeClr val="tx1"/>
                </a:solidFill>
                <a:latin typeface="+mn-lt"/>
                <a:ea typeface="+mn-ea"/>
                <a:cs typeface="+mn-cs"/>
              </a:defRPr>
            </a:lvl6pPr>
            <a:lvl7pPr marL="360000" indent="-360000" algn="l" defTabSz="914400" rtl="0" eaLnBrk="1" latinLnBrk="0" hangingPunct="1">
              <a:lnSpc>
                <a:spcPct val="110000"/>
              </a:lnSpc>
              <a:spcBef>
                <a:spcPts val="600"/>
              </a:spcBef>
              <a:spcAft>
                <a:spcPts val="600"/>
              </a:spcAft>
              <a:buClr>
                <a:schemeClr val="accent1"/>
              </a:buClr>
              <a:buFont typeface="+mj-lt"/>
              <a:buAutoNum type="arabicPeriod"/>
              <a:defRPr sz="2000" kern="1200">
                <a:solidFill>
                  <a:schemeClr val="tx1"/>
                </a:solidFill>
                <a:latin typeface="+mn-lt"/>
                <a:ea typeface="+mn-ea"/>
                <a:cs typeface="+mn-cs"/>
              </a:defRPr>
            </a:lvl7pPr>
            <a:lvl8pPr marL="714375" indent="-354013" algn="l" defTabSz="914400" rtl="0" eaLnBrk="1" latinLnBrk="0" hangingPunct="1">
              <a:lnSpc>
                <a:spcPct val="110000"/>
              </a:lnSpc>
              <a:spcBef>
                <a:spcPts val="600"/>
              </a:spcBef>
              <a:spcAft>
                <a:spcPts val="600"/>
              </a:spcAft>
              <a:buClr>
                <a:schemeClr val="accent1"/>
              </a:buClr>
              <a:buFontTx/>
              <a:buBlip>
                <a:blip r:embed="rId2"/>
              </a:buBlip>
              <a:defRPr sz="2000" kern="1200">
                <a:solidFill>
                  <a:schemeClr val="tx1"/>
                </a:solidFill>
                <a:latin typeface="+mn-lt"/>
                <a:ea typeface="+mn-ea"/>
                <a:cs typeface="+mn-cs"/>
              </a:defRPr>
            </a:lvl8pPr>
            <a:lvl9pPr marL="1076325" indent="-361950" algn="l" defTabSz="914400" rtl="0" eaLnBrk="1" latinLnBrk="0" hangingPunct="1">
              <a:lnSpc>
                <a:spcPct val="110000"/>
              </a:lnSpc>
              <a:spcBef>
                <a:spcPts val="600"/>
              </a:spcBef>
              <a:spcAft>
                <a:spcPts val="600"/>
              </a:spcAft>
              <a:buClr>
                <a:schemeClr val="accent1"/>
              </a:buClr>
              <a:buFontTx/>
              <a:buBlip>
                <a:blip r:embed="rId2"/>
              </a:buBlip>
              <a:defRPr sz="2000" kern="1200">
                <a:solidFill>
                  <a:schemeClr val="tx1"/>
                </a:solidFill>
                <a:latin typeface="+mn-lt"/>
                <a:ea typeface="+mn-ea"/>
                <a:cs typeface="+mn-cs"/>
              </a:defRPr>
            </a:lvl9pPr>
          </a:lstStyle>
          <a:p>
            <a:r>
              <a:rPr lang="de-DE"/>
              <a:t> </a:t>
            </a:r>
          </a:p>
        </p:txBody>
      </p:sp>
    </p:spTree>
    <p:extLst>
      <p:ext uri="{BB962C8B-B14F-4D97-AF65-F5344CB8AC3E}">
        <p14:creationId xmlns:p14="http://schemas.microsoft.com/office/powerpoint/2010/main" val="2441119505"/>
      </p:ext>
    </p:extLst>
  </p:cSld>
  <p:clrMapOvr>
    <a:masterClrMapping/>
  </p:clrMapOvr>
  <p:extLst>
    <p:ext uri="{DCECCB84-F9BA-43D5-87BE-67443E8EF086}">
      <p15:sldGuideLst xmlns:p15="http://schemas.microsoft.com/office/powerpoint/2012/main"/>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Purpose | light">
    <p:spTree>
      <p:nvGrpSpPr>
        <p:cNvPr id="1" name=""/>
        <p:cNvGrpSpPr/>
        <p:nvPr/>
      </p:nvGrpSpPr>
      <p:grpSpPr>
        <a:xfrm>
          <a:off x="0" y="0"/>
          <a:ext cx="0" cy="0"/>
          <a:chOff x="0" y="0"/>
          <a:chExt cx="0" cy="0"/>
        </a:xfrm>
      </p:grpSpPr>
      <p:sp>
        <p:nvSpPr>
          <p:cNvPr id="4" name="Textplatzhalter 3"/>
          <p:cNvSpPr>
            <a:spLocks noGrp="1"/>
          </p:cNvSpPr>
          <p:nvPr>
            <p:ph type="body" sz="quarter" idx="12" hasCustomPrompt="1"/>
          </p:nvPr>
        </p:nvSpPr>
        <p:spPr bwMode="gray">
          <a:xfrm>
            <a:off x="1092201" y="2168860"/>
            <a:ext cx="7416800" cy="3024944"/>
          </a:xfrm>
          <a:prstGeom prst="rect">
            <a:avLst/>
          </a:prstGeom>
        </p:spPr>
        <p:txBody>
          <a:bodyPr/>
          <a:lstStyle>
            <a:lvl1pPr marL="0">
              <a:lnSpc>
                <a:spcPct val="100000"/>
              </a:lnSpc>
              <a:spcBef>
                <a:spcPts val="0"/>
              </a:spcBef>
              <a:spcAft>
                <a:spcPts val="0"/>
              </a:spcAft>
              <a:defRPr sz="3700" b="1">
                <a:solidFill>
                  <a:schemeClr val="accent1"/>
                </a:solidFill>
                <a:latin typeface="+mn-lt"/>
              </a:defRPr>
            </a:lvl1pPr>
            <a:lvl2pPr marL="0" indent="0">
              <a:lnSpc>
                <a:spcPct val="100000"/>
              </a:lnSpc>
              <a:spcBef>
                <a:spcPts val="0"/>
              </a:spcBef>
              <a:spcAft>
                <a:spcPts val="0"/>
              </a:spcAft>
              <a:buFont typeface="Arial" panose="020B0604020202020204" pitchFamily="34" charset="0"/>
              <a:buNone/>
              <a:defRPr sz="3700" b="0" cap="all" baseline="0">
                <a:solidFill>
                  <a:schemeClr val="accent1"/>
                </a:solidFill>
                <a:latin typeface="Barlow Black" panose="00000A00000000000000" pitchFamily="2" charset="0"/>
              </a:defRPr>
            </a:lvl2pPr>
            <a:lvl3pPr marL="0" indent="0">
              <a:lnSpc>
                <a:spcPct val="100000"/>
              </a:lnSpc>
              <a:spcBef>
                <a:spcPts val="0"/>
              </a:spcBef>
              <a:spcAft>
                <a:spcPts val="0"/>
              </a:spcAft>
              <a:buNone/>
              <a:defRPr sz="3700" b="1">
                <a:solidFill>
                  <a:schemeClr val="accent1"/>
                </a:solidFill>
                <a:latin typeface="+mn-lt"/>
              </a:defRPr>
            </a:lvl3pPr>
            <a:lvl4pPr marL="0" indent="0">
              <a:lnSpc>
                <a:spcPct val="100000"/>
              </a:lnSpc>
              <a:spcBef>
                <a:spcPts val="0"/>
              </a:spcBef>
              <a:spcAft>
                <a:spcPts val="0"/>
              </a:spcAft>
              <a:buNone/>
              <a:defRPr sz="3700" b="1">
                <a:solidFill>
                  <a:schemeClr val="accent1"/>
                </a:solidFill>
                <a:latin typeface="+mn-lt"/>
              </a:defRPr>
            </a:lvl4pPr>
            <a:lvl5pPr marL="0" indent="0">
              <a:lnSpc>
                <a:spcPct val="100000"/>
              </a:lnSpc>
              <a:spcBef>
                <a:spcPts val="0"/>
              </a:spcBef>
              <a:spcAft>
                <a:spcPts val="0"/>
              </a:spcAft>
              <a:buNone/>
              <a:defRPr sz="3700" b="1">
                <a:solidFill>
                  <a:schemeClr val="accent1"/>
                </a:solidFill>
                <a:latin typeface="+mn-lt"/>
              </a:defRPr>
            </a:lvl5pPr>
            <a:lvl6pPr marL="0" indent="0">
              <a:lnSpc>
                <a:spcPct val="100000"/>
              </a:lnSpc>
              <a:spcBef>
                <a:spcPts val="0"/>
              </a:spcBef>
              <a:spcAft>
                <a:spcPts val="0"/>
              </a:spcAft>
              <a:buNone/>
              <a:defRPr sz="3700" b="1">
                <a:solidFill>
                  <a:schemeClr val="bg1"/>
                </a:solidFill>
                <a:latin typeface="+mn-lt"/>
              </a:defRPr>
            </a:lvl6pPr>
            <a:lvl7pPr marL="0" indent="0">
              <a:lnSpc>
                <a:spcPct val="100000"/>
              </a:lnSpc>
              <a:spcBef>
                <a:spcPts val="0"/>
              </a:spcBef>
              <a:spcAft>
                <a:spcPts val="0"/>
              </a:spcAft>
              <a:buFont typeface="Arial" panose="020B0604020202020204" pitchFamily="34" charset="0"/>
              <a:buNone/>
              <a:defRPr sz="3700" b="1">
                <a:solidFill>
                  <a:schemeClr val="bg1"/>
                </a:solidFill>
                <a:latin typeface="+mn-lt"/>
              </a:defRPr>
            </a:lvl7pPr>
            <a:lvl8pPr marL="0" indent="0">
              <a:lnSpc>
                <a:spcPct val="100000"/>
              </a:lnSpc>
              <a:spcBef>
                <a:spcPts val="0"/>
              </a:spcBef>
              <a:spcAft>
                <a:spcPts val="0"/>
              </a:spcAft>
              <a:buNone/>
              <a:defRPr sz="3700" b="1">
                <a:solidFill>
                  <a:schemeClr val="bg1"/>
                </a:solidFill>
                <a:latin typeface="+mn-lt"/>
              </a:defRPr>
            </a:lvl8pPr>
            <a:lvl9pPr marL="0" indent="0">
              <a:lnSpc>
                <a:spcPct val="100000"/>
              </a:lnSpc>
              <a:spcBef>
                <a:spcPts val="0"/>
              </a:spcBef>
              <a:spcAft>
                <a:spcPts val="0"/>
              </a:spcAft>
              <a:buNone/>
              <a:defRPr sz="3700" b="1">
                <a:solidFill>
                  <a:schemeClr val="bg1"/>
                </a:solidFill>
                <a:latin typeface="+mn-lt"/>
              </a:defRPr>
            </a:lvl9pPr>
          </a:lstStyle>
          <a:p>
            <a:pPr lvl="0"/>
            <a:r>
              <a:rPr lang="de-DE" noProof="0"/>
              <a:t>Use this field to enter text.</a:t>
            </a:r>
          </a:p>
          <a:p>
            <a:pPr lvl="1"/>
            <a:r>
              <a:rPr lang="de-DE" noProof="0"/>
              <a:t>2. level</a:t>
            </a:r>
          </a:p>
          <a:p>
            <a:pPr lvl="2"/>
            <a:r>
              <a:rPr lang="de-DE" noProof="0"/>
              <a:t>3. level</a:t>
            </a:r>
          </a:p>
          <a:p>
            <a:pPr lvl="3"/>
            <a:r>
              <a:rPr lang="de-DE" noProof="0"/>
              <a:t>4. level</a:t>
            </a:r>
          </a:p>
          <a:p>
            <a:pPr lvl="4"/>
            <a:r>
              <a:rPr lang="de-DE" noProof="0"/>
              <a:t>5. level</a:t>
            </a:r>
          </a:p>
        </p:txBody>
      </p:sp>
      <p:sp>
        <p:nvSpPr>
          <p:cNvPr id="3" name="Titel 2">
            <a:extLst>
              <a:ext uri="{FF2B5EF4-FFF2-40B4-BE49-F238E27FC236}">
                <a16:creationId xmlns:a16="http://schemas.microsoft.com/office/drawing/2014/main" id="{64270121-E5D7-EFF4-9F8F-7BB7BFE33CE1}"/>
              </a:ext>
            </a:extLst>
          </p:cNvPr>
          <p:cNvSpPr>
            <a:spLocks noGrp="1"/>
          </p:cNvSpPr>
          <p:nvPr>
            <p:ph type="title" hasCustomPrompt="1"/>
          </p:nvPr>
        </p:nvSpPr>
        <p:spPr bwMode="gray">
          <a:xfrm>
            <a:off x="1092201" y="1340768"/>
            <a:ext cx="7416800" cy="604039"/>
          </a:xfrm>
        </p:spPr>
        <p:txBody>
          <a:bodyPr anchor="b"/>
          <a:lstStyle>
            <a:lvl1pPr>
              <a:defRPr>
                <a:solidFill>
                  <a:schemeClr val="accent1"/>
                </a:solidFill>
              </a:defRPr>
            </a:lvl1pPr>
          </a:lstStyle>
          <a:p>
            <a:r>
              <a:rPr lang="de-DE"/>
              <a:t>Title in </a:t>
            </a:r>
            <a:r>
              <a:rPr lang="de-DE" err="1"/>
              <a:t>one</a:t>
            </a:r>
            <a:r>
              <a:rPr lang="de-DE"/>
              <a:t> </a:t>
            </a:r>
            <a:r>
              <a:rPr lang="de-DE" err="1"/>
              <a:t>line</a:t>
            </a:r>
            <a:endParaRPr lang="de-DE"/>
          </a:p>
        </p:txBody>
      </p:sp>
      <p:sp>
        <p:nvSpPr>
          <p:cNvPr id="8" name="Fußzeilenplatzhalter 7">
            <a:extLst>
              <a:ext uri="{FF2B5EF4-FFF2-40B4-BE49-F238E27FC236}">
                <a16:creationId xmlns:a16="http://schemas.microsoft.com/office/drawing/2014/main" id="{540FBBB7-7BBE-6015-3C91-BE2D92D0B348}"/>
              </a:ext>
            </a:extLst>
          </p:cNvPr>
          <p:cNvSpPr>
            <a:spLocks noGrp="1"/>
          </p:cNvSpPr>
          <p:nvPr>
            <p:ph type="ftr" sz="quarter" idx="19"/>
          </p:nvPr>
        </p:nvSpPr>
        <p:spPr bwMode="gray"/>
        <p:txBody>
          <a:bodyPr/>
          <a:lstStyle>
            <a:lvl1pPr>
              <a:defRPr>
                <a:solidFill>
                  <a:srgbClr val="9BA4BF"/>
                </a:solidFill>
              </a:defRPr>
            </a:lvl1pPr>
          </a:lstStyle>
          <a:p>
            <a:r>
              <a:rPr lang="de-DE"/>
              <a:t>Date dd.mm.yyyy  |  Security label</a:t>
            </a:r>
          </a:p>
        </p:txBody>
      </p:sp>
      <p:sp>
        <p:nvSpPr>
          <p:cNvPr id="2" name="Slide Number Placeholder 1">
            <a:extLst>
              <a:ext uri="{FF2B5EF4-FFF2-40B4-BE49-F238E27FC236}">
                <a16:creationId xmlns:a16="http://schemas.microsoft.com/office/drawing/2014/main" id="{B8F17EC0-7F3B-D926-1103-5BC8D91BF50E}"/>
              </a:ext>
            </a:extLst>
          </p:cNvPr>
          <p:cNvSpPr>
            <a:spLocks noGrp="1"/>
          </p:cNvSpPr>
          <p:nvPr>
            <p:ph type="sldNum" sz="quarter" idx="20"/>
          </p:nvPr>
        </p:nvSpPr>
        <p:spPr/>
        <p:txBody>
          <a:bodyPr/>
          <a:lstStyle/>
          <a:p>
            <a:fld id="{44661A95-0089-4306-9485-D330C59FE3ED}" type="slidenum">
              <a:rPr lang="de-DE" smtClean="0"/>
              <a:pPr/>
              <a:t>‹#›</a:t>
            </a:fld>
            <a:endParaRPr lang="de-DE"/>
          </a:p>
        </p:txBody>
      </p:sp>
    </p:spTree>
    <p:extLst>
      <p:ext uri="{BB962C8B-B14F-4D97-AF65-F5344CB8AC3E}">
        <p14:creationId xmlns:p14="http://schemas.microsoft.com/office/powerpoint/2010/main" val="1673252233"/>
      </p:ext>
    </p:extLst>
  </p:cSld>
  <p:clrMapOvr>
    <a:masterClrMapping/>
  </p:clrMapOvr>
  <p:extLst>
    <p:ext uri="{DCECCB84-F9BA-43D5-87BE-67443E8EF086}">
      <p15:sldGuideLst xmlns:p15="http://schemas.microsoft.com/office/powerpoint/2012/main"/>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References">
    <p:bg>
      <p:bgPr>
        <a:solidFill>
          <a:schemeClr val="tx2"/>
        </a:solidFill>
        <a:effectLst/>
      </p:bgPr>
    </p:bg>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userDrawn="1">
            <p:custDataLst>
              <p:tags r:id="rId1"/>
            </p:custDataLst>
            <p:extLst>
              <p:ext uri="{D42A27DB-BD31-4B8C-83A1-F6EECF244321}">
                <p14:modId xmlns:p14="http://schemas.microsoft.com/office/powerpoint/2010/main" val="337539427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3" imgW="360" imgH="360" progId="TCLayout.ActiveDocument.1">
                  <p:embed/>
                </p:oleObj>
              </mc:Choice>
              <mc:Fallback>
                <p:oleObj name="think-cell Folie" r:id="rId3" imgW="360" imgH="360" progId="TCLayout.ActiveDocument.1">
                  <p:embed/>
                  <p:pic>
                    <p:nvPicPr>
                      <p:cNvPr id="3" name="Objekt 2"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Fußzeilenplatzhalter 3">
            <a:extLst>
              <a:ext uri="{FF2B5EF4-FFF2-40B4-BE49-F238E27FC236}">
                <a16:creationId xmlns:a16="http://schemas.microsoft.com/office/drawing/2014/main" id="{E97A0641-E514-C122-AE9B-F58B4FC6BADF}"/>
              </a:ext>
            </a:extLst>
          </p:cNvPr>
          <p:cNvSpPr>
            <a:spLocks noGrp="1"/>
          </p:cNvSpPr>
          <p:nvPr>
            <p:ph type="ftr" sz="quarter" idx="10"/>
          </p:nvPr>
        </p:nvSpPr>
        <p:spPr bwMode="gray"/>
        <p:txBody>
          <a:bodyPr/>
          <a:lstStyle/>
          <a:p>
            <a:r>
              <a:rPr lang="de-DE"/>
              <a:t>Date dd.mm.yyyy  |  Security label</a:t>
            </a:r>
          </a:p>
        </p:txBody>
      </p:sp>
      <p:sp>
        <p:nvSpPr>
          <p:cNvPr id="8" name="Titel 7">
            <a:extLst>
              <a:ext uri="{FF2B5EF4-FFF2-40B4-BE49-F238E27FC236}">
                <a16:creationId xmlns:a16="http://schemas.microsoft.com/office/drawing/2014/main" id="{94CF4134-52D6-5A53-882B-A2A4F66E9207}"/>
              </a:ext>
            </a:extLst>
          </p:cNvPr>
          <p:cNvSpPr>
            <a:spLocks noGrp="1"/>
          </p:cNvSpPr>
          <p:nvPr>
            <p:ph type="title" hasCustomPrompt="1"/>
          </p:nvPr>
        </p:nvSpPr>
        <p:spPr bwMode="gray"/>
        <p:txBody>
          <a:bodyPr/>
          <a:lstStyle/>
          <a:p>
            <a:r>
              <a:rPr lang="de-DE" noProof="0"/>
              <a:t>Headline (max. 2 lines) </a:t>
            </a:r>
            <a:endParaRPr lang="de-DE"/>
          </a:p>
        </p:txBody>
      </p:sp>
      <p:sp>
        <p:nvSpPr>
          <p:cNvPr id="2" name="Slide Number Placeholder 1">
            <a:extLst>
              <a:ext uri="{FF2B5EF4-FFF2-40B4-BE49-F238E27FC236}">
                <a16:creationId xmlns:a16="http://schemas.microsoft.com/office/drawing/2014/main" id="{680C35BA-5B71-231F-097B-D70932EE35D2}"/>
              </a:ext>
            </a:extLst>
          </p:cNvPr>
          <p:cNvSpPr>
            <a:spLocks noGrp="1"/>
          </p:cNvSpPr>
          <p:nvPr>
            <p:ph type="sldNum" sz="quarter" idx="11"/>
          </p:nvPr>
        </p:nvSpPr>
        <p:spPr/>
        <p:txBody>
          <a:bodyPr/>
          <a:lstStyle/>
          <a:p>
            <a:fld id="{44661A95-0089-4306-9485-D330C59FE3ED}" type="slidenum">
              <a:rPr lang="de-DE" smtClean="0"/>
              <a:pPr/>
              <a:t>‹#›</a:t>
            </a:fld>
            <a:endParaRPr lang="de-DE"/>
          </a:p>
        </p:txBody>
      </p:sp>
    </p:spTree>
    <p:extLst>
      <p:ext uri="{BB962C8B-B14F-4D97-AF65-F5344CB8AC3E}">
        <p14:creationId xmlns:p14="http://schemas.microsoft.com/office/powerpoint/2010/main" val="4098531006"/>
      </p:ext>
    </p:extLst>
  </p:cSld>
  <p:clrMapOvr>
    <a:masterClrMapping/>
  </p:clrMapOvr>
  <p:extLst>
    <p:ext uri="{DCECCB84-F9BA-43D5-87BE-67443E8EF086}">
      <p15:sldGuideLst xmlns:p15="http://schemas.microsoft.com/office/powerpoint/2012/main"/>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Contact">
    <p:spTree>
      <p:nvGrpSpPr>
        <p:cNvPr id="1" name=""/>
        <p:cNvGrpSpPr/>
        <p:nvPr/>
      </p:nvGrpSpPr>
      <p:grpSpPr>
        <a:xfrm>
          <a:off x="0" y="0"/>
          <a:ext cx="0" cy="0"/>
          <a:chOff x="0" y="0"/>
          <a:chExt cx="0" cy="0"/>
        </a:xfrm>
      </p:grpSpPr>
      <p:sp>
        <p:nvSpPr>
          <p:cNvPr id="3" name="Titel 2">
            <a:extLst>
              <a:ext uri="{FF2B5EF4-FFF2-40B4-BE49-F238E27FC236}">
                <a16:creationId xmlns:a16="http://schemas.microsoft.com/office/drawing/2014/main" id="{1793D331-ACA0-31E5-4452-A4AFF995CAD1}"/>
              </a:ext>
            </a:extLst>
          </p:cNvPr>
          <p:cNvSpPr>
            <a:spLocks noGrp="1"/>
          </p:cNvSpPr>
          <p:nvPr>
            <p:ph type="title" hasCustomPrompt="1"/>
          </p:nvPr>
        </p:nvSpPr>
        <p:spPr bwMode="gray">
          <a:xfrm>
            <a:off x="1092200" y="788400"/>
            <a:ext cx="4931792" cy="1224136"/>
          </a:xfrm>
        </p:spPr>
        <p:txBody>
          <a:bodyPr/>
          <a:lstStyle/>
          <a:p>
            <a:r>
              <a:rPr lang="de-DE"/>
              <a:t>Closing </a:t>
            </a:r>
            <a:br>
              <a:rPr lang="de-DE"/>
            </a:br>
            <a:r>
              <a:rPr lang="de-DE"/>
              <a:t>Words</a:t>
            </a:r>
          </a:p>
        </p:txBody>
      </p:sp>
      <p:sp>
        <p:nvSpPr>
          <p:cNvPr id="6" name="Textplatzhalter 8">
            <a:extLst>
              <a:ext uri="{FF2B5EF4-FFF2-40B4-BE49-F238E27FC236}">
                <a16:creationId xmlns:a16="http://schemas.microsoft.com/office/drawing/2014/main" id="{4B0F7301-64C3-C97D-9ABC-91CB555449C2}"/>
              </a:ext>
            </a:extLst>
          </p:cNvPr>
          <p:cNvSpPr>
            <a:spLocks noGrp="1"/>
          </p:cNvSpPr>
          <p:nvPr>
            <p:ph type="body" sz="quarter" idx="11" hasCustomPrompt="1"/>
          </p:nvPr>
        </p:nvSpPr>
        <p:spPr bwMode="gray">
          <a:xfrm>
            <a:off x="1091444" y="3933056"/>
            <a:ext cx="3060340" cy="1836204"/>
          </a:xfrm>
          <a:prstGeom prst="rect">
            <a:avLst/>
          </a:prstGeom>
        </p:spPr>
        <p:txBody>
          <a:bodyPr/>
          <a:lstStyle>
            <a:lvl1pPr>
              <a:lnSpc>
                <a:spcPct val="118000"/>
              </a:lnSpc>
              <a:spcBef>
                <a:spcPts val="0"/>
              </a:spcBef>
              <a:spcAft>
                <a:spcPts val="0"/>
              </a:spcAft>
              <a:defRPr sz="1200" b="1">
                <a:solidFill>
                  <a:schemeClr val="tx1"/>
                </a:solidFill>
                <a:latin typeface="+mn-lt"/>
              </a:defRPr>
            </a:lvl1pPr>
            <a:lvl2pPr>
              <a:lnSpc>
                <a:spcPct val="118000"/>
              </a:lnSpc>
              <a:spcBef>
                <a:spcPts val="0"/>
              </a:spcBef>
              <a:spcAft>
                <a:spcPts val="0"/>
              </a:spcAft>
              <a:defRPr sz="1200">
                <a:solidFill>
                  <a:schemeClr val="tx1"/>
                </a:solidFill>
              </a:defRPr>
            </a:lvl2pPr>
            <a:lvl3pPr marL="0" indent="0">
              <a:lnSpc>
                <a:spcPct val="118000"/>
              </a:lnSpc>
              <a:spcBef>
                <a:spcPts val="0"/>
              </a:spcBef>
              <a:spcAft>
                <a:spcPts val="0"/>
              </a:spcAft>
              <a:buNone/>
              <a:defRPr sz="1200">
                <a:solidFill>
                  <a:schemeClr val="tx1"/>
                </a:solidFill>
              </a:defRPr>
            </a:lvl3pPr>
            <a:lvl4pPr marL="0" indent="0">
              <a:lnSpc>
                <a:spcPct val="118000"/>
              </a:lnSpc>
              <a:spcBef>
                <a:spcPts val="0"/>
              </a:spcBef>
              <a:spcAft>
                <a:spcPts val="0"/>
              </a:spcAft>
              <a:buNone/>
              <a:defRPr sz="1200">
                <a:solidFill>
                  <a:schemeClr val="tx1"/>
                </a:solidFill>
              </a:defRPr>
            </a:lvl4pPr>
            <a:lvl5pPr marL="0" indent="0">
              <a:lnSpc>
                <a:spcPct val="118000"/>
              </a:lnSpc>
              <a:spcBef>
                <a:spcPts val="0"/>
              </a:spcBef>
              <a:spcAft>
                <a:spcPts val="0"/>
              </a:spcAft>
              <a:buNone/>
              <a:defRPr sz="1200">
                <a:solidFill>
                  <a:schemeClr val="accent1"/>
                </a:solidFill>
              </a:defRPr>
            </a:lvl5pPr>
            <a:lvl6pPr marL="0" indent="0">
              <a:lnSpc>
                <a:spcPct val="118000"/>
              </a:lnSpc>
              <a:spcBef>
                <a:spcPts val="0"/>
              </a:spcBef>
              <a:spcAft>
                <a:spcPts val="0"/>
              </a:spcAft>
              <a:buNone/>
              <a:defRPr sz="1200">
                <a:solidFill>
                  <a:schemeClr val="accent1"/>
                </a:solidFill>
              </a:defRPr>
            </a:lvl6pPr>
            <a:lvl7pPr marL="0" indent="0">
              <a:lnSpc>
                <a:spcPct val="118000"/>
              </a:lnSpc>
              <a:spcBef>
                <a:spcPts val="0"/>
              </a:spcBef>
              <a:spcAft>
                <a:spcPts val="0"/>
              </a:spcAft>
              <a:buFont typeface="Arial" panose="020B0604020202020204" pitchFamily="34" charset="0"/>
              <a:buNone/>
              <a:defRPr sz="1200">
                <a:solidFill>
                  <a:schemeClr val="accent1"/>
                </a:solidFill>
              </a:defRPr>
            </a:lvl7pPr>
            <a:lvl8pPr marL="0" indent="0">
              <a:lnSpc>
                <a:spcPct val="118000"/>
              </a:lnSpc>
              <a:spcBef>
                <a:spcPts val="0"/>
              </a:spcBef>
              <a:spcAft>
                <a:spcPts val="0"/>
              </a:spcAft>
              <a:buNone/>
              <a:defRPr sz="1200">
                <a:solidFill>
                  <a:schemeClr val="accent1"/>
                </a:solidFill>
              </a:defRPr>
            </a:lvl8pPr>
            <a:lvl9pPr marL="0" indent="0">
              <a:lnSpc>
                <a:spcPct val="118000"/>
              </a:lnSpc>
              <a:spcBef>
                <a:spcPts val="0"/>
              </a:spcBef>
              <a:spcAft>
                <a:spcPts val="0"/>
              </a:spcAft>
              <a:buNone/>
              <a:defRPr sz="1200">
                <a:solidFill>
                  <a:schemeClr val="accent1"/>
                </a:solidFill>
              </a:defRPr>
            </a:lvl9pPr>
          </a:lstStyle>
          <a:p>
            <a:pPr lvl="0"/>
            <a:r>
              <a:rPr lang="de-DE" noProof="0"/>
              <a:t>First name, Surname </a:t>
            </a:r>
          </a:p>
          <a:p>
            <a:pPr lvl="1"/>
            <a:r>
              <a:rPr lang="de-DE" noProof="0"/>
              <a:t>2. level</a:t>
            </a:r>
          </a:p>
          <a:p>
            <a:pPr lvl="2"/>
            <a:r>
              <a:rPr lang="de-DE" noProof="0"/>
              <a:t>3. level</a:t>
            </a:r>
          </a:p>
          <a:p>
            <a:pPr lvl="3"/>
            <a:r>
              <a:rPr lang="de-DE" noProof="0"/>
              <a:t>4. level</a:t>
            </a:r>
          </a:p>
        </p:txBody>
      </p:sp>
      <p:sp>
        <p:nvSpPr>
          <p:cNvPr id="7" name="Bildplatzhalter 5">
            <a:extLst>
              <a:ext uri="{FF2B5EF4-FFF2-40B4-BE49-F238E27FC236}">
                <a16:creationId xmlns:a16="http://schemas.microsoft.com/office/drawing/2014/main" id="{9611786E-4E97-4635-6374-F487FDE8B443}"/>
              </a:ext>
            </a:extLst>
          </p:cNvPr>
          <p:cNvSpPr>
            <a:spLocks noGrp="1"/>
          </p:cNvSpPr>
          <p:nvPr>
            <p:ph type="pic" sz="quarter" idx="13" hasCustomPrompt="1"/>
          </p:nvPr>
        </p:nvSpPr>
        <p:spPr bwMode="gray">
          <a:xfrm>
            <a:off x="1091444" y="2312876"/>
            <a:ext cx="1548172" cy="1404156"/>
          </a:xfrm>
          <a:prstGeom prst="roundRect">
            <a:avLst>
              <a:gd name="adj" fmla="val 7509"/>
            </a:avLst>
          </a:prstGeom>
          <a:solidFill>
            <a:schemeClr val="bg1">
              <a:lumMod val="95000"/>
            </a:schemeClr>
          </a:solidFill>
          <a:ln w="38100" cap="sq">
            <a:noFill/>
            <a:miter lim="800000"/>
          </a:ln>
        </p:spPr>
        <p:txBody>
          <a:bodyPr tIns="864000" anchor="ctr"/>
          <a:lstStyle>
            <a:lvl1pPr algn="ctr">
              <a:spcBef>
                <a:spcPts val="0"/>
              </a:spcBef>
              <a:spcAft>
                <a:spcPts val="0"/>
              </a:spcAft>
              <a:defRPr sz="1200"/>
            </a:lvl1pPr>
          </a:lstStyle>
          <a:p>
            <a:r>
              <a:rPr lang="de-DE" noProof="0"/>
              <a:t> </a:t>
            </a:r>
          </a:p>
        </p:txBody>
      </p:sp>
      <p:sp>
        <p:nvSpPr>
          <p:cNvPr id="14" name="Bildplatzhalter 13">
            <a:extLst>
              <a:ext uri="{FF2B5EF4-FFF2-40B4-BE49-F238E27FC236}">
                <a16:creationId xmlns:a16="http://schemas.microsoft.com/office/drawing/2014/main" id="{FCD1CA3E-9379-0838-1C25-99BFACCAF14E}"/>
              </a:ext>
            </a:extLst>
          </p:cNvPr>
          <p:cNvSpPr>
            <a:spLocks noGrp="1"/>
          </p:cNvSpPr>
          <p:nvPr>
            <p:ph type="pic" sz="quarter" idx="14" hasCustomPrompt="1"/>
          </p:nvPr>
        </p:nvSpPr>
        <p:spPr bwMode="gray">
          <a:xfrm>
            <a:off x="-1" y="0"/>
            <a:ext cx="12192000" cy="6858000"/>
          </a:xfrm>
          <a:custGeom>
            <a:avLst/>
            <a:gdLst>
              <a:gd name="connsiteX0" fmla="*/ 0 w 12192000"/>
              <a:gd name="connsiteY0" fmla="*/ 0 h 6858000"/>
              <a:gd name="connsiteX1" fmla="*/ 1 w 12192000"/>
              <a:gd name="connsiteY1" fmla="*/ 0 h 6858000"/>
              <a:gd name="connsiteX2" fmla="*/ 1 w 12192000"/>
              <a:gd name="connsiteY2" fmla="*/ 6592951 h 6858000"/>
              <a:gd name="connsiteX3" fmla="*/ 74296 w 12192000"/>
              <a:gd name="connsiteY3" fmla="*/ 6584443 h 6858000"/>
              <a:gd name="connsiteX4" fmla="*/ 152147 w 12192000"/>
              <a:gd name="connsiteY4" fmla="*/ 6575679 h 6858000"/>
              <a:gd name="connsiteX5" fmla="*/ 152020 w 12192000"/>
              <a:gd name="connsiteY5" fmla="*/ 6575679 h 6858000"/>
              <a:gd name="connsiteX6" fmla="*/ 229744 w 12192000"/>
              <a:gd name="connsiteY6" fmla="*/ 6566916 h 6858000"/>
              <a:gd name="connsiteX7" fmla="*/ 307595 w 12192000"/>
              <a:gd name="connsiteY7" fmla="*/ 6558153 h 6858000"/>
              <a:gd name="connsiteX8" fmla="*/ 385319 w 12192000"/>
              <a:gd name="connsiteY8" fmla="*/ 6549390 h 6858000"/>
              <a:gd name="connsiteX9" fmla="*/ 463170 w 12192000"/>
              <a:gd name="connsiteY9" fmla="*/ 6540627 h 6858000"/>
              <a:gd name="connsiteX10" fmla="*/ 541021 w 12192000"/>
              <a:gd name="connsiteY10" fmla="*/ 6531864 h 6858000"/>
              <a:gd name="connsiteX11" fmla="*/ 618745 w 12192000"/>
              <a:gd name="connsiteY11" fmla="*/ 6523101 h 6858000"/>
              <a:gd name="connsiteX12" fmla="*/ 696596 w 12192000"/>
              <a:gd name="connsiteY12" fmla="*/ 6514338 h 6858000"/>
              <a:gd name="connsiteX13" fmla="*/ 774320 w 12192000"/>
              <a:gd name="connsiteY13" fmla="*/ 6505575 h 6858000"/>
              <a:gd name="connsiteX14" fmla="*/ 852044 w 12192000"/>
              <a:gd name="connsiteY14" fmla="*/ 6496812 h 6858000"/>
              <a:gd name="connsiteX15" fmla="*/ 929895 w 12192000"/>
              <a:gd name="connsiteY15" fmla="*/ 6488049 h 6858000"/>
              <a:gd name="connsiteX16" fmla="*/ 1007619 w 12192000"/>
              <a:gd name="connsiteY16" fmla="*/ 6479286 h 6858000"/>
              <a:gd name="connsiteX17" fmla="*/ 1085470 w 12192000"/>
              <a:gd name="connsiteY17" fmla="*/ 6470523 h 6858000"/>
              <a:gd name="connsiteX18" fmla="*/ 1163194 w 12192000"/>
              <a:gd name="connsiteY18" fmla="*/ 6461760 h 6858000"/>
              <a:gd name="connsiteX19" fmla="*/ 1241045 w 12192000"/>
              <a:gd name="connsiteY19" fmla="*/ 6452997 h 6858000"/>
              <a:gd name="connsiteX20" fmla="*/ 1318769 w 12192000"/>
              <a:gd name="connsiteY20" fmla="*/ 6444234 h 6858000"/>
              <a:gd name="connsiteX21" fmla="*/ 1396620 w 12192000"/>
              <a:gd name="connsiteY21" fmla="*/ 6435471 h 6858000"/>
              <a:gd name="connsiteX22" fmla="*/ 1474471 w 12192000"/>
              <a:gd name="connsiteY22" fmla="*/ 6426708 h 6858000"/>
              <a:gd name="connsiteX23" fmla="*/ 1552195 w 12192000"/>
              <a:gd name="connsiteY23" fmla="*/ 6417945 h 6858000"/>
              <a:gd name="connsiteX24" fmla="*/ 1630046 w 12192000"/>
              <a:gd name="connsiteY24" fmla="*/ 6409182 h 6858000"/>
              <a:gd name="connsiteX25" fmla="*/ 1707770 w 12192000"/>
              <a:gd name="connsiteY25" fmla="*/ 6400419 h 6858000"/>
              <a:gd name="connsiteX26" fmla="*/ 1785494 w 12192000"/>
              <a:gd name="connsiteY26" fmla="*/ 6391656 h 6858000"/>
              <a:gd name="connsiteX27" fmla="*/ 1863345 w 12192000"/>
              <a:gd name="connsiteY27" fmla="*/ 6382893 h 6858000"/>
              <a:gd name="connsiteX28" fmla="*/ 1941069 w 12192000"/>
              <a:gd name="connsiteY28" fmla="*/ 6374130 h 6858000"/>
              <a:gd name="connsiteX29" fmla="*/ 2018920 w 12192000"/>
              <a:gd name="connsiteY29" fmla="*/ 6365367 h 6858000"/>
              <a:gd name="connsiteX30" fmla="*/ 2096644 w 12192000"/>
              <a:gd name="connsiteY30" fmla="*/ 6356604 h 6858000"/>
              <a:gd name="connsiteX31" fmla="*/ 2174495 w 12192000"/>
              <a:gd name="connsiteY31" fmla="*/ 6347841 h 6858000"/>
              <a:gd name="connsiteX32" fmla="*/ 2252219 w 12192000"/>
              <a:gd name="connsiteY32" fmla="*/ 6339078 h 6858000"/>
              <a:gd name="connsiteX33" fmla="*/ 2330070 w 12192000"/>
              <a:gd name="connsiteY33" fmla="*/ 6330315 h 6858000"/>
              <a:gd name="connsiteX34" fmla="*/ 2407794 w 12192000"/>
              <a:gd name="connsiteY34" fmla="*/ 6321552 h 6858000"/>
              <a:gd name="connsiteX35" fmla="*/ 2485645 w 12192000"/>
              <a:gd name="connsiteY35" fmla="*/ 6312789 h 6858000"/>
              <a:gd name="connsiteX36" fmla="*/ 2563496 w 12192000"/>
              <a:gd name="connsiteY36" fmla="*/ 6304026 h 6858000"/>
              <a:gd name="connsiteX37" fmla="*/ 2641220 w 12192000"/>
              <a:gd name="connsiteY37" fmla="*/ 6295263 h 6858000"/>
              <a:gd name="connsiteX38" fmla="*/ 2719071 w 12192000"/>
              <a:gd name="connsiteY38" fmla="*/ 6286500 h 6858000"/>
              <a:gd name="connsiteX39" fmla="*/ 2796922 w 12192000"/>
              <a:gd name="connsiteY39" fmla="*/ 6277737 h 6858000"/>
              <a:gd name="connsiteX40" fmla="*/ 2874646 w 12192000"/>
              <a:gd name="connsiteY40" fmla="*/ 6268974 h 6858000"/>
              <a:gd name="connsiteX41" fmla="*/ 2952370 w 12192000"/>
              <a:gd name="connsiteY41" fmla="*/ 6260211 h 6858000"/>
              <a:gd name="connsiteX42" fmla="*/ 3030221 w 12192000"/>
              <a:gd name="connsiteY42" fmla="*/ 6251448 h 6858000"/>
              <a:gd name="connsiteX43" fmla="*/ 3108072 w 12192000"/>
              <a:gd name="connsiteY43" fmla="*/ 6242685 h 6858000"/>
              <a:gd name="connsiteX44" fmla="*/ 3185796 w 12192000"/>
              <a:gd name="connsiteY44" fmla="*/ 6233922 h 6858000"/>
              <a:gd name="connsiteX45" fmla="*/ 3263647 w 12192000"/>
              <a:gd name="connsiteY45" fmla="*/ 6225159 h 6858000"/>
              <a:gd name="connsiteX46" fmla="*/ 3341371 w 12192000"/>
              <a:gd name="connsiteY46" fmla="*/ 6216396 h 6858000"/>
              <a:gd name="connsiteX47" fmla="*/ 3419095 w 12192000"/>
              <a:gd name="connsiteY47" fmla="*/ 6207633 h 6858000"/>
              <a:gd name="connsiteX48" fmla="*/ 3496946 w 12192000"/>
              <a:gd name="connsiteY48" fmla="*/ 6198870 h 6858000"/>
              <a:gd name="connsiteX49" fmla="*/ 3574670 w 12192000"/>
              <a:gd name="connsiteY49" fmla="*/ 6190107 h 6858000"/>
              <a:gd name="connsiteX50" fmla="*/ 3652394 w 12192000"/>
              <a:gd name="connsiteY50" fmla="*/ 6181344 h 6858000"/>
              <a:gd name="connsiteX51" fmla="*/ 3730245 w 12192000"/>
              <a:gd name="connsiteY51" fmla="*/ 6172581 h 6858000"/>
              <a:gd name="connsiteX52" fmla="*/ 3807969 w 12192000"/>
              <a:gd name="connsiteY52" fmla="*/ 6163818 h 6858000"/>
              <a:gd name="connsiteX53" fmla="*/ 3885693 w 12192000"/>
              <a:gd name="connsiteY53" fmla="*/ 6155055 h 6858000"/>
              <a:gd name="connsiteX54" fmla="*/ 3963417 w 12192000"/>
              <a:gd name="connsiteY54" fmla="*/ 6146292 h 6858000"/>
              <a:gd name="connsiteX55" fmla="*/ 4041268 w 12192000"/>
              <a:gd name="connsiteY55" fmla="*/ 6137529 h 6858000"/>
              <a:gd name="connsiteX56" fmla="*/ 4118992 w 12192000"/>
              <a:gd name="connsiteY56" fmla="*/ 6128766 h 6858000"/>
              <a:gd name="connsiteX57" fmla="*/ 4737228 w 12192000"/>
              <a:gd name="connsiteY57" fmla="*/ 5701919 h 6858000"/>
              <a:gd name="connsiteX58" fmla="*/ 6721476 w 12192000"/>
              <a:gd name="connsiteY58" fmla="*/ 1271397 h 6858000"/>
              <a:gd name="connsiteX59" fmla="*/ 6356478 w 12192000"/>
              <a:gd name="connsiteY59" fmla="*/ 314452 h 6858000"/>
              <a:gd name="connsiteX60" fmla="*/ 5658359 w 12192000"/>
              <a:gd name="connsiteY60" fmla="*/ 0 h 6858000"/>
              <a:gd name="connsiteX61" fmla="*/ 7896225 w 12192000"/>
              <a:gd name="connsiteY61" fmla="*/ 0 h 6858000"/>
              <a:gd name="connsiteX62" fmla="*/ 12192000 w 12192000"/>
              <a:gd name="connsiteY62" fmla="*/ 0 h 6858000"/>
              <a:gd name="connsiteX63" fmla="*/ 12188700 w 12192000"/>
              <a:gd name="connsiteY63" fmla="*/ 4237555 h 6858000"/>
              <a:gd name="connsiteX64" fmla="*/ 12187813 w 12192000"/>
              <a:gd name="connsiteY64" fmla="*/ 4237555 h 6858000"/>
              <a:gd name="connsiteX65" fmla="*/ 12009417 w 12192000"/>
              <a:gd name="connsiteY65" fmla="*/ 4126731 h 6858000"/>
              <a:gd name="connsiteX66" fmla="*/ 10041611 w 12192000"/>
              <a:gd name="connsiteY66" fmla="*/ 3471334 h 6858000"/>
              <a:gd name="connsiteX67" fmla="*/ 9468360 w 12192000"/>
              <a:gd name="connsiteY67" fmla="*/ 3759525 h 6858000"/>
              <a:gd name="connsiteX68" fmla="*/ 8814794 w 12192000"/>
              <a:gd name="connsiteY68" fmla="*/ 5732716 h 6858000"/>
              <a:gd name="connsiteX69" fmla="*/ 8807815 w 12192000"/>
              <a:gd name="connsiteY69" fmla="*/ 5996224 h 6858000"/>
              <a:gd name="connsiteX70" fmla="*/ 8818219 w 12192000"/>
              <a:gd name="connsiteY70" fmla="*/ 6044192 h 6858000"/>
              <a:gd name="connsiteX71" fmla="*/ 8828624 w 12192000"/>
              <a:gd name="connsiteY71" fmla="*/ 6092288 h 6858000"/>
              <a:gd name="connsiteX72" fmla="*/ 8839028 w 12192000"/>
              <a:gd name="connsiteY72" fmla="*/ 6140256 h 6858000"/>
              <a:gd name="connsiteX73" fmla="*/ 8849432 w 12192000"/>
              <a:gd name="connsiteY73" fmla="*/ 6188351 h 6858000"/>
              <a:gd name="connsiteX74" fmla="*/ 8859837 w 12192000"/>
              <a:gd name="connsiteY74" fmla="*/ 6236320 h 6858000"/>
              <a:gd name="connsiteX75" fmla="*/ 8870241 w 12192000"/>
              <a:gd name="connsiteY75" fmla="*/ 6284415 h 6858000"/>
              <a:gd name="connsiteX76" fmla="*/ 8880645 w 12192000"/>
              <a:gd name="connsiteY76" fmla="*/ 6332511 h 6858000"/>
              <a:gd name="connsiteX77" fmla="*/ 8891049 w 12192000"/>
              <a:gd name="connsiteY77" fmla="*/ 6380479 h 6858000"/>
              <a:gd name="connsiteX78" fmla="*/ 8901454 w 12192000"/>
              <a:gd name="connsiteY78" fmla="*/ 6428575 h 6858000"/>
              <a:gd name="connsiteX79" fmla="*/ 8911858 w 12192000"/>
              <a:gd name="connsiteY79" fmla="*/ 6476543 h 6858000"/>
              <a:gd name="connsiteX80" fmla="*/ 8922262 w 12192000"/>
              <a:gd name="connsiteY80" fmla="*/ 6524639 h 6858000"/>
              <a:gd name="connsiteX81" fmla="*/ 8932667 w 12192000"/>
              <a:gd name="connsiteY81" fmla="*/ 6572607 h 6858000"/>
              <a:gd name="connsiteX82" fmla="*/ 8943071 w 12192000"/>
              <a:gd name="connsiteY82" fmla="*/ 6620703 h 6858000"/>
              <a:gd name="connsiteX83" fmla="*/ 8953475 w 12192000"/>
              <a:gd name="connsiteY83" fmla="*/ 6668798 h 6858000"/>
              <a:gd name="connsiteX84" fmla="*/ 8963879 w 12192000"/>
              <a:gd name="connsiteY84" fmla="*/ 6716766 h 6858000"/>
              <a:gd name="connsiteX85" fmla="*/ 8974284 w 12192000"/>
              <a:gd name="connsiteY85" fmla="*/ 6764862 h 6858000"/>
              <a:gd name="connsiteX86" fmla="*/ 8984688 w 12192000"/>
              <a:gd name="connsiteY86" fmla="*/ 6812830 h 6858000"/>
              <a:gd name="connsiteX87" fmla="*/ 8994459 w 12192000"/>
              <a:gd name="connsiteY87" fmla="*/ 6858000 h 6858000"/>
              <a:gd name="connsiteX88" fmla="*/ 7896225 w 12192000"/>
              <a:gd name="connsiteY88" fmla="*/ 6858000 h 6858000"/>
              <a:gd name="connsiteX89" fmla="*/ 4912427 w 12192000"/>
              <a:gd name="connsiteY89" fmla="*/ 6858000 h 6858000"/>
              <a:gd name="connsiteX90" fmla="*/ 0 w 12192000"/>
              <a:gd name="connsiteY90" fmla="*/ 6858000 h 6858000"/>
              <a:gd name="connsiteX0" fmla="*/ 0 w 12192000"/>
              <a:gd name="connsiteY0" fmla="*/ 6858000 h 6858000"/>
              <a:gd name="connsiteX1" fmla="*/ 1 w 12192000"/>
              <a:gd name="connsiteY1" fmla="*/ 0 h 6858000"/>
              <a:gd name="connsiteX2" fmla="*/ 1 w 12192000"/>
              <a:gd name="connsiteY2" fmla="*/ 6592951 h 6858000"/>
              <a:gd name="connsiteX3" fmla="*/ 74296 w 12192000"/>
              <a:gd name="connsiteY3" fmla="*/ 6584443 h 6858000"/>
              <a:gd name="connsiteX4" fmla="*/ 152147 w 12192000"/>
              <a:gd name="connsiteY4" fmla="*/ 6575679 h 6858000"/>
              <a:gd name="connsiteX5" fmla="*/ 152020 w 12192000"/>
              <a:gd name="connsiteY5" fmla="*/ 6575679 h 6858000"/>
              <a:gd name="connsiteX6" fmla="*/ 229744 w 12192000"/>
              <a:gd name="connsiteY6" fmla="*/ 6566916 h 6858000"/>
              <a:gd name="connsiteX7" fmla="*/ 307595 w 12192000"/>
              <a:gd name="connsiteY7" fmla="*/ 6558153 h 6858000"/>
              <a:gd name="connsiteX8" fmla="*/ 385319 w 12192000"/>
              <a:gd name="connsiteY8" fmla="*/ 6549390 h 6858000"/>
              <a:gd name="connsiteX9" fmla="*/ 463170 w 12192000"/>
              <a:gd name="connsiteY9" fmla="*/ 6540627 h 6858000"/>
              <a:gd name="connsiteX10" fmla="*/ 541021 w 12192000"/>
              <a:gd name="connsiteY10" fmla="*/ 6531864 h 6858000"/>
              <a:gd name="connsiteX11" fmla="*/ 618745 w 12192000"/>
              <a:gd name="connsiteY11" fmla="*/ 6523101 h 6858000"/>
              <a:gd name="connsiteX12" fmla="*/ 696596 w 12192000"/>
              <a:gd name="connsiteY12" fmla="*/ 6514338 h 6858000"/>
              <a:gd name="connsiteX13" fmla="*/ 774320 w 12192000"/>
              <a:gd name="connsiteY13" fmla="*/ 6505575 h 6858000"/>
              <a:gd name="connsiteX14" fmla="*/ 852044 w 12192000"/>
              <a:gd name="connsiteY14" fmla="*/ 6496812 h 6858000"/>
              <a:gd name="connsiteX15" fmla="*/ 929895 w 12192000"/>
              <a:gd name="connsiteY15" fmla="*/ 6488049 h 6858000"/>
              <a:gd name="connsiteX16" fmla="*/ 1007619 w 12192000"/>
              <a:gd name="connsiteY16" fmla="*/ 6479286 h 6858000"/>
              <a:gd name="connsiteX17" fmla="*/ 1085470 w 12192000"/>
              <a:gd name="connsiteY17" fmla="*/ 6470523 h 6858000"/>
              <a:gd name="connsiteX18" fmla="*/ 1163194 w 12192000"/>
              <a:gd name="connsiteY18" fmla="*/ 6461760 h 6858000"/>
              <a:gd name="connsiteX19" fmla="*/ 1241045 w 12192000"/>
              <a:gd name="connsiteY19" fmla="*/ 6452997 h 6858000"/>
              <a:gd name="connsiteX20" fmla="*/ 1318769 w 12192000"/>
              <a:gd name="connsiteY20" fmla="*/ 6444234 h 6858000"/>
              <a:gd name="connsiteX21" fmla="*/ 1396620 w 12192000"/>
              <a:gd name="connsiteY21" fmla="*/ 6435471 h 6858000"/>
              <a:gd name="connsiteX22" fmla="*/ 1474471 w 12192000"/>
              <a:gd name="connsiteY22" fmla="*/ 6426708 h 6858000"/>
              <a:gd name="connsiteX23" fmla="*/ 1552195 w 12192000"/>
              <a:gd name="connsiteY23" fmla="*/ 6417945 h 6858000"/>
              <a:gd name="connsiteX24" fmla="*/ 1630046 w 12192000"/>
              <a:gd name="connsiteY24" fmla="*/ 6409182 h 6858000"/>
              <a:gd name="connsiteX25" fmla="*/ 1707770 w 12192000"/>
              <a:gd name="connsiteY25" fmla="*/ 6400419 h 6858000"/>
              <a:gd name="connsiteX26" fmla="*/ 1785494 w 12192000"/>
              <a:gd name="connsiteY26" fmla="*/ 6391656 h 6858000"/>
              <a:gd name="connsiteX27" fmla="*/ 1863345 w 12192000"/>
              <a:gd name="connsiteY27" fmla="*/ 6382893 h 6858000"/>
              <a:gd name="connsiteX28" fmla="*/ 1941069 w 12192000"/>
              <a:gd name="connsiteY28" fmla="*/ 6374130 h 6858000"/>
              <a:gd name="connsiteX29" fmla="*/ 2018920 w 12192000"/>
              <a:gd name="connsiteY29" fmla="*/ 6365367 h 6858000"/>
              <a:gd name="connsiteX30" fmla="*/ 2096644 w 12192000"/>
              <a:gd name="connsiteY30" fmla="*/ 6356604 h 6858000"/>
              <a:gd name="connsiteX31" fmla="*/ 2174495 w 12192000"/>
              <a:gd name="connsiteY31" fmla="*/ 6347841 h 6858000"/>
              <a:gd name="connsiteX32" fmla="*/ 2252219 w 12192000"/>
              <a:gd name="connsiteY32" fmla="*/ 6339078 h 6858000"/>
              <a:gd name="connsiteX33" fmla="*/ 2330070 w 12192000"/>
              <a:gd name="connsiteY33" fmla="*/ 6330315 h 6858000"/>
              <a:gd name="connsiteX34" fmla="*/ 2407794 w 12192000"/>
              <a:gd name="connsiteY34" fmla="*/ 6321552 h 6858000"/>
              <a:gd name="connsiteX35" fmla="*/ 2485645 w 12192000"/>
              <a:gd name="connsiteY35" fmla="*/ 6312789 h 6858000"/>
              <a:gd name="connsiteX36" fmla="*/ 2563496 w 12192000"/>
              <a:gd name="connsiteY36" fmla="*/ 6304026 h 6858000"/>
              <a:gd name="connsiteX37" fmla="*/ 2641220 w 12192000"/>
              <a:gd name="connsiteY37" fmla="*/ 6295263 h 6858000"/>
              <a:gd name="connsiteX38" fmla="*/ 2719071 w 12192000"/>
              <a:gd name="connsiteY38" fmla="*/ 6286500 h 6858000"/>
              <a:gd name="connsiteX39" fmla="*/ 2796922 w 12192000"/>
              <a:gd name="connsiteY39" fmla="*/ 6277737 h 6858000"/>
              <a:gd name="connsiteX40" fmla="*/ 2874646 w 12192000"/>
              <a:gd name="connsiteY40" fmla="*/ 6268974 h 6858000"/>
              <a:gd name="connsiteX41" fmla="*/ 2952370 w 12192000"/>
              <a:gd name="connsiteY41" fmla="*/ 6260211 h 6858000"/>
              <a:gd name="connsiteX42" fmla="*/ 3030221 w 12192000"/>
              <a:gd name="connsiteY42" fmla="*/ 6251448 h 6858000"/>
              <a:gd name="connsiteX43" fmla="*/ 3108072 w 12192000"/>
              <a:gd name="connsiteY43" fmla="*/ 6242685 h 6858000"/>
              <a:gd name="connsiteX44" fmla="*/ 3185796 w 12192000"/>
              <a:gd name="connsiteY44" fmla="*/ 6233922 h 6858000"/>
              <a:gd name="connsiteX45" fmla="*/ 3263647 w 12192000"/>
              <a:gd name="connsiteY45" fmla="*/ 6225159 h 6858000"/>
              <a:gd name="connsiteX46" fmla="*/ 3341371 w 12192000"/>
              <a:gd name="connsiteY46" fmla="*/ 6216396 h 6858000"/>
              <a:gd name="connsiteX47" fmla="*/ 3419095 w 12192000"/>
              <a:gd name="connsiteY47" fmla="*/ 6207633 h 6858000"/>
              <a:gd name="connsiteX48" fmla="*/ 3496946 w 12192000"/>
              <a:gd name="connsiteY48" fmla="*/ 6198870 h 6858000"/>
              <a:gd name="connsiteX49" fmla="*/ 3574670 w 12192000"/>
              <a:gd name="connsiteY49" fmla="*/ 6190107 h 6858000"/>
              <a:gd name="connsiteX50" fmla="*/ 3652394 w 12192000"/>
              <a:gd name="connsiteY50" fmla="*/ 6181344 h 6858000"/>
              <a:gd name="connsiteX51" fmla="*/ 3730245 w 12192000"/>
              <a:gd name="connsiteY51" fmla="*/ 6172581 h 6858000"/>
              <a:gd name="connsiteX52" fmla="*/ 3807969 w 12192000"/>
              <a:gd name="connsiteY52" fmla="*/ 6163818 h 6858000"/>
              <a:gd name="connsiteX53" fmla="*/ 3885693 w 12192000"/>
              <a:gd name="connsiteY53" fmla="*/ 6155055 h 6858000"/>
              <a:gd name="connsiteX54" fmla="*/ 3963417 w 12192000"/>
              <a:gd name="connsiteY54" fmla="*/ 6146292 h 6858000"/>
              <a:gd name="connsiteX55" fmla="*/ 4041268 w 12192000"/>
              <a:gd name="connsiteY55" fmla="*/ 6137529 h 6858000"/>
              <a:gd name="connsiteX56" fmla="*/ 4118992 w 12192000"/>
              <a:gd name="connsiteY56" fmla="*/ 6128766 h 6858000"/>
              <a:gd name="connsiteX57" fmla="*/ 4737228 w 12192000"/>
              <a:gd name="connsiteY57" fmla="*/ 5701919 h 6858000"/>
              <a:gd name="connsiteX58" fmla="*/ 6721476 w 12192000"/>
              <a:gd name="connsiteY58" fmla="*/ 1271397 h 6858000"/>
              <a:gd name="connsiteX59" fmla="*/ 6356478 w 12192000"/>
              <a:gd name="connsiteY59" fmla="*/ 314452 h 6858000"/>
              <a:gd name="connsiteX60" fmla="*/ 5658359 w 12192000"/>
              <a:gd name="connsiteY60" fmla="*/ 0 h 6858000"/>
              <a:gd name="connsiteX61" fmla="*/ 7896225 w 12192000"/>
              <a:gd name="connsiteY61" fmla="*/ 0 h 6858000"/>
              <a:gd name="connsiteX62" fmla="*/ 12192000 w 12192000"/>
              <a:gd name="connsiteY62" fmla="*/ 0 h 6858000"/>
              <a:gd name="connsiteX63" fmla="*/ 12188700 w 12192000"/>
              <a:gd name="connsiteY63" fmla="*/ 4237555 h 6858000"/>
              <a:gd name="connsiteX64" fmla="*/ 12187813 w 12192000"/>
              <a:gd name="connsiteY64" fmla="*/ 4237555 h 6858000"/>
              <a:gd name="connsiteX65" fmla="*/ 12009417 w 12192000"/>
              <a:gd name="connsiteY65" fmla="*/ 4126731 h 6858000"/>
              <a:gd name="connsiteX66" fmla="*/ 10041611 w 12192000"/>
              <a:gd name="connsiteY66" fmla="*/ 3471334 h 6858000"/>
              <a:gd name="connsiteX67" fmla="*/ 9468360 w 12192000"/>
              <a:gd name="connsiteY67" fmla="*/ 3759525 h 6858000"/>
              <a:gd name="connsiteX68" fmla="*/ 8814794 w 12192000"/>
              <a:gd name="connsiteY68" fmla="*/ 5732716 h 6858000"/>
              <a:gd name="connsiteX69" fmla="*/ 8807815 w 12192000"/>
              <a:gd name="connsiteY69" fmla="*/ 5996224 h 6858000"/>
              <a:gd name="connsiteX70" fmla="*/ 8818219 w 12192000"/>
              <a:gd name="connsiteY70" fmla="*/ 6044192 h 6858000"/>
              <a:gd name="connsiteX71" fmla="*/ 8828624 w 12192000"/>
              <a:gd name="connsiteY71" fmla="*/ 6092288 h 6858000"/>
              <a:gd name="connsiteX72" fmla="*/ 8839028 w 12192000"/>
              <a:gd name="connsiteY72" fmla="*/ 6140256 h 6858000"/>
              <a:gd name="connsiteX73" fmla="*/ 8849432 w 12192000"/>
              <a:gd name="connsiteY73" fmla="*/ 6188351 h 6858000"/>
              <a:gd name="connsiteX74" fmla="*/ 8859837 w 12192000"/>
              <a:gd name="connsiteY74" fmla="*/ 6236320 h 6858000"/>
              <a:gd name="connsiteX75" fmla="*/ 8870241 w 12192000"/>
              <a:gd name="connsiteY75" fmla="*/ 6284415 h 6858000"/>
              <a:gd name="connsiteX76" fmla="*/ 8880645 w 12192000"/>
              <a:gd name="connsiteY76" fmla="*/ 6332511 h 6858000"/>
              <a:gd name="connsiteX77" fmla="*/ 8891049 w 12192000"/>
              <a:gd name="connsiteY77" fmla="*/ 6380479 h 6858000"/>
              <a:gd name="connsiteX78" fmla="*/ 8901454 w 12192000"/>
              <a:gd name="connsiteY78" fmla="*/ 6428575 h 6858000"/>
              <a:gd name="connsiteX79" fmla="*/ 8911858 w 12192000"/>
              <a:gd name="connsiteY79" fmla="*/ 6476543 h 6858000"/>
              <a:gd name="connsiteX80" fmla="*/ 8922262 w 12192000"/>
              <a:gd name="connsiteY80" fmla="*/ 6524639 h 6858000"/>
              <a:gd name="connsiteX81" fmla="*/ 8932667 w 12192000"/>
              <a:gd name="connsiteY81" fmla="*/ 6572607 h 6858000"/>
              <a:gd name="connsiteX82" fmla="*/ 8943071 w 12192000"/>
              <a:gd name="connsiteY82" fmla="*/ 6620703 h 6858000"/>
              <a:gd name="connsiteX83" fmla="*/ 8953475 w 12192000"/>
              <a:gd name="connsiteY83" fmla="*/ 6668798 h 6858000"/>
              <a:gd name="connsiteX84" fmla="*/ 8963879 w 12192000"/>
              <a:gd name="connsiteY84" fmla="*/ 6716766 h 6858000"/>
              <a:gd name="connsiteX85" fmla="*/ 8974284 w 12192000"/>
              <a:gd name="connsiteY85" fmla="*/ 6764862 h 6858000"/>
              <a:gd name="connsiteX86" fmla="*/ 8984688 w 12192000"/>
              <a:gd name="connsiteY86" fmla="*/ 6812830 h 6858000"/>
              <a:gd name="connsiteX87" fmla="*/ 8994459 w 12192000"/>
              <a:gd name="connsiteY87" fmla="*/ 6858000 h 6858000"/>
              <a:gd name="connsiteX88" fmla="*/ 7896225 w 12192000"/>
              <a:gd name="connsiteY88" fmla="*/ 6858000 h 6858000"/>
              <a:gd name="connsiteX89" fmla="*/ 4912427 w 12192000"/>
              <a:gd name="connsiteY89" fmla="*/ 6858000 h 6858000"/>
              <a:gd name="connsiteX90" fmla="*/ 0 w 12192000"/>
              <a:gd name="connsiteY90" fmla="*/ 6858000 h 6858000"/>
              <a:gd name="connsiteX0" fmla="*/ 366650 w 12558650"/>
              <a:gd name="connsiteY0" fmla="*/ 6858000 h 6858000"/>
              <a:gd name="connsiteX1" fmla="*/ 366651 w 12558650"/>
              <a:gd name="connsiteY1" fmla="*/ 6592951 h 6858000"/>
              <a:gd name="connsiteX2" fmla="*/ 440946 w 12558650"/>
              <a:gd name="connsiteY2" fmla="*/ 6584443 h 6858000"/>
              <a:gd name="connsiteX3" fmla="*/ 518797 w 12558650"/>
              <a:gd name="connsiteY3" fmla="*/ 6575679 h 6858000"/>
              <a:gd name="connsiteX4" fmla="*/ 518670 w 12558650"/>
              <a:gd name="connsiteY4" fmla="*/ 6575679 h 6858000"/>
              <a:gd name="connsiteX5" fmla="*/ 596394 w 12558650"/>
              <a:gd name="connsiteY5" fmla="*/ 6566916 h 6858000"/>
              <a:gd name="connsiteX6" fmla="*/ 674245 w 12558650"/>
              <a:gd name="connsiteY6" fmla="*/ 6558153 h 6858000"/>
              <a:gd name="connsiteX7" fmla="*/ 751969 w 12558650"/>
              <a:gd name="connsiteY7" fmla="*/ 6549390 h 6858000"/>
              <a:gd name="connsiteX8" fmla="*/ 829820 w 12558650"/>
              <a:gd name="connsiteY8" fmla="*/ 6540627 h 6858000"/>
              <a:gd name="connsiteX9" fmla="*/ 907671 w 12558650"/>
              <a:gd name="connsiteY9" fmla="*/ 6531864 h 6858000"/>
              <a:gd name="connsiteX10" fmla="*/ 985395 w 12558650"/>
              <a:gd name="connsiteY10" fmla="*/ 6523101 h 6858000"/>
              <a:gd name="connsiteX11" fmla="*/ 1063246 w 12558650"/>
              <a:gd name="connsiteY11" fmla="*/ 6514338 h 6858000"/>
              <a:gd name="connsiteX12" fmla="*/ 1140970 w 12558650"/>
              <a:gd name="connsiteY12" fmla="*/ 6505575 h 6858000"/>
              <a:gd name="connsiteX13" fmla="*/ 1218694 w 12558650"/>
              <a:gd name="connsiteY13" fmla="*/ 6496812 h 6858000"/>
              <a:gd name="connsiteX14" fmla="*/ 1296545 w 12558650"/>
              <a:gd name="connsiteY14" fmla="*/ 6488049 h 6858000"/>
              <a:gd name="connsiteX15" fmla="*/ 1374269 w 12558650"/>
              <a:gd name="connsiteY15" fmla="*/ 6479286 h 6858000"/>
              <a:gd name="connsiteX16" fmla="*/ 1452120 w 12558650"/>
              <a:gd name="connsiteY16" fmla="*/ 6470523 h 6858000"/>
              <a:gd name="connsiteX17" fmla="*/ 1529844 w 12558650"/>
              <a:gd name="connsiteY17" fmla="*/ 6461760 h 6858000"/>
              <a:gd name="connsiteX18" fmla="*/ 1607695 w 12558650"/>
              <a:gd name="connsiteY18" fmla="*/ 6452997 h 6858000"/>
              <a:gd name="connsiteX19" fmla="*/ 1685419 w 12558650"/>
              <a:gd name="connsiteY19" fmla="*/ 6444234 h 6858000"/>
              <a:gd name="connsiteX20" fmla="*/ 1763270 w 12558650"/>
              <a:gd name="connsiteY20" fmla="*/ 6435471 h 6858000"/>
              <a:gd name="connsiteX21" fmla="*/ 1841121 w 12558650"/>
              <a:gd name="connsiteY21" fmla="*/ 6426708 h 6858000"/>
              <a:gd name="connsiteX22" fmla="*/ 1918845 w 12558650"/>
              <a:gd name="connsiteY22" fmla="*/ 6417945 h 6858000"/>
              <a:gd name="connsiteX23" fmla="*/ 1996696 w 12558650"/>
              <a:gd name="connsiteY23" fmla="*/ 6409182 h 6858000"/>
              <a:gd name="connsiteX24" fmla="*/ 2074420 w 12558650"/>
              <a:gd name="connsiteY24" fmla="*/ 6400419 h 6858000"/>
              <a:gd name="connsiteX25" fmla="*/ 2152144 w 12558650"/>
              <a:gd name="connsiteY25" fmla="*/ 6391656 h 6858000"/>
              <a:gd name="connsiteX26" fmla="*/ 2229995 w 12558650"/>
              <a:gd name="connsiteY26" fmla="*/ 6382893 h 6858000"/>
              <a:gd name="connsiteX27" fmla="*/ 2307719 w 12558650"/>
              <a:gd name="connsiteY27" fmla="*/ 6374130 h 6858000"/>
              <a:gd name="connsiteX28" fmla="*/ 2385570 w 12558650"/>
              <a:gd name="connsiteY28" fmla="*/ 6365367 h 6858000"/>
              <a:gd name="connsiteX29" fmla="*/ 2463294 w 12558650"/>
              <a:gd name="connsiteY29" fmla="*/ 6356604 h 6858000"/>
              <a:gd name="connsiteX30" fmla="*/ 2541145 w 12558650"/>
              <a:gd name="connsiteY30" fmla="*/ 6347841 h 6858000"/>
              <a:gd name="connsiteX31" fmla="*/ 2618869 w 12558650"/>
              <a:gd name="connsiteY31" fmla="*/ 6339078 h 6858000"/>
              <a:gd name="connsiteX32" fmla="*/ 2696720 w 12558650"/>
              <a:gd name="connsiteY32" fmla="*/ 6330315 h 6858000"/>
              <a:gd name="connsiteX33" fmla="*/ 2774444 w 12558650"/>
              <a:gd name="connsiteY33" fmla="*/ 6321552 h 6858000"/>
              <a:gd name="connsiteX34" fmla="*/ 2852295 w 12558650"/>
              <a:gd name="connsiteY34" fmla="*/ 6312789 h 6858000"/>
              <a:gd name="connsiteX35" fmla="*/ 2930146 w 12558650"/>
              <a:gd name="connsiteY35" fmla="*/ 6304026 h 6858000"/>
              <a:gd name="connsiteX36" fmla="*/ 3007870 w 12558650"/>
              <a:gd name="connsiteY36" fmla="*/ 6295263 h 6858000"/>
              <a:gd name="connsiteX37" fmla="*/ 3085721 w 12558650"/>
              <a:gd name="connsiteY37" fmla="*/ 6286500 h 6858000"/>
              <a:gd name="connsiteX38" fmla="*/ 3163572 w 12558650"/>
              <a:gd name="connsiteY38" fmla="*/ 6277737 h 6858000"/>
              <a:gd name="connsiteX39" fmla="*/ 3241296 w 12558650"/>
              <a:gd name="connsiteY39" fmla="*/ 6268974 h 6858000"/>
              <a:gd name="connsiteX40" fmla="*/ 3319020 w 12558650"/>
              <a:gd name="connsiteY40" fmla="*/ 6260211 h 6858000"/>
              <a:gd name="connsiteX41" fmla="*/ 3396871 w 12558650"/>
              <a:gd name="connsiteY41" fmla="*/ 6251448 h 6858000"/>
              <a:gd name="connsiteX42" fmla="*/ 3474722 w 12558650"/>
              <a:gd name="connsiteY42" fmla="*/ 6242685 h 6858000"/>
              <a:gd name="connsiteX43" fmla="*/ 3552446 w 12558650"/>
              <a:gd name="connsiteY43" fmla="*/ 6233922 h 6858000"/>
              <a:gd name="connsiteX44" fmla="*/ 3630297 w 12558650"/>
              <a:gd name="connsiteY44" fmla="*/ 6225159 h 6858000"/>
              <a:gd name="connsiteX45" fmla="*/ 3708021 w 12558650"/>
              <a:gd name="connsiteY45" fmla="*/ 6216396 h 6858000"/>
              <a:gd name="connsiteX46" fmla="*/ 3785745 w 12558650"/>
              <a:gd name="connsiteY46" fmla="*/ 6207633 h 6858000"/>
              <a:gd name="connsiteX47" fmla="*/ 3863596 w 12558650"/>
              <a:gd name="connsiteY47" fmla="*/ 6198870 h 6858000"/>
              <a:gd name="connsiteX48" fmla="*/ 3941320 w 12558650"/>
              <a:gd name="connsiteY48" fmla="*/ 6190107 h 6858000"/>
              <a:gd name="connsiteX49" fmla="*/ 4019044 w 12558650"/>
              <a:gd name="connsiteY49" fmla="*/ 6181344 h 6858000"/>
              <a:gd name="connsiteX50" fmla="*/ 4096895 w 12558650"/>
              <a:gd name="connsiteY50" fmla="*/ 6172581 h 6858000"/>
              <a:gd name="connsiteX51" fmla="*/ 4174619 w 12558650"/>
              <a:gd name="connsiteY51" fmla="*/ 6163818 h 6858000"/>
              <a:gd name="connsiteX52" fmla="*/ 4252343 w 12558650"/>
              <a:gd name="connsiteY52" fmla="*/ 6155055 h 6858000"/>
              <a:gd name="connsiteX53" fmla="*/ 4330067 w 12558650"/>
              <a:gd name="connsiteY53" fmla="*/ 6146292 h 6858000"/>
              <a:gd name="connsiteX54" fmla="*/ 4407918 w 12558650"/>
              <a:gd name="connsiteY54" fmla="*/ 6137529 h 6858000"/>
              <a:gd name="connsiteX55" fmla="*/ 4485642 w 12558650"/>
              <a:gd name="connsiteY55" fmla="*/ 6128766 h 6858000"/>
              <a:gd name="connsiteX56" fmla="*/ 5103878 w 12558650"/>
              <a:gd name="connsiteY56" fmla="*/ 5701919 h 6858000"/>
              <a:gd name="connsiteX57" fmla="*/ 7088126 w 12558650"/>
              <a:gd name="connsiteY57" fmla="*/ 1271397 h 6858000"/>
              <a:gd name="connsiteX58" fmla="*/ 6723128 w 12558650"/>
              <a:gd name="connsiteY58" fmla="*/ 314452 h 6858000"/>
              <a:gd name="connsiteX59" fmla="*/ 6025009 w 12558650"/>
              <a:gd name="connsiteY59" fmla="*/ 0 h 6858000"/>
              <a:gd name="connsiteX60" fmla="*/ 8262875 w 12558650"/>
              <a:gd name="connsiteY60" fmla="*/ 0 h 6858000"/>
              <a:gd name="connsiteX61" fmla="*/ 12558650 w 12558650"/>
              <a:gd name="connsiteY61" fmla="*/ 0 h 6858000"/>
              <a:gd name="connsiteX62" fmla="*/ 12555350 w 12558650"/>
              <a:gd name="connsiteY62" fmla="*/ 4237555 h 6858000"/>
              <a:gd name="connsiteX63" fmla="*/ 12554463 w 12558650"/>
              <a:gd name="connsiteY63" fmla="*/ 4237555 h 6858000"/>
              <a:gd name="connsiteX64" fmla="*/ 12376067 w 12558650"/>
              <a:gd name="connsiteY64" fmla="*/ 4126731 h 6858000"/>
              <a:gd name="connsiteX65" fmla="*/ 10408261 w 12558650"/>
              <a:gd name="connsiteY65" fmla="*/ 3471334 h 6858000"/>
              <a:gd name="connsiteX66" fmla="*/ 9835010 w 12558650"/>
              <a:gd name="connsiteY66" fmla="*/ 3759525 h 6858000"/>
              <a:gd name="connsiteX67" fmla="*/ 9181444 w 12558650"/>
              <a:gd name="connsiteY67" fmla="*/ 5732716 h 6858000"/>
              <a:gd name="connsiteX68" fmla="*/ 9174465 w 12558650"/>
              <a:gd name="connsiteY68" fmla="*/ 5996224 h 6858000"/>
              <a:gd name="connsiteX69" fmla="*/ 9184869 w 12558650"/>
              <a:gd name="connsiteY69" fmla="*/ 6044192 h 6858000"/>
              <a:gd name="connsiteX70" fmla="*/ 9195274 w 12558650"/>
              <a:gd name="connsiteY70" fmla="*/ 6092288 h 6858000"/>
              <a:gd name="connsiteX71" fmla="*/ 9205678 w 12558650"/>
              <a:gd name="connsiteY71" fmla="*/ 6140256 h 6858000"/>
              <a:gd name="connsiteX72" fmla="*/ 9216082 w 12558650"/>
              <a:gd name="connsiteY72" fmla="*/ 6188351 h 6858000"/>
              <a:gd name="connsiteX73" fmla="*/ 9226487 w 12558650"/>
              <a:gd name="connsiteY73" fmla="*/ 6236320 h 6858000"/>
              <a:gd name="connsiteX74" fmla="*/ 9236891 w 12558650"/>
              <a:gd name="connsiteY74" fmla="*/ 6284415 h 6858000"/>
              <a:gd name="connsiteX75" fmla="*/ 9247295 w 12558650"/>
              <a:gd name="connsiteY75" fmla="*/ 6332511 h 6858000"/>
              <a:gd name="connsiteX76" fmla="*/ 9257699 w 12558650"/>
              <a:gd name="connsiteY76" fmla="*/ 6380479 h 6858000"/>
              <a:gd name="connsiteX77" fmla="*/ 9268104 w 12558650"/>
              <a:gd name="connsiteY77" fmla="*/ 6428575 h 6858000"/>
              <a:gd name="connsiteX78" fmla="*/ 9278508 w 12558650"/>
              <a:gd name="connsiteY78" fmla="*/ 6476543 h 6858000"/>
              <a:gd name="connsiteX79" fmla="*/ 9288912 w 12558650"/>
              <a:gd name="connsiteY79" fmla="*/ 6524639 h 6858000"/>
              <a:gd name="connsiteX80" fmla="*/ 9299317 w 12558650"/>
              <a:gd name="connsiteY80" fmla="*/ 6572607 h 6858000"/>
              <a:gd name="connsiteX81" fmla="*/ 9309721 w 12558650"/>
              <a:gd name="connsiteY81" fmla="*/ 6620703 h 6858000"/>
              <a:gd name="connsiteX82" fmla="*/ 9320125 w 12558650"/>
              <a:gd name="connsiteY82" fmla="*/ 6668798 h 6858000"/>
              <a:gd name="connsiteX83" fmla="*/ 9330529 w 12558650"/>
              <a:gd name="connsiteY83" fmla="*/ 6716766 h 6858000"/>
              <a:gd name="connsiteX84" fmla="*/ 9340934 w 12558650"/>
              <a:gd name="connsiteY84" fmla="*/ 6764862 h 6858000"/>
              <a:gd name="connsiteX85" fmla="*/ 9351338 w 12558650"/>
              <a:gd name="connsiteY85" fmla="*/ 6812830 h 6858000"/>
              <a:gd name="connsiteX86" fmla="*/ 9361109 w 12558650"/>
              <a:gd name="connsiteY86" fmla="*/ 6858000 h 6858000"/>
              <a:gd name="connsiteX87" fmla="*/ 8262875 w 12558650"/>
              <a:gd name="connsiteY87" fmla="*/ 6858000 h 6858000"/>
              <a:gd name="connsiteX88" fmla="*/ 5279077 w 12558650"/>
              <a:gd name="connsiteY88" fmla="*/ 6858000 h 6858000"/>
              <a:gd name="connsiteX89" fmla="*/ 366650 w 12558650"/>
              <a:gd name="connsiteY89" fmla="*/ 6858000 h 6858000"/>
              <a:gd name="connsiteX0" fmla="*/ 0 w 12192000"/>
              <a:gd name="connsiteY0" fmla="*/ 6858000 h 6858000"/>
              <a:gd name="connsiteX1" fmla="*/ 1 w 12192000"/>
              <a:gd name="connsiteY1" fmla="*/ 6592951 h 6858000"/>
              <a:gd name="connsiteX2" fmla="*/ 74296 w 12192000"/>
              <a:gd name="connsiteY2" fmla="*/ 6584443 h 6858000"/>
              <a:gd name="connsiteX3" fmla="*/ 152147 w 12192000"/>
              <a:gd name="connsiteY3" fmla="*/ 6575679 h 6858000"/>
              <a:gd name="connsiteX4" fmla="*/ 152020 w 12192000"/>
              <a:gd name="connsiteY4" fmla="*/ 6575679 h 6858000"/>
              <a:gd name="connsiteX5" fmla="*/ 229744 w 12192000"/>
              <a:gd name="connsiteY5" fmla="*/ 6566916 h 6858000"/>
              <a:gd name="connsiteX6" fmla="*/ 307595 w 12192000"/>
              <a:gd name="connsiteY6" fmla="*/ 6558153 h 6858000"/>
              <a:gd name="connsiteX7" fmla="*/ 385319 w 12192000"/>
              <a:gd name="connsiteY7" fmla="*/ 6549390 h 6858000"/>
              <a:gd name="connsiteX8" fmla="*/ 463170 w 12192000"/>
              <a:gd name="connsiteY8" fmla="*/ 6540627 h 6858000"/>
              <a:gd name="connsiteX9" fmla="*/ 541021 w 12192000"/>
              <a:gd name="connsiteY9" fmla="*/ 6531864 h 6858000"/>
              <a:gd name="connsiteX10" fmla="*/ 618745 w 12192000"/>
              <a:gd name="connsiteY10" fmla="*/ 6523101 h 6858000"/>
              <a:gd name="connsiteX11" fmla="*/ 696596 w 12192000"/>
              <a:gd name="connsiteY11" fmla="*/ 6514338 h 6858000"/>
              <a:gd name="connsiteX12" fmla="*/ 774320 w 12192000"/>
              <a:gd name="connsiteY12" fmla="*/ 6505575 h 6858000"/>
              <a:gd name="connsiteX13" fmla="*/ 852044 w 12192000"/>
              <a:gd name="connsiteY13" fmla="*/ 6496812 h 6858000"/>
              <a:gd name="connsiteX14" fmla="*/ 929895 w 12192000"/>
              <a:gd name="connsiteY14" fmla="*/ 6488049 h 6858000"/>
              <a:gd name="connsiteX15" fmla="*/ 1007619 w 12192000"/>
              <a:gd name="connsiteY15" fmla="*/ 6479286 h 6858000"/>
              <a:gd name="connsiteX16" fmla="*/ 1085470 w 12192000"/>
              <a:gd name="connsiteY16" fmla="*/ 6470523 h 6858000"/>
              <a:gd name="connsiteX17" fmla="*/ 1163194 w 12192000"/>
              <a:gd name="connsiteY17" fmla="*/ 6461760 h 6858000"/>
              <a:gd name="connsiteX18" fmla="*/ 1241045 w 12192000"/>
              <a:gd name="connsiteY18" fmla="*/ 6452997 h 6858000"/>
              <a:gd name="connsiteX19" fmla="*/ 1318769 w 12192000"/>
              <a:gd name="connsiteY19" fmla="*/ 6444234 h 6858000"/>
              <a:gd name="connsiteX20" fmla="*/ 1396620 w 12192000"/>
              <a:gd name="connsiteY20" fmla="*/ 6435471 h 6858000"/>
              <a:gd name="connsiteX21" fmla="*/ 1474471 w 12192000"/>
              <a:gd name="connsiteY21" fmla="*/ 6426708 h 6858000"/>
              <a:gd name="connsiteX22" fmla="*/ 1552195 w 12192000"/>
              <a:gd name="connsiteY22" fmla="*/ 6417945 h 6858000"/>
              <a:gd name="connsiteX23" fmla="*/ 1630046 w 12192000"/>
              <a:gd name="connsiteY23" fmla="*/ 6409182 h 6858000"/>
              <a:gd name="connsiteX24" fmla="*/ 1707770 w 12192000"/>
              <a:gd name="connsiteY24" fmla="*/ 6400419 h 6858000"/>
              <a:gd name="connsiteX25" fmla="*/ 1785494 w 12192000"/>
              <a:gd name="connsiteY25" fmla="*/ 6391656 h 6858000"/>
              <a:gd name="connsiteX26" fmla="*/ 1863345 w 12192000"/>
              <a:gd name="connsiteY26" fmla="*/ 6382893 h 6858000"/>
              <a:gd name="connsiteX27" fmla="*/ 1941069 w 12192000"/>
              <a:gd name="connsiteY27" fmla="*/ 6374130 h 6858000"/>
              <a:gd name="connsiteX28" fmla="*/ 2018920 w 12192000"/>
              <a:gd name="connsiteY28" fmla="*/ 6365367 h 6858000"/>
              <a:gd name="connsiteX29" fmla="*/ 2096644 w 12192000"/>
              <a:gd name="connsiteY29" fmla="*/ 6356604 h 6858000"/>
              <a:gd name="connsiteX30" fmla="*/ 2174495 w 12192000"/>
              <a:gd name="connsiteY30" fmla="*/ 6347841 h 6858000"/>
              <a:gd name="connsiteX31" fmla="*/ 2252219 w 12192000"/>
              <a:gd name="connsiteY31" fmla="*/ 6339078 h 6858000"/>
              <a:gd name="connsiteX32" fmla="*/ 2330070 w 12192000"/>
              <a:gd name="connsiteY32" fmla="*/ 6330315 h 6858000"/>
              <a:gd name="connsiteX33" fmla="*/ 2407794 w 12192000"/>
              <a:gd name="connsiteY33" fmla="*/ 6321552 h 6858000"/>
              <a:gd name="connsiteX34" fmla="*/ 2485645 w 12192000"/>
              <a:gd name="connsiteY34" fmla="*/ 6312789 h 6858000"/>
              <a:gd name="connsiteX35" fmla="*/ 2563496 w 12192000"/>
              <a:gd name="connsiteY35" fmla="*/ 6304026 h 6858000"/>
              <a:gd name="connsiteX36" fmla="*/ 2641220 w 12192000"/>
              <a:gd name="connsiteY36" fmla="*/ 6295263 h 6858000"/>
              <a:gd name="connsiteX37" fmla="*/ 2719071 w 12192000"/>
              <a:gd name="connsiteY37" fmla="*/ 6286500 h 6858000"/>
              <a:gd name="connsiteX38" fmla="*/ 2796922 w 12192000"/>
              <a:gd name="connsiteY38" fmla="*/ 6277737 h 6858000"/>
              <a:gd name="connsiteX39" fmla="*/ 2874646 w 12192000"/>
              <a:gd name="connsiteY39" fmla="*/ 6268974 h 6858000"/>
              <a:gd name="connsiteX40" fmla="*/ 2952370 w 12192000"/>
              <a:gd name="connsiteY40" fmla="*/ 6260211 h 6858000"/>
              <a:gd name="connsiteX41" fmla="*/ 3030221 w 12192000"/>
              <a:gd name="connsiteY41" fmla="*/ 6251448 h 6858000"/>
              <a:gd name="connsiteX42" fmla="*/ 3108072 w 12192000"/>
              <a:gd name="connsiteY42" fmla="*/ 6242685 h 6858000"/>
              <a:gd name="connsiteX43" fmla="*/ 3185796 w 12192000"/>
              <a:gd name="connsiteY43" fmla="*/ 6233922 h 6858000"/>
              <a:gd name="connsiteX44" fmla="*/ 3263647 w 12192000"/>
              <a:gd name="connsiteY44" fmla="*/ 6225159 h 6858000"/>
              <a:gd name="connsiteX45" fmla="*/ 3341371 w 12192000"/>
              <a:gd name="connsiteY45" fmla="*/ 6216396 h 6858000"/>
              <a:gd name="connsiteX46" fmla="*/ 3419095 w 12192000"/>
              <a:gd name="connsiteY46" fmla="*/ 6207633 h 6858000"/>
              <a:gd name="connsiteX47" fmla="*/ 3496946 w 12192000"/>
              <a:gd name="connsiteY47" fmla="*/ 6198870 h 6858000"/>
              <a:gd name="connsiteX48" fmla="*/ 3574670 w 12192000"/>
              <a:gd name="connsiteY48" fmla="*/ 6190107 h 6858000"/>
              <a:gd name="connsiteX49" fmla="*/ 3652394 w 12192000"/>
              <a:gd name="connsiteY49" fmla="*/ 6181344 h 6858000"/>
              <a:gd name="connsiteX50" fmla="*/ 3730245 w 12192000"/>
              <a:gd name="connsiteY50" fmla="*/ 6172581 h 6858000"/>
              <a:gd name="connsiteX51" fmla="*/ 3807969 w 12192000"/>
              <a:gd name="connsiteY51" fmla="*/ 6163818 h 6858000"/>
              <a:gd name="connsiteX52" fmla="*/ 3885693 w 12192000"/>
              <a:gd name="connsiteY52" fmla="*/ 6155055 h 6858000"/>
              <a:gd name="connsiteX53" fmla="*/ 3963417 w 12192000"/>
              <a:gd name="connsiteY53" fmla="*/ 6146292 h 6858000"/>
              <a:gd name="connsiteX54" fmla="*/ 4041268 w 12192000"/>
              <a:gd name="connsiteY54" fmla="*/ 6137529 h 6858000"/>
              <a:gd name="connsiteX55" fmla="*/ 4118992 w 12192000"/>
              <a:gd name="connsiteY55" fmla="*/ 6128766 h 6858000"/>
              <a:gd name="connsiteX56" fmla="*/ 4737228 w 12192000"/>
              <a:gd name="connsiteY56" fmla="*/ 5701919 h 6858000"/>
              <a:gd name="connsiteX57" fmla="*/ 6721476 w 12192000"/>
              <a:gd name="connsiteY57" fmla="*/ 1271397 h 6858000"/>
              <a:gd name="connsiteX58" fmla="*/ 6356478 w 12192000"/>
              <a:gd name="connsiteY58" fmla="*/ 314452 h 6858000"/>
              <a:gd name="connsiteX59" fmla="*/ 5658359 w 12192000"/>
              <a:gd name="connsiteY59" fmla="*/ 0 h 6858000"/>
              <a:gd name="connsiteX60" fmla="*/ 7896225 w 12192000"/>
              <a:gd name="connsiteY60" fmla="*/ 0 h 6858000"/>
              <a:gd name="connsiteX61" fmla="*/ 12192000 w 12192000"/>
              <a:gd name="connsiteY61" fmla="*/ 0 h 6858000"/>
              <a:gd name="connsiteX62" fmla="*/ 12188700 w 12192000"/>
              <a:gd name="connsiteY62" fmla="*/ 4237555 h 6858000"/>
              <a:gd name="connsiteX63" fmla="*/ 12187813 w 12192000"/>
              <a:gd name="connsiteY63" fmla="*/ 4237555 h 6858000"/>
              <a:gd name="connsiteX64" fmla="*/ 12009417 w 12192000"/>
              <a:gd name="connsiteY64" fmla="*/ 4126731 h 6858000"/>
              <a:gd name="connsiteX65" fmla="*/ 10041611 w 12192000"/>
              <a:gd name="connsiteY65" fmla="*/ 3471334 h 6858000"/>
              <a:gd name="connsiteX66" fmla="*/ 9468360 w 12192000"/>
              <a:gd name="connsiteY66" fmla="*/ 3759525 h 6858000"/>
              <a:gd name="connsiteX67" fmla="*/ 8814794 w 12192000"/>
              <a:gd name="connsiteY67" fmla="*/ 5732716 h 6858000"/>
              <a:gd name="connsiteX68" fmla="*/ 8807815 w 12192000"/>
              <a:gd name="connsiteY68" fmla="*/ 5996224 h 6858000"/>
              <a:gd name="connsiteX69" fmla="*/ 8818219 w 12192000"/>
              <a:gd name="connsiteY69" fmla="*/ 6044192 h 6858000"/>
              <a:gd name="connsiteX70" fmla="*/ 8828624 w 12192000"/>
              <a:gd name="connsiteY70" fmla="*/ 6092288 h 6858000"/>
              <a:gd name="connsiteX71" fmla="*/ 8839028 w 12192000"/>
              <a:gd name="connsiteY71" fmla="*/ 6140256 h 6858000"/>
              <a:gd name="connsiteX72" fmla="*/ 8849432 w 12192000"/>
              <a:gd name="connsiteY72" fmla="*/ 6188351 h 6858000"/>
              <a:gd name="connsiteX73" fmla="*/ 8859837 w 12192000"/>
              <a:gd name="connsiteY73" fmla="*/ 6236320 h 6858000"/>
              <a:gd name="connsiteX74" fmla="*/ 8870241 w 12192000"/>
              <a:gd name="connsiteY74" fmla="*/ 6284415 h 6858000"/>
              <a:gd name="connsiteX75" fmla="*/ 8880645 w 12192000"/>
              <a:gd name="connsiteY75" fmla="*/ 6332511 h 6858000"/>
              <a:gd name="connsiteX76" fmla="*/ 8891049 w 12192000"/>
              <a:gd name="connsiteY76" fmla="*/ 6380479 h 6858000"/>
              <a:gd name="connsiteX77" fmla="*/ 8901454 w 12192000"/>
              <a:gd name="connsiteY77" fmla="*/ 6428575 h 6858000"/>
              <a:gd name="connsiteX78" fmla="*/ 8911858 w 12192000"/>
              <a:gd name="connsiteY78" fmla="*/ 6476543 h 6858000"/>
              <a:gd name="connsiteX79" fmla="*/ 8922262 w 12192000"/>
              <a:gd name="connsiteY79" fmla="*/ 6524639 h 6858000"/>
              <a:gd name="connsiteX80" fmla="*/ 8932667 w 12192000"/>
              <a:gd name="connsiteY80" fmla="*/ 6572607 h 6858000"/>
              <a:gd name="connsiteX81" fmla="*/ 8943071 w 12192000"/>
              <a:gd name="connsiteY81" fmla="*/ 6620703 h 6858000"/>
              <a:gd name="connsiteX82" fmla="*/ 8953475 w 12192000"/>
              <a:gd name="connsiteY82" fmla="*/ 6668798 h 6858000"/>
              <a:gd name="connsiteX83" fmla="*/ 8963879 w 12192000"/>
              <a:gd name="connsiteY83" fmla="*/ 6716766 h 6858000"/>
              <a:gd name="connsiteX84" fmla="*/ 8974284 w 12192000"/>
              <a:gd name="connsiteY84" fmla="*/ 6764862 h 6858000"/>
              <a:gd name="connsiteX85" fmla="*/ 8984688 w 12192000"/>
              <a:gd name="connsiteY85" fmla="*/ 6812830 h 6858000"/>
              <a:gd name="connsiteX86" fmla="*/ 8994459 w 12192000"/>
              <a:gd name="connsiteY86" fmla="*/ 6858000 h 6858000"/>
              <a:gd name="connsiteX87" fmla="*/ 7896225 w 12192000"/>
              <a:gd name="connsiteY87" fmla="*/ 6858000 h 6858000"/>
              <a:gd name="connsiteX88" fmla="*/ 4912427 w 12192000"/>
              <a:gd name="connsiteY88" fmla="*/ 6858000 h 6858000"/>
              <a:gd name="connsiteX89" fmla="*/ 0 w 12192000"/>
              <a:gd name="connsiteY89"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12192000" h="6858000">
                <a:moveTo>
                  <a:pt x="0" y="6858000"/>
                </a:moveTo>
                <a:cubicBezTo>
                  <a:pt x="0" y="6769650"/>
                  <a:pt x="1" y="6681301"/>
                  <a:pt x="1" y="6592951"/>
                </a:cubicBezTo>
                <a:cubicBezTo>
                  <a:pt x="24893" y="6591300"/>
                  <a:pt x="49785" y="6588633"/>
                  <a:pt x="74296" y="6584443"/>
                </a:cubicBezTo>
                <a:cubicBezTo>
                  <a:pt x="100458" y="6582919"/>
                  <a:pt x="126366" y="6579997"/>
                  <a:pt x="152147" y="6575679"/>
                </a:cubicBezTo>
                <a:lnTo>
                  <a:pt x="152020" y="6575679"/>
                </a:lnTo>
                <a:cubicBezTo>
                  <a:pt x="178182" y="6574156"/>
                  <a:pt x="204090" y="6571234"/>
                  <a:pt x="229744" y="6566916"/>
                </a:cubicBezTo>
                <a:cubicBezTo>
                  <a:pt x="255906" y="6565393"/>
                  <a:pt x="281814" y="6562471"/>
                  <a:pt x="307595" y="6558153"/>
                </a:cubicBezTo>
                <a:cubicBezTo>
                  <a:pt x="333757" y="6556629"/>
                  <a:pt x="359665" y="6553708"/>
                  <a:pt x="385319" y="6549390"/>
                </a:cubicBezTo>
                <a:cubicBezTo>
                  <a:pt x="411481" y="6547866"/>
                  <a:pt x="437389" y="6544945"/>
                  <a:pt x="463170" y="6540627"/>
                </a:cubicBezTo>
                <a:cubicBezTo>
                  <a:pt x="489332" y="6539103"/>
                  <a:pt x="515240" y="6536182"/>
                  <a:pt x="541021" y="6531864"/>
                </a:cubicBezTo>
                <a:cubicBezTo>
                  <a:pt x="567183" y="6530340"/>
                  <a:pt x="593091" y="6527419"/>
                  <a:pt x="618745" y="6523101"/>
                </a:cubicBezTo>
                <a:cubicBezTo>
                  <a:pt x="644907" y="6521577"/>
                  <a:pt x="670815" y="6518657"/>
                  <a:pt x="696596" y="6514338"/>
                </a:cubicBezTo>
                <a:cubicBezTo>
                  <a:pt x="722758" y="6512814"/>
                  <a:pt x="748666" y="6509894"/>
                  <a:pt x="774320" y="6505575"/>
                </a:cubicBezTo>
                <a:cubicBezTo>
                  <a:pt x="800482" y="6504051"/>
                  <a:pt x="826390" y="6501130"/>
                  <a:pt x="852044" y="6496812"/>
                </a:cubicBezTo>
                <a:cubicBezTo>
                  <a:pt x="878206" y="6495288"/>
                  <a:pt x="904241" y="6492367"/>
                  <a:pt x="929895" y="6488049"/>
                </a:cubicBezTo>
                <a:cubicBezTo>
                  <a:pt x="956057" y="6486525"/>
                  <a:pt x="981965" y="6483604"/>
                  <a:pt x="1007619" y="6479286"/>
                </a:cubicBezTo>
                <a:cubicBezTo>
                  <a:pt x="1033781" y="6477762"/>
                  <a:pt x="1059816" y="6474841"/>
                  <a:pt x="1085470" y="6470523"/>
                </a:cubicBezTo>
                <a:cubicBezTo>
                  <a:pt x="1111632" y="6468999"/>
                  <a:pt x="1137540" y="6466078"/>
                  <a:pt x="1163194" y="6461760"/>
                </a:cubicBezTo>
                <a:cubicBezTo>
                  <a:pt x="1189356" y="6460236"/>
                  <a:pt x="1215264" y="6457315"/>
                  <a:pt x="1241045" y="6452997"/>
                </a:cubicBezTo>
                <a:cubicBezTo>
                  <a:pt x="1267207" y="6451473"/>
                  <a:pt x="1293115" y="6448552"/>
                  <a:pt x="1318769" y="6444234"/>
                </a:cubicBezTo>
                <a:cubicBezTo>
                  <a:pt x="1344931" y="6442710"/>
                  <a:pt x="1370839" y="6439789"/>
                  <a:pt x="1396620" y="6435471"/>
                </a:cubicBezTo>
                <a:cubicBezTo>
                  <a:pt x="1422782" y="6433947"/>
                  <a:pt x="1448690" y="6431026"/>
                  <a:pt x="1474471" y="6426708"/>
                </a:cubicBezTo>
                <a:cubicBezTo>
                  <a:pt x="1500633" y="6425184"/>
                  <a:pt x="1526541" y="6422263"/>
                  <a:pt x="1552195" y="6417945"/>
                </a:cubicBezTo>
                <a:cubicBezTo>
                  <a:pt x="1578357" y="6416421"/>
                  <a:pt x="1604265" y="6413500"/>
                  <a:pt x="1630046" y="6409182"/>
                </a:cubicBezTo>
                <a:cubicBezTo>
                  <a:pt x="1656208" y="6407658"/>
                  <a:pt x="1682116" y="6404737"/>
                  <a:pt x="1707770" y="6400419"/>
                </a:cubicBezTo>
                <a:cubicBezTo>
                  <a:pt x="1733932" y="6398895"/>
                  <a:pt x="1759840" y="6395974"/>
                  <a:pt x="1785494" y="6391656"/>
                </a:cubicBezTo>
                <a:cubicBezTo>
                  <a:pt x="1811656" y="6390132"/>
                  <a:pt x="1837691" y="6387211"/>
                  <a:pt x="1863345" y="6382893"/>
                </a:cubicBezTo>
                <a:cubicBezTo>
                  <a:pt x="1889507" y="6381369"/>
                  <a:pt x="1915415" y="6378448"/>
                  <a:pt x="1941069" y="6374130"/>
                </a:cubicBezTo>
                <a:cubicBezTo>
                  <a:pt x="1967231" y="6372606"/>
                  <a:pt x="1993266" y="6369685"/>
                  <a:pt x="2018920" y="6365367"/>
                </a:cubicBezTo>
                <a:cubicBezTo>
                  <a:pt x="2045082" y="6363843"/>
                  <a:pt x="2070990" y="6360922"/>
                  <a:pt x="2096644" y="6356604"/>
                </a:cubicBezTo>
                <a:cubicBezTo>
                  <a:pt x="2122806" y="6355080"/>
                  <a:pt x="2148714" y="6352159"/>
                  <a:pt x="2174495" y="6347841"/>
                </a:cubicBezTo>
                <a:cubicBezTo>
                  <a:pt x="2200657" y="6346317"/>
                  <a:pt x="2226565" y="6343396"/>
                  <a:pt x="2252219" y="6339078"/>
                </a:cubicBezTo>
                <a:cubicBezTo>
                  <a:pt x="2278381" y="6337554"/>
                  <a:pt x="2304416" y="6334633"/>
                  <a:pt x="2330070" y="6330315"/>
                </a:cubicBezTo>
                <a:cubicBezTo>
                  <a:pt x="2356232" y="6328791"/>
                  <a:pt x="2382140" y="6325870"/>
                  <a:pt x="2407794" y="6321552"/>
                </a:cubicBezTo>
                <a:cubicBezTo>
                  <a:pt x="2433956" y="6320028"/>
                  <a:pt x="2459864" y="6317107"/>
                  <a:pt x="2485645" y="6312789"/>
                </a:cubicBezTo>
                <a:cubicBezTo>
                  <a:pt x="2511807" y="6311265"/>
                  <a:pt x="2537715" y="6308344"/>
                  <a:pt x="2563496" y="6304026"/>
                </a:cubicBezTo>
                <a:cubicBezTo>
                  <a:pt x="2589658" y="6302502"/>
                  <a:pt x="2615566" y="6299581"/>
                  <a:pt x="2641220" y="6295263"/>
                </a:cubicBezTo>
                <a:cubicBezTo>
                  <a:pt x="2667382" y="6293739"/>
                  <a:pt x="2693290" y="6290818"/>
                  <a:pt x="2719071" y="6286500"/>
                </a:cubicBezTo>
                <a:cubicBezTo>
                  <a:pt x="2745233" y="6284976"/>
                  <a:pt x="2771141" y="6282055"/>
                  <a:pt x="2796922" y="6277737"/>
                </a:cubicBezTo>
                <a:cubicBezTo>
                  <a:pt x="2823084" y="6276213"/>
                  <a:pt x="2848992" y="6273292"/>
                  <a:pt x="2874646" y="6268974"/>
                </a:cubicBezTo>
                <a:cubicBezTo>
                  <a:pt x="2900808" y="6267450"/>
                  <a:pt x="2926716" y="6264529"/>
                  <a:pt x="2952370" y="6260211"/>
                </a:cubicBezTo>
                <a:cubicBezTo>
                  <a:pt x="2978532" y="6258687"/>
                  <a:pt x="3004440" y="6255766"/>
                  <a:pt x="3030221" y="6251448"/>
                </a:cubicBezTo>
                <a:cubicBezTo>
                  <a:pt x="3056383" y="6249924"/>
                  <a:pt x="3082418" y="6247003"/>
                  <a:pt x="3108072" y="6242685"/>
                </a:cubicBezTo>
                <a:cubicBezTo>
                  <a:pt x="3134234" y="6241161"/>
                  <a:pt x="3160142" y="6238240"/>
                  <a:pt x="3185796" y="6233922"/>
                </a:cubicBezTo>
                <a:cubicBezTo>
                  <a:pt x="3211958" y="6232398"/>
                  <a:pt x="3237993" y="6229477"/>
                  <a:pt x="3263647" y="6225159"/>
                </a:cubicBezTo>
                <a:cubicBezTo>
                  <a:pt x="3289809" y="6223635"/>
                  <a:pt x="3315717" y="6220714"/>
                  <a:pt x="3341371" y="6216396"/>
                </a:cubicBezTo>
                <a:cubicBezTo>
                  <a:pt x="3367533" y="6214872"/>
                  <a:pt x="3393441" y="6211951"/>
                  <a:pt x="3419095" y="6207633"/>
                </a:cubicBezTo>
                <a:cubicBezTo>
                  <a:pt x="3445257" y="6206109"/>
                  <a:pt x="3471165" y="6203188"/>
                  <a:pt x="3496946" y="6198870"/>
                </a:cubicBezTo>
                <a:cubicBezTo>
                  <a:pt x="3523108" y="6197346"/>
                  <a:pt x="3549016" y="6194425"/>
                  <a:pt x="3574670" y="6190107"/>
                </a:cubicBezTo>
                <a:cubicBezTo>
                  <a:pt x="3600832" y="6188583"/>
                  <a:pt x="3626740" y="6185662"/>
                  <a:pt x="3652394" y="6181344"/>
                </a:cubicBezTo>
                <a:cubicBezTo>
                  <a:pt x="3678556" y="6179820"/>
                  <a:pt x="3704591" y="6176899"/>
                  <a:pt x="3730245" y="6172581"/>
                </a:cubicBezTo>
                <a:cubicBezTo>
                  <a:pt x="3756407" y="6171057"/>
                  <a:pt x="3782315" y="6168136"/>
                  <a:pt x="3807969" y="6163818"/>
                </a:cubicBezTo>
                <a:cubicBezTo>
                  <a:pt x="3834131" y="6162294"/>
                  <a:pt x="3860039" y="6159373"/>
                  <a:pt x="3885693" y="6155055"/>
                </a:cubicBezTo>
                <a:cubicBezTo>
                  <a:pt x="3911855" y="6153531"/>
                  <a:pt x="3937763" y="6150610"/>
                  <a:pt x="3963417" y="6146292"/>
                </a:cubicBezTo>
                <a:cubicBezTo>
                  <a:pt x="3989579" y="6144768"/>
                  <a:pt x="4015487" y="6141847"/>
                  <a:pt x="4041268" y="6137529"/>
                </a:cubicBezTo>
                <a:cubicBezTo>
                  <a:pt x="4067430" y="6136005"/>
                  <a:pt x="4093338" y="6133084"/>
                  <a:pt x="4118992" y="6128766"/>
                </a:cubicBezTo>
                <a:cubicBezTo>
                  <a:pt x="4379723" y="6113145"/>
                  <a:pt x="4623055" y="5956808"/>
                  <a:pt x="4737228" y="5701919"/>
                </a:cubicBezTo>
                <a:lnTo>
                  <a:pt x="6721476" y="1271397"/>
                </a:lnTo>
                <a:cubicBezTo>
                  <a:pt x="6884925" y="906399"/>
                  <a:pt x="6721476" y="477901"/>
                  <a:pt x="6356478" y="314452"/>
                </a:cubicBezTo>
                <a:lnTo>
                  <a:pt x="5658359" y="0"/>
                </a:lnTo>
                <a:lnTo>
                  <a:pt x="7896225" y="0"/>
                </a:lnTo>
                <a:lnTo>
                  <a:pt x="12192000" y="0"/>
                </a:lnTo>
                <a:lnTo>
                  <a:pt x="12188700" y="4237555"/>
                </a:lnTo>
                <a:lnTo>
                  <a:pt x="12187813" y="4237555"/>
                </a:lnTo>
                <a:cubicBezTo>
                  <a:pt x="12139344" y="4188568"/>
                  <a:pt x="12079075" y="4150016"/>
                  <a:pt x="12009417" y="4126731"/>
                </a:cubicBezTo>
                <a:lnTo>
                  <a:pt x="10041611" y="3471334"/>
                </a:lnTo>
                <a:cubicBezTo>
                  <a:pt x="9803962" y="3392192"/>
                  <a:pt x="9547281" y="3521211"/>
                  <a:pt x="9468360" y="3759525"/>
                </a:cubicBezTo>
                <a:lnTo>
                  <a:pt x="8814794" y="5732716"/>
                </a:lnTo>
                <a:cubicBezTo>
                  <a:pt x="8785484" y="5821273"/>
                  <a:pt x="8784850" y="5912502"/>
                  <a:pt x="8807815" y="5996224"/>
                </a:cubicBezTo>
                <a:cubicBezTo>
                  <a:pt x="8810480" y="6012510"/>
                  <a:pt x="8813905" y="6028542"/>
                  <a:pt x="8818219" y="6044192"/>
                </a:cubicBezTo>
                <a:cubicBezTo>
                  <a:pt x="8820884" y="6060478"/>
                  <a:pt x="8824310" y="6076510"/>
                  <a:pt x="8828624" y="6092288"/>
                </a:cubicBezTo>
                <a:cubicBezTo>
                  <a:pt x="8831288" y="6108574"/>
                  <a:pt x="8834587" y="6124606"/>
                  <a:pt x="8839028" y="6140256"/>
                </a:cubicBezTo>
                <a:cubicBezTo>
                  <a:pt x="8841693" y="6156542"/>
                  <a:pt x="8845118" y="6172574"/>
                  <a:pt x="8849432" y="6188351"/>
                </a:cubicBezTo>
                <a:cubicBezTo>
                  <a:pt x="8852097" y="6204638"/>
                  <a:pt x="8855523" y="6220670"/>
                  <a:pt x="8859837" y="6236320"/>
                </a:cubicBezTo>
                <a:cubicBezTo>
                  <a:pt x="8862501" y="6252606"/>
                  <a:pt x="8865927" y="6268638"/>
                  <a:pt x="8870241" y="6284415"/>
                </a:cubicBezTo>
                <a:cubicBezTo>
                  <a:pt x="8872905" y="6300702"/>
                  <a:pt x="8876331" y="6316734"/>
                  <a:pt x="8880645" y="6332511"/>
                </a:cubicBezTo>
                <a:cubicBezTo>
                  <a:pt x="8883310" y="6348797"/>
                  <a:pt x="8886735" y="6364829"/>
                  <a:pt x="8891049" y="6380479"/>
                </a:cubicBezTo>
                <a:cubicBezTo>
                  <a:pt x="8893714" y="6396766"/>
                  <a:pt x="8897013" y="6412797"/>
                  <a:pt x="8901454" y="6428575"/>
                </a:cubicBezTo>
                <a:cubicBezTo>
                  <a:pt x="8904118" y="6444861"/>
                  <a:pt x="8907417" y="6460893"/>
                  <a:pt x="8911858" y="6476543"/>
                </a:cubicBezTo>
                <a:cubicBezTo>
                  <a:pt x="8914523" y="6492829"/>
                  <a:pt x="8917948" y="6508861"/>
                  <a:pt x="8922262" y="6524639"/>
                </a:cubicBezTo>
                <a:cubicBezTo>
                  <a:pt x="8924927" y="6540925"/>
                  <a:pt x="8928353" y="6556957"/>
                  <a:pt x="8932667" y="6572607"/>
                </a:cubicBezTo>
                <a:cubicBezTo>
                  <a:pt x="8935331" y="6588893"/>
                  <a:pt x="8938757" y="6604925"/>
                  <a:pt x="8943071" y="6620703"/>
                </a:cubicBezTo>
                <a:cubicBezTo>
                  <a:pt x="8945735" y="6636989"/>
                  <a:pt x="8949161" y="6653021"/>
                  <a:pt x="8953475" y="6668798"/>
                </a:cubicBezTo>
                <a:cubicBezTo>
                  <a:pt x="8956140" y="6685084"/>
                  <a:pt x="8959565" y="6701116"/>
                  <a:pt x="8963879" y="6716766"/>
                </a:cubicBezTo>
                <a:cubicBezTo>
                  <a:pt x="8966544" y="6733053"/>
                  <a:pt x="8969970" y="6749085"/>
                  <a:pt x="8974284" y="6764862"/>
                </a:cubicBezTo>
                <a:cubicBezTo>
                  <a:pt x="8976948" y="6781148"/>
                  <a:pt x="8980374" y="6797180"/>
                  <a:pt x="8984688" y="6812830"/>
                </a:cubicBezTo>
                <a:lnTo>
                  <a:pt x="8994459" y="6858000"/>
                </a:lnTo>
                <a:lnTo>
                  <a:pt x="7896225" y="6858000"/>
                </a:lnTo>
                <a:lnTo>
                  <a:pt x="4912427" y="6858000"/>
                </a:lnTo>
                <a:lnTo>
                  <a:pt x="0" y="6858000"/>
                </a:lnTo>
                <a:close/>
              </a:path>
            </a:pathLst>
          </a:custGeom>
          <a:solidFill>
            <a:schemeClr val="bg1">
              <a:lumMod val="95000"/>
            </a:schemeClr>
          </a:solidFill>
        </p:spPr>
        <p:txBody>
          <a:bodyPr wrap="square">
            <a:noAutofit/>
          </a:bodyPr>
          <a:lstStyle/>
          <a:p>
            <a:r>
              <a:rPr lang="de-DE"/>
              <a:t> </a:t>
            </a:r>
          </a:p>
        </p:txBody>
      </p:sp>
      <p:sp>
        <p:nvSpPr>
          <p:cNvPr id="2" name="Titel 1">
            <a:extLst>
              <a:ext uri="{FF2B5EF4-FFF2-40B4-BE49-F238E27FC236}">
                <a16:creationId xmlns:a16="http://schemas.microsoft.com/office/drawing/2014/main" id="{06656E39-C58B-4E6F-2C05-A9D8226600F6}"/>
              </a:ext>
            </a:extLst>
          </p:cNvPr>
          <p:cNvSpPr txBox="1">
            <a:spLocks/>
          </p:cNvSpPr>
          <p:nvPr userDrawn="1"/>
        </p:nvSpPr>
        <p:spPr bwMode="gray">
          <a:xfrm>
            <a:off x="9552384" y="5913276"/>
            <a:ext cx="1979464" cy="252028"/>
          </a:xfrm>
          <a:prstGeom prst="rect">
            <a:avLst/>
          </a:prstGeom>
        </p:spPr>
        <p:txBody>
          <a:bodyPr vert="horz" lIns="0" tIns="0" rIns="0" bIns="0" rtlCol="0" anchor="t">
            <a:noAutofit/>
          </a:bodyPr>
          <a:lstStyle>
            <a:lvl1pPr marL="0" indent="0" algn="l" defTabSz="914400" rtl="0" eaLnBrk="1" latinLnBrk="0" hangingPunct="1">
              <a:lnSpc>
                <a:spcPct val="100000"/>
              </a:lnSpc>
              <a:spcBef>
                <a:spcPct val="0"/>
              </a:spcBef>
              <a:buFont typeface="Yanone Kaffeesatz" panose="00000500000000000000" pitchFamily="50" charset="0"/>
              <a:buNone/>
              <a:defRPr sz="4700" kern="1200" cap="all" baseline="0">
                <a:solidFill>
                  <a:schemeClr val="bg1"/>
                </a:solidFill>
                <a:latin typeface="Barlow Black" panose="00000A00000000000000" pitchFamily="2" charset="0"/>
                <a:ea typeface="+mj-ea"/>
                <a:cs typeface="+mj-cs"/>
              </a:defRPr>
            </a:lvl1pPr>
          </a:lstStyle>
          <a:p>
            <a:r>
              <a:rPr lang="de-DE" sz="1200" cap="none" baseline="0">
                <a:solidFill>
                  <a:schemeClr val="tx1"/>
                </a:solidFill>
                <a:latin typeface="+mn-lt"/>
              </a:rPr>
              <a:t>www.eqs.com</a:t>
            </a:r>
          </a:p>
        </p:txBody>
      </p:sp>
      <p:grpSp>
        <p:nvGrpSpPr>
          <p:cNvPr id="4" name="Group 4">
            <a:extLst>
              <a:ext uri="{FF2B5EF4-FFF2-40B4-BE49-F238E27FC236}">
                <a16:creationId xmlns:a16="http://schemas.microsoft.com/office/drawing/2014/main" id="{5DE4E492-C91D-F001-B11A-8644411B5F00}"/>
              </a:ext>
            </a:extLst>
          </p:cNvPr>
          <p:cNvGrpSpPr>
            <a:grpSpLocks noChangeAspect="1"/>
          </p:cNvGrpSpPr>
          <p:nvPr userDrawn="1"/>
        </p:nvGrpSpPr>
        <p:grpSpPr bwMode="auto">
          <a:xfrm>
            <a:off x="9551988" y="5553075"/>
            <a:ext cx="1879600" cy="323850"/>
            <a:chOff x="6017" y="3498"/>
            <a:chExt cx="1184" cy="204"/>
          </a:xfrm>
        </p:grpSpPr>
        <p:sp>
          <p:nvSpPr>
            <p:cNvPr id="5" name="AutoShape 3">
              <a:extLst>
                <a:ext uri="{FF2B5EF4-FFF2-40B4-BE49-F238E27FC236}">
                  <a16:creationId xmlns:a16="http://schemas.microsoft.com/office/drawing/2014/main" id="{F9174A72-4534-A16F-7735-CC7A0ADB69BC}"/>
                </a:ext>
              </a:extLst>
            </p:cNvPr>
            <p:cNvSpPr>
              <a:spLocks noChangeAspect="1" noChangeArrowheads="1" noTextEdit="1"/>
            </p:cNvSpPr>
            <p:nvPr userDrawn="1"/>
          </p:nvSpPr>
          <p:spPr bwMode="auto">
            <a:xfrm>
              <a:off x="6017" y="3498"/>
              <a:ext cx="1184" cy="2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8" name="Freeform 5">
              <a:extLst>
                <a:ext uri="{FF2B5EF4-FFF2-40B4-BE49-F238E27FC236}">
                  <a16:creationId xmlns:a16="http://schemas.microsoft.com/office/drawing/2014/main" id="{08921AE5-CC27-DA51-0B6E-FA8B74C7F236}"/>
                </a:ext>
              </a:extLst>
            </p:cNvPr>
            <p:cNvSpPr>
              <a:spLocks/>
            </p:cNvSpPr>
            <p:nvPr userDrawn="1"/>
          </p:nvSpPr>
          <p:spPr bwMode="auto">
            <a:xfrm>
              <a:off x="6015" y="3496"/>
              <a:ext cx="205" cy="208"/>
            </a:xfrm>
            <a:custGeom>
              <a:avLst/>
              <a:gdLst>
                <a:gd name="T0" fmla="*/ 18 w 105"/>
                <a:gd name="T1" fmla="*/ 0 h 104"/>
                <a:gd name="T2" fmla="*/ 0 w 105"/>
                <a:gd name="T3" fmla="*/ 18 h 104"/>
                <a:gd name="T4" fmla="*/ 0 w 105"/>
                <a:gd name="T5" fmla="*/ 86 h 104"/>
                <a:gd name="T6" fmla="*/ 18 w 105"/>
                <a:gd name="T7" fmla="*/ 104 h 104"/>
                <a:gd name="T8" fmla="*/ 87 w 105"/>
                <a:gd name="T9" fmla="*/ 104 h 104"/>
                <a:gd name="T10" fmla="*/ 105 w 105"/>
                <a:gd name="T11" fmla="*/ 86 h 104"/>
                <a:gd name="T12" fmla="*/ 105 w 105"/>
                <a:gd name="T13" fmla="*/ 18 h 104"/>
                <a:gd name="T14" fmla="*/ 87 w 105"/>
                <a:gd name="T15" fmla="*/ 0 h 104"/>
                <a:gd name="T16" fmla="*/ 18 w 105"/>
                <a:gd name="T17" fmla="*/ 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5" h="104">
                  <a:moveTo>
                    <a:pt x="18" y="0"/>
                  </a:moveTo>
                  <a:cubicBezTo>
                    <a:pt x="8" y="0"/>
                    <a:pt x="0" y="8"/>
                    <a:pt x="0" y="18"/>
                  </a:cubicBezTo>
                  <a:cubicBezTo>
                    <a:pt x="0" y="86"/>
                    <a:pt x="0" y="86"/>
                    <a:pt x="0" y="86"/>
                  </a:cubicBezTo>
                  <a:cubicBezTo>
                    <a:pt x="0" y="96"/>
                    <a:pt x="8" y="104"/>
                    <a:pt x="18" y="104"/>
                  </a:cubicBezTo>
                  <a:cubicBezTo>
                    <a:pt x="87" y="104"/>
                    <a:pt x="87" y="104"/>
                    <a:pt x="87" y="104"/>
                  </a:cubicBezTo>
                  <a:cubicBezTo>
                    <a:pt x="97" y="104"/>
                    <a:pt x="105" y="96"/>
                    <a:pt x="105" y="86"/>
                  </a:cubicBezTo>
                  <a:cubicBezTo>
                    <a:pt x="105" y="18"/>
                    <a:pt x="105" y="18"/>
                    <a:pt x="105" y="18"/>
                  </a:cubicBezTo>
                  <a:cubicBezTo>
                    <a:pt x="105" y="8"/>
                    <a:pt x="97" y="0"/>
                    <a:pt x="87" y="0"/>
                  </a:cubicBezTo>
                  <a:lnTo>
                    <a:pt x="18" y="0"/>
                  </a:lnTo>
                  <a:close/>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9" name="Freeform 6">
              <a:extLst>
                <a:ext uri="{FF2B5EF4-FFF2-40B4-BE49-F238E27FC236}">
                  <a16:creationId xmlns:a16="http://schemas.microsoft.com/office/drawing/2014/main" id="{3CCB856B-BDCD-1139-2124-76330ADEB56B}"/>
                </a:ext>
              </a:extLst>
            </p:cNvPr>
            <p:cNvSpPr>
              <a:spLocks/>
            </p:cNvSpPr>
            <p:nvPr userDrawn="1"/>
          </p:nvSpPr>
          <p:spPr bwMode="auto">
            <a:xfrm>
              <a:off x="6046" y="3540"/>
              <a:ext cx="145" cy="120"/>
            </a:xfrm>
            <a:custGeom>
              <a:avLst/>
              <a:gdLst>
                <a:gd name="T0" fmla="*/ 0 w 74"/>
                <a:gd name="T1" fmla="*/ 53 h 60"/>
                <a:gd name="T2" fmla="*/ 23 w 74"/>
                <a:gd name="T3" fmla="*/ 60 h 60"/>
                <a:gd name="T4" fmla="*/ 66 w 74"/>
                <a:gd name="T5" fmla="*/ 17 h 60"/>
                <a:gd name="T6" fmla="*/ 66 w 74"/>
                <a:gd name="T7" fmla="*/ 15 h 60"/>
                <a:gd name="T8" fmla="*/ 74 w 74"/>
                <a:gd name="T9" fmla="*/ 7 h 60"/>
                <a:gd name="T10" fmla="*/ 65 w 74"/>
                <a:gd name="T11" fmla="*/ 10 h 60"/>
                <a:gd name="T12" fmla="*/ 71 w 74"/>
                <a:gd name="T13" fmla="*/ 1 h 60"/>
                <a:gd name="T14" fmla="*/ 62 w 74"/>
                <a:gd name="T15" fmla="*/ 5 h 60"/>
                <a:gd name="T16" fmla="*/ 51 w 74"/>
                <a:gd name="T17" fmla="*/ 0 h 60"/>
                <a:gd name="T18" fmla="*/ 36 w 74"/>
                <a:gd name="T19" fmla="*/ 15 h 60"/>
                <a:gd name="T20" fmla="*/ 36 w 74"/>
                <a:gd name="T21" fmla="*/ 19 h 60"/>
                <a:gd name="T22" fmla="*/ 5 w 74"/>
                <a:gd name="T23" fmla="*/ 3 h 60"/>
                <a:gd name="T24" fmla="*/ 3 w 74"/>
                <a:gd name="T25" fmla="*/ 10 h 60"/>
                <a:gd name="T26" fmla="*/ 10 w 74"/>
                <a:gd name="T27" fmla="*/ 23 h 60"/>
                <a:gd name="T28" fmla="*/ 3 w 74"/>
                <a:gd name="T29" fmla="*/ 21 h 60"/>
                <a:gd name="T30" fmla="*/ 3 w 74"/>
                <a:gd name="T31" fmla="*/ 21 h 60"/>
                <a:gd name="T32" fmla="*/ 15 w 74"/>
                <a:gd name="T33" fmla="*/ 36 h 60"/>
                <a:gd name="T34" fmla="*/ 11 w 74"/>
                <a:gd name="T35" fmla="*/ 37 h 60"/>
                <a:gd name="T36" fmla="*/ 8 w 74"/>
                <a:gd name="T37" fmla="*/ 36 h 60"/>
                <a:gd name="T38" fmla="*/ 22 w 74"/>
                <a:gd name="T39" fmla="*/ 47 h 60"/>
                <a:gd name="T40" fmla="*/ 4 w 74"/>
                <a:gd name="T41" fmla="*/ 53 h 60"/>
                <a:gd name="T42" fmla="*/ 0 w 74"/>
                <a:gd name="T43" fmla="*/ 53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74" h="60">
                  <a:moveTo>
                    <a:pt x="0" y="53"/>
                  </a:moveTo>
                  <a:cubicBezTo>
                    <a:pt x="7" y="57"/>
                    <a:pt x="15" y="60"/>
                    <a:pt x="23" y="60"/>
                  </a:cubicBezTo>
                  <a:cubicBezTo>
                    <a:pt x="51" y="60"/>
                    <a:pt x="66" y="37"/>
                    <a:pt x="66" y="17"/>
                  </a:cubicBezTo>
                  <a:cubicBezTo>
                    <a:pt x="66" y="16"/>
                    <a:pt x="66" y="16"/>
                    <a:pt x="66" y="15"/>
                  </a:cubicBezTo>
                  <a:cubicBezTo>
                    <a:pt x="69" y="13"/>
                    <a:pt x="71" y="10"/>
                    <a:pt x="74" y="7"/>
                  </a:cubicBezTo>
                  <a:cubicBezTo>
                    <a:pt x="71" y="8"/>
                    <a:pt x="68" y="9"/>
                    <a:pt x="65" y="10"/>
                  </a:cubicBezTo>
                  <a:cubicBezTo>
                    <a:pt x="68" y="8"/>
                    <a:pt x="70" y="5"/>
                    <a:pt x="71" y="1"/>
                  </a:cubicBezTo>
                  <a:cubicBezTo>
                    <a:pt x="69" y="3"/>
                    <a:pt x="65" y="4"/>
                    <a:pt x="62" y="5"/>
                  </a:cubicBezTo>
                  <a:cubicBezTo>
                    <a:pt x="59" y="2"/>
                    <a:pt x="55" y="0"/>
                    <a:pt x="51" y="0"/>
                  </a:cubicBezTo>
                  <a:cubicBezTo>
                    <a:pt x="43" y="0"/>
                    <a:pt x="36" y="7"/>
                    <a:pt x="36" y="15"/>
                  </a:cubicBezTo>
                  <a:cubicBezTo>
                    <a:pt x="36" y="16"/>
                    <a:pt x="36" y="17"/>
                    <a:pt x="36" y="19"/>
                  </a:cubicBezTo>
                  <a:cubicBezTo>
                    <a:pt x="24" y="18"/>
                    <a:pt x="13" y="12"/>
                    <a:pt x="5" y="3"/>
                  </a:cubicBezTo>
                  <a:cubicBezTo>
                    <a:pt x="4" y="5"/>
                    <a:pt x="3" y="8"/>
                    <a:pt x="3" y="10"/>
                  </a:cubicBezTo>
                  <a:cubicBezTo>
                    <a:pt x="3" y="16"/>
                    <a:pt x="6" y="20"/>
                    <a:pt x="10" y="23"/>
                  </a:cubicBezTo>
                  <a:cubicBezTo>
                    <a:pt x="7" y="23"/>
                    <a:pt x="5" y="22"/>
                    <a:pt x="3" y="21"/>
                  </a:cubicBezTo>
                  <a:cubicBezTo>
                    <a:pt x="3" y="21"/>
                    <a:pt x="3" y="21"/>
                    <a:pt x="3" y="21"/>
                  </a:cubicBezTo>
                  <a:cubicBezTo>
                    <a:pt x="3" y="29"/>
                    <a:pt x="8" y="35"/>
                    <a:pt x="15" y="36"/>
                  </a:cubicBezTo>
                  <a:cubicBezTo>
                    <a:pt x="14" y="36"/>
                    <a:pt x="13" y="37"/>
                    <a:pt x="11" y="37"/>
                  </a:cubicBezTo>
                  <a:cubicBezTo>
                    <a:pt x="10" y="37"/>
                    <a:pt x="9" y="36"/>
                    <a:pt x="8" y="36"/>
                  </a:cubicBezTo>
                  <a:cubicBezTo>
                    <a:pt x="10" y="42"/>
                    <a:pt x="16" y="47"/>
                    <a:pt x="22" y="47"/>
                  </a:cubicBezTo>
                  <a:cubicBezTo>
                    <a:pt x="17" y="51"/>
                    <a:pt x="11" y="53"/>
                    <a:pt x="4" y="53"/>
                  </a:cubicBezTo>
                  <a:cubicBezTo>
                    <a:pt x="2" y="53"/>
                    <a:pt x="1" y="53"/>
                    <a:pt x="0" y="53"/>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0" name="Freeform 7">
              <a:extLst>
                <a:ext uri="{FF2B5EF4-FFF2-40B4-BE49-F238E27FC236}">
                  <a16:creationId xmlns:a16="http://schemas.microsoft.com/office/drawing/2014/main" id="{E8D99CAA-D42C-AB96-ADBF-68AE71C987D3}"/>
                </a:ext>
              </a:extLst>
            </p:cNvPr>
            <p:cNvSpPr>
              <a:spLocks/>
            </p:cNvSpPr>
            <p:nvPr userDrawn="1"/>
          </p:nvSpPr>
          <p:spPr bwMode="auto">
            <a:xfrm>
              <a:off x="6261" y="3496"/>
              <a:ext cx="205" cy="208"/>
            </a:xfrm>
            <a:custGeom>
              <a:avLst/>
              <a:gdLst>
                <a:gd name="T0" fmla="*/ 18 w 105"/>
                <a:gd name="T1" fmla="*/ 0 h 104"/>
                <a:gd name="T2" fmla="*/ 0 w 105"/>
                <a:gd name="T3" fmla="*/ 18 h 104"/>
                <a:gd name="T4" fmla="*/ 0 w 105"/>
                <a:gd name="T5" fmla="*/ 86 h 104"/>
                <a:gd name="T6" fmla="*/ 18 w 105"/>
                <a:gd name="T7" fmla="*/ 104 h 104"/>
                <a:gd name="T8" fmla="*/ 87 w 105"/>
                <a:gd name="T9" fmla="*/ 104 h 104"/>
                <a:gd name="T10" fmla="*/ 105 w 105"/>
                <a:gd name="T11" fmla="*/ 86 h 104"/>
                <a:gd name="T12" fmla="*/ 105 w 105"/>
                <a:gd name="T13" fmla="*/ 18 h 104"/>
                <a:gd name="T14" fmla="*/ 87 w 105"/>
                <a:gd name="T15" fmla="*/ 0 h 104"/>
                <a:gd name="T16" fmla="*/ 18 w 105"/>
                <a:gd name="T17" fmla="*/ 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5" h="104">
                  <a:moveTo>
                    <a:pt x="18" y="0"/>
                  </a:moveTo>
                  <a:cubicBezTo>
                    <a:pt x="8" y="0"/>
                    <a:pt x="0" y="8"/>
                    <a:pt x="0" y="18"/>
                  </a:cubicBezTo>
                  <a:cubicBezTo>
                    <a:pt x="0" y="86"/>
                    <a:pt x="0" y="86"/>
                    <a:pt x="0" y="86"/>
                  </a:cubicBezTo>
                  <a:cubicBezTo>
                    <a:pt x="0" y="96"/>
                    <a:pt x="8" y="104"/>
                    <a:pt x="18" y="104"/>
                  </a:cubicBezTo>
                  <a:cubicBezTo>
                    <a:pt x="87" y="104"/>
                    <a:pt x="87" y="104"/>
                    <a:pt x="87" y="104"/>
                  </a:cubicBezTo>
                  <a:cubicBezTo>
                    <a:pt x="97" y="104"/>
                    <a:pt x="105" y="96"/>
                    <a:pt x="105" y="86"/>
                  </a:cubicBezTo>
                  <a:cubicBezTo>
                    <a:pt x="105" y="18"/>
                    <a:pt x="105" y="18"/>
                    <a:pt x="105" y="18"/>
                  </a:cubicBezTo>
                  <a:cubicBezTo>
                    <a:pt x="105" y="8"/>
                    <a:pt x="97" y="0"/>
                    <a:pt x="87" y="0"/>
                  </a:cubicBezTo>
                  <a:lnTo>
                    <a:pt x="18" y="0"/>
                  </a:lnTo>
                  <a:close/>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1" name="Freeform 8">
              <a:extLst>
                <a:ext uri="{FF2B5EF4-FFF2-40B4-BE49-F238E27FC236}">
                  <a16:creationId xmlns:a16="http://schemas.microsoft.com/office/drawing/2014/main" id="{7EEEBB10-9A6D-BE08-E54A-6E87DDD330F5}"/>
                </a:ext>
              </a:extLst>
            </p:cNvPr>
            <p:cNvSpPr>
              <a:spLocks noEditPoints="1"/>
            </p:cNvSpPr>
            <p:nvPr userDrawn="1"/>
          </p:nvSpPr>
          <p:spPr bwMode="auto">
            <a:xfrm>
              <a:off x="6292" y="3548"/>
              <a:ext cx="143" cy="104"/>
            </a:xfrm>
            <a:custGeom>
              <a:avLst/>
              <a:gdLst>
                <a:gd name="T0" fmla="*/ 29 w 73"/>
                <a:gd name="T1" fmla="*/ 37 h 52"/>
                <a:gd name="T2" fmla="*/ 29 w 73"/>
                <a:gd name="T3" fmla="*/ 15 h 52"/>
                <a:gd name="T4" fmla="*/ 48 w 73"/>
                <a:gd name="T5" fmla="*/ 26 h 52"/>
                <a:gd name="T6" fmla="*/ 29 w 73"/>
                <a:gd name="T7" fmla="*/ 37 h 52"/>
                <a:gd name="T8" fmla="*/ 65 w 73"/>
                <a:gd name="T9" fmla="*/ 2 h 52"/>
                <a:gd name="T10" fmla="*/ 36 w 73"/>
                <a:gd name="T11" fmla="*/ 0 h 52"/>
                <a:gd name="T12" fmla="*/ 8 w 73"/>
                <a:gd name="T13" fmla="*/ 2 h 52"/>
                <a:gd name="T14" fmla="*/ 1 w 73"/>
                <a:gd name="T15" fmla="*/ 8 h 52"/>
                <a:gd name="T16" fmla="*/ 0 w 73"/>
                <a:gd name="T17" fmla="*/ 26 h 52"/>
                <a:gd name="T18" fmla="*/ 1 w 73"/>
                <a:gd name="T19" fmla="*/ 44 h 52"/>
                <a:gd name="T20" fmla="*/ 8 w 73"/>
                <a:gd name="T21" fmla="*/ 50 h 52"/>
                <a:gd name="T22" fmla="*/ 36 w 73"/>
                <a:gd name="T23" fmla="*/ 52 h 52"/>
                <a:gd name="T24" fmla="*/ 65 w 73"/>
                <a:gd name="T25" fmla="*/ 50 h 52"/>
                <a:gd name="T26" fmla="*/ 72 w 73"/>
                <a:gd name="T27" fmla="*/ 44 h 52"/>
                <a:gd name="T28" fmla="*/ 73 w 73"/>
                <a:gd name="T29" fmla="*/ 26 h 52"/>
                <a:gd name="T30" fmla="*/ 72 w 73"/>
                <a:gd name="T31" fmla="*/ 8 h 52"/>
                <a:gd name="T32" fmla="*/ 65 w 73"/>
                <a:gd name="T33" fmla="*/ 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3" h="52">
                  <a:moveTo>
                    <a:pt x="29" y="37"/>
                  </a:moveTo>
                  <a:cubicBezTo>
                    <a:pt x="29" y="15"/>
                    <a:pt x="29" y="15"/>
                    <a:pt x="29" y="15"/>
                  </a:cubicBezTo>
                  <a:cubicBezTo>
                    <a:pt x="48" y="26"/>
                    <a:pt x="48" y="26"/>
                    <a:pt x="48" y="26"/>
                  </a:cubicBezTo>
                  <a:lnTo>
                    <a:pt x="29" y="37"/>
                  </a:lnTo>
                  <a:close/>
                  <a:moveTo>
                    <a:pt x="65" y="2"/>
                  </a:moveTo>
                  <a:cubicBezTo>
                    <a:pt x="59" y="0"/>
                    <a:pt x="36" y="0"/>
                    <a:pt x="36" y="0"/>
                  </a:cubicBezTo>
                  <a:cubicBezTo>
                    <a:pt x="36" y="0"/>
                    <a:pt x="13" y="0"/>
                    <a:pt x="8" y="2"/>
                  </a:cubicBezTo>
                  <a:cubicBezTo>
                    <a:pt x="5" y="3"/>
                    <a:pt x="2" y="5"/>
                    <a:pt x="1" y="8"/>
                  </a:cubicBezTo>
                  <a:cubicBezTo>
                    <a:pt x="0" y="14"/>
                    <a:pt x="0" y="26"/>
                    <a:pt x="0" y="26"/>
                  </a:cubicBezTo>
                  <a:cubicBezTo>
                    <a:pt x="0" y="26"/>
                    <a:pt x="0" y="38"/>
                    <a:pt x="1" y="44"/>
                  </a:cubicBezTo>
                  <a:cubicBezTo>
                    <a:pt x="2" y="47"/>
                    <a:pt x="5" y="49"/>
                    <a:pt x="8" y="50"/>
                  </a:cubicBezTo>
                  <a:cubicBezTo>
                    <a:pt x="13" y="52"/>
                    <a:pt x="36" y="52"/>
                    <a:pt x="36" y="52"/>
                  </a:cubicBezTo>
                  <a:cubicBezTo>
                    <a:pt x="36" y="52"/>
                    <a:pt x="59" y="52"/>
                    <a:pt x="65" y="50"/>
                  </a:cubicBezTo>
                  <a:cubicBezTo>
                    <a:pt x="68" y="49"/>
                    <a:pt x="71" y="47"/>
                    <a:pt x="72" y="44"/>
                  </a:cubicBezTo>
                  <a:cubicBezTo>
                    <a:pt x="73" y="38"/>
                    <a:pt x="73" y="26"/>
                    <a:pt x="73" y="26"/>
                  </a:cubicBezTo>
                  <a:cubicBezTo>
                    <a:pt x="73" y="26"/>
                    <a:pt x="73" y="14"/>
                    <a:pt x="72" y="8"/>
                  </a:cubicBezTo>
                  <a:cubicBezTo>
                    <a:pt x="71" y="5"/>
                    <a:pt x="68" y="3"/>
                    <a:pt x="65" y="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2" name="Freeform 9">
              <a:extLst>
                <a:ext uri="{FF2B5EF4-FFF2-40B4-BE49-F238E27FC236}">
                  <a16:creationId xmlns:a16="http://schemas.microsoft.com/office/drawing/2014/main" id="{F1E2684D-BE81-7211-6AE4-7C1E2E19D0D7}"/>
                </a:ext>
              </a:extLst>
            </p:cNvPr>
            <p:cNvSpPr>
              <a:spLocks/>
            </p:cNvSpPr>
            <p:nvPr userDrawn="1"/>
          </p:nvSpPr>
          <p:spPr bwMode="auto">
            <a:xfrm>
              <a:off x="6507" y="3496"/>
              <a:ext cx="204" cy="208"/>
            </a:xfrm>
            <a:custGeom>
              <a:avLst/>
              <a:gdLst>
                <a:gd name="T0" fmla="*/ 18 w 104"/>
                <a:gd name="T1" fmla="*/ 0 h 104"/>
                <a:gd name="T2" fmla="*/ 0 w 104"/>
                <a:gd name="T3" fmla="*/ 18 h 104"/>
                <a:gd name="T4" fmla="*/ 0 w 104"/>
                <a:gd name="T5" fmla="*/ 86 h 104"/>
                <a:gd name="T6" fmla="*/ 18 w 104"/>
                <a:gd name="T7" fmla="*/ 104 h 104"/>
                <a:gd name="T8" fmla="*/ 86 w 104"/>
                <a:gd name="T9" fmla="*/ 104 h 104"/>
                <a:gd name="T10" fmla="*/ 104 w 104"/>
                <a:gd name="T11" fmla="*/ 86 h 104"/>
                <a:gd name="T12" fmla="*/ 104 w 104"/>
                <a:gd name="T13" fmla="*/ 18 h 104"/>
                <a:gd name="T14" fmla="*/ 86 w 104"/>
                <a:gd name="T15" fmla="*/ 0 h 104"/>
                <a:gd name="T16" fmla="*/ 18 w 104"/>
                <a:gd name="T17" fmla="*/ 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4" h="104">
                  <a:moveTo>
                    <a:pt x="18" y="0"/>
                  </a:moveTo>
                  <a:cubicBezTo>
                    <a:pt x="8" y="0"/>
                    <a:pt x="0" y="8"/>
                    <a:pt x="0" y="18"/>
                  </a:cubicBezTo>
                  <a:cubicBezTo>
                    <a:pt x="0" y="86"/>
                    <a:pt x="0" y="86"/>
                    <a:pt x="0" y="86"/>
                  </a:cubicBezTo>
                  <a:cubicBezTo>
                    <a:pt x="0" y="96"/>
                    <a:pt x="8" y="104"/>
                    <a:pt x="18" y="104"/>
                  </a:cubicBezTo>
                  <a:cubicBezTo>
                    <a:pt x="86" y="104"/>
                    <a:pt x="86" y="104"/>
                    <a:pt x="86" y="104"/>
                  </a:cubicBezTo>
                  <a:cubicBezTo>
                    <a:pt x="96" y="104"/>
                    <a:pt x="104" y="96"/>
                    <a:pt x="104" y="86"/>
                  </a:cubicBezTo>
                  <a:cubicBezTo>
                    <a:pt x="104" y="18"/>
                    <a:pt x="104" y="18"/>
                    <a:pt x="104" y="18"/>
                  </a:cubicBezTo>
                  <a:cubicBezTo>
                    <a:pt x="104" y="8"/>
                    <a:pt x="96" y="0"/>
                    <a:pt x="86" y="0"/>
                  </a:cubicBezTo>
                  <a:lnTo>
                    <a:pt x="18" y="0"/>
                  </a:lnTo>
                  <a:close/>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3" name="Freeform 10">
              <a:extLst>
                <a:ext uri="{FF2B5EF4-FFF2-40B4-BE49-F238E27FC236}">
                  <a16:creationId xmlns:a16="http://schemas.microsoft.com/office/drawing/2014/main" id="{5FD69D8D-70EB-CD0D-E7BD-726D8CA23691}"/>
                </a:ext>
              </a:extLst>
            </p:cNvPr>
            <p:cNvSpPr>
              <a:spLocks/>
            </p:cNvSpPr>
            <p:nvPr userDrawn="1"/>
          </p:nvSpPr>
          <p:spPr bwMode="auto">
            <a:xfrm>
              <a:off x="6597" y="3522"/>
              <a:ext cx="96" cy="182"/>
            </a:xfrm>
            <a:custGeom>
              <a:avLst/>
              <a:gdLst>
                <a:gd name="T0" fmla="*/ 14 w 49"/>
                <a:gd name="T1" fmla="*/ 23 h 91"/>
                <a:gd name="T2" fmla="*/ 14 w 49"/>
                <a:gd name="T3" fmla="*/ 36 h 91"/>
                <a:gd name="T4" fmla="*/ 0 w 49"/>
                <a:gd name="T5" fmla="*/ 36 h 91"/>
                <a:gd name="T6" fmla="*/ 0 w 49"/>
                <a:gd name="T7" fmla="*/ 53 h 91"/>
                <a:gd name="T8" fmla="*/ 14 w 49"/>
                <a:gd name="T9" fmla="*/ 53 h 91"/>
                <a:gd name="T10" fmla="*/ 14 w 49"/>
                <a:gd name="T11" fmla="*/ 91 h 91"/>
                <a:gd name="T12" fmla="*/ 33 w 49"/>
                <a:gd name="T13" fmla="*/ 91 h 91"/>
                <a:gd name="T14" fmla="*/ 33 w 49"/>
                <a:gd name="T15" fmla="*/ 53 h 91"/>
                <a:gd name="T16" fmla="*/ 46 w 49"/>
                <a:gd name="T17" fmla="*/ 53 h 91"/>
                <a:gd name="T18" fmla="*/ 49 w 49"/>
                <a:gd name="T19" fmla="*/ 36 h 91"/>
                <a:gd name="T20" fmla="*/ 33 w 49"/>
                <a:gd name="T21" fmla="*/ 36 h 91"/>
                <a:gd name="T22" fmla="*/ 33 w 49"/>
                <a:gd name="T23" fmla="*/ 25 h 91"/>
                <a:gd name="T24" fmla="*/ 42 w 49"/>
                <a:gd name="T25" fmla="*/ 16 h 91"/>
                <a:gd name="T26" fmla="*/ 49 w 49"/>
                <a:gd name="T27" fmla="*/ 16 h 91"/>
                <a:gd name="T28" fmla="*/ 49 w 49"/>
                <a:gd name="T29" fmla="*/ 1 h 91"/>
                <a:gd name="T30" fmla="*/ 36 w 49"/>
                <a:gd name="T31" fmla="*/ 0 h 91"/>
                <a:gd name="T32" fmla="*/ 14 w 49"/>
                <a:gd name="T33" fmla="*/ 23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9" h="91">
                  <a:moveTo>
                    <a:pt x="14" y="23"/>
                  </a:moveTo>
                  <a:cubicBezTo>
                    <a:pt x="14" y="36"/>
                    <a:pt x="14" y="36"/>
                    <a:pt x="14" y="36"/>
                  </a:cubicBezTo>
                  <a:cubicBezTo>
                    <a:pt x="0" y="36"/>
                    <a:pt x="0" y="36"/>
                    <a:pt x="0" y="36"/>
                  </a:cubicBezTo>
                  <a:cubicBezTo>
                    <a:pt x="0" y="53"/>
                    <a:pt x="0" y="53"/>
                    <a:pt x="0" y="53"/>
                  </a:cubicBezTo>
                  <a:cubicBezTo>
                    <a:pt x="14" y="53"/>
                    <a:pt x="14" y="53"/>
                    <a:pt x="14" y="53"/>
                  </a:cubicBezTo>
                  <a:cubicBezTo>
                    <a:pt x="14" y="91"/>
                    <a:pt x="14" y="91"/>
                    <a:pt x="14" y="91"/>
                  </a:cubicBezTo>
                  <a:cubicBezTo>
                    <a:pt x="33" y="91"/>
                    <a:pt x="33" y="91"/>
                    <a:pt x="33" y="91"/>
                  </a:cubicBezTo>
                  <a:cubicBezTo>
                    <a:pt x="33" y="53"/>
                    <a:pt x="33" y="53"/>
                    <a:pt x="33" y="53"/>
                  </a:cubicBezTo>
                  <a:cubicBezTo>
                    <a:pt x="46" y="53"/>
                    <a:pt x="46" y="53"/>
                    <a:pt x="46" y="53"/>
                  </a:cubicBezTo>
                  <a:cubicBezTo>
                    <a:pt x="49" y="36"/>
                    <a:pt x="49" y="36"/>
                    <a:pt x="49" y="36"/>
                  </a:cubicBezTo>
                  <a:cubicBezTo>
                    <a:pt x="33" y="36"/>
                    <a:pt x="33" y="36"/>
                    <a:pt x="33" y="36"/>
                  </a:cubicBezTo>
                  <a:cubicBezTo>
                    <a:pt x="33" y="25"/>
                    <a:pt x="33" y="25"/>
                    <a:pt x="33" y="25"/>
                  </a:cubicBezTo>
                  <a:cubicBezTo>
                    <a:pt x="33" y="20"/>
                    <a:pt x="35" y="16"/>
                    <a:pt x="42" y="16"/>
                  </a:cubicBezTo>
                  <a:cubicBezTo>
                    <a:pt x="49" y="16"/>
                    <a:pt x="49" y="16"/>
                    <a:pt x="49" y="16"/>
                  </a:cubicBezTo>
                  <a:cubicBezTo>
                    <a:pt x="49" y="1"/>
                    <a:pt x="49" y="1"/>
                    <a:pt x="49" y="1"/>
                  </a:cubicBezTo>
                  <a:cubicBezTo>
                    <a:pt x="49" y="1"/>
                    <a:pt x="43" y="0"/>
                    <a:pt x="36" y="0"/>
                  </a:cubicBezTo>
                  <a:cubicBezTo>
                    <a:pt x="23" y="0"/>
                    <a:pt x="14" y="8"/>
                    <a:pt x="14" y="23"/>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5" name="Freeform 11">
              <a:extLst>
                <a:ext uri="{FF2B5EF4-FFF2-40B4-BE49-F238E27FC236}">
                  <a16:creationId xmlns:a16="http://schemas.microsoft.com/office/drawing/2014/main" id="{F9FBE631-8BF4-A887-5271-83D9B6AA4328}"/>
                </a:ext>
              </a:extLst>
            </p:cNvPr>
            <p:cNvSpPr>
              <a:spLocks/>
            </p:cNvSpPr>
            <p:nvPr userDrawn="1"/>
          </p:nvSpPr>
          <p:spPr bwMode="auto">
            <a:xfrm>
              <a:off x="6998" y="3496"/>
              <a:ext cx="205" cy="208"/>
            </a:xfrm>
            <a:custGeom>
              <a:avLst/>
              <a:gdLst>
                <a:gd name="T0" fmla="*/ 18 w 105"/>
                <a:gd name="T1" fmla="*/ 0 h 104"/>
                <a:gd name="T2" fmla="*/ 0 w 105"/>
                <a:gd name="T3" fmla="*/ 18 h 104"/>
                <a:gd name="T4" fmla="*/ 0 w 105"/>
                <a:gd name="T5" fmla="*/ 86 h 104"/>
                <a:gd name="T6" fmla="*/ 18 w 105"/>
                <a:gd name="T7" fmla="*/ 104 h 104"/>
                <a:gd name="T8" fmla="*/ 87 w 105"/>
                <a:gd name="T9" fmla="*/ 104 h 104"/>
                <a:gd name="T10" fmla="*/ 105 w 105"/>
                <a:gd name="T11" fmla="*/ 86 h 104"/>
                <a:gd name="T12" fmla="*/ 105 w 105"/>
                <a:gd name="T13" fmla="*/ 18 h 104"/>
                <a:gd name="T14" fmla="*/ 87 w 105"/>
                <a:gd name="T15" fmla="*/ 0 h 104"/>
                <a:gd name="T16" fmla="*/ 18 w 105"/>
                <a:gd name="T17" fmla="*/ 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5" h="104">
                  <a:moveTo>
                    <a:pt x="18" y="0"/>
                  </a:moveTo>
                  <a:cubicBezTo>
                    <a:pt x="8" y="0"/>
                    <a:pt x="0" y="8"/>
                    <a:pt x="0" y="18"/>
                  </a:cubicBezTo>
                  <a:cubicBezTo>
                    <a:pt x="0" y="86"/>
                    <a:pt x="0" y="86"/>
                    <a:pt x="0" y="86"/>
                  </a:cubicBezTo>
                  <a:cubicBezTo>
                    <a:pt x="0" y="96"/>
                    <a:pt x="8" y="104"/>
                    <a:pt x="18" y="104"/>
                  </a:cubicBezTo>
                  <a:cubicBezTo>
                    <a:pt x="87" y="104"/>
                    <a:pt x="87" y="104"/>
                    <a:pt x="87" y="104"/>
                  </a:cubicBezTo>
                  <a:cubicBezTo>
                    <a:pt x="97" y="104"/>
                    <a:pt x="105" y="96"/>
                    <a:pt x="105" y="86"/>
                  </a:cubicBezTo>
                  <a:cubicBezTo>
                    <a:pt x="105" y="18"/>
                    <a:pt x="105" y="18"/>
                    <a:pt x="105" y="18"/>
                  </a:cubicBezTo>
                  <a:cubicBezTo>
                    <a:pt x="105" y="8"/>
                    <a:pt x="97" y="0"/>
                    <a:pt x="87" y="0"/>
                  </a:cubicBezTo>
                  <a:lnTo>
                    <a:pt x="18" y="0"/>
                  </a:lnTo>
                  <a:close/>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6" name="Rectangle 12">
              <a:extLst>
                <a:ext uri="{FF2B5EF4-FFF2-40B4-BE49-F238E27FC236}">
                  <a16:creationId xmlns:a16="http://schemas.microsoft.com/office/drawing/2014/main" id="{7ADBF984-7B8F-E991-F6B5-E852948E6E02}"/>
                </a:ext>
              </a:extLst>
            </p:cNvPr>
            <p:cNvSpPr>
              <a:spLocks noChangeArrowheads="1"/>
            </p:cNvSpPr>
            <p:nvPr userDrawn="1"/>
          </p:nvSpPr>
          <p:spPr bwMode="auto">
            <a:xfrm>
              <a:off x="7033" y="3576"/>
              <a:ext cx="29" cy="9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8" name="Freeform 13">
              <a:extLst>
                <a:ext uri="{FF2B5EF4-FFF2-40B4-BE49-F238E27FC236}">
                  <a16:creationId xmlns:a16="http://schemas.microsoft.com/office/drawing/2014/main" id="{9785FFBF-B398-C2E4-3392-8E90EF484283}"/>
                </a:ext>
              </a:extLst>
            </p:cNvPr>
            <p:cNvSpPr>
              <a:spLocks/>
            </p:cNvSpPr>
            <p:nvPr userDrawn="1"/>
          </p:nvSpPr>
          <p:spPr bwMode="auto">
            <a:xfrm>
              <a:off x="7078" y="3574"/>
              <a:ext cx="92" cy="94"/>
            </a:xfrm>
            <a:custGeom>
              <a:avLst/>
              <a:gdLst>
                <a:gd name="T0" fmla="*/ 29 w 47"/>
                <a:gd name="T1" fmla="*/ 0 h 47"/>
                <a:gd name="T2" fmla="*/ 16 w 47"/>
                <a:gd name="T3" fmla="*/ 8 h 47"/>
                <a:gd name="T4" fmla="*/ 16 w 47"/>
                <a:gd name="T5" fmla="*/ 1 h 47"/>
                <a:gd name="T6" fmla="*/ 0 w 47"/>
                <a:gd name="T7" fmla="*/ 1 h 47"/>
                <a:gd name="T8" fmla="*/ 0 w 47"/>
                <a:gd name="T9" fmla="*/ 47 h 47"/>
                <a:gd name="T10" fmla="*/ 16 w 47"/>
                <a:gd name="T11" fmla="*/ 47 h 47"/>
                <a:gd name="T12" fmla="*/ 16 w 47"/>
                <a:gd name="T13" fmla="*/ 21 h 47"/>
                <a:gd name="T14" fmla="*/ 16 w 47"/>
                <a:gd name="T15" fmla="*/ 18 h 47"/>
                <a:gd name="T16" fmla="*/ 24 w 47"/>
                <a:gd name="T17" fmla="*/ 12 h 47"/>
                <a:gd name="T18" fmla="*/ 32 w 47"/>
                <a:gd name="T19" fmla="*/ 22 h 47"/>
                <a:gd name="T20" fmla="*/ 32 w 47"/>
                <a:gd name="T21" fmla="*/ 47 h 47"/>
                <a:gd name="T22" fmla="*/ 47 w 47"/>
                <a:gd name="T23" fmla="*/ 47 h 47"/>
                <a:gd name="T24" fmla="*/ 47 w 47"/>
                <a:gd name="T25" fmla="*/ 21 h 47"/>
                <a:gd name="T26" fmla="*/ 29 w 47"/>
                <a:gd name="T27"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7" h="47">
                  <a:moveTo>
                    <a:pt x="29" y="0"/>
                  </a:moveTo>
                  <a:cubicBezTo>
                    <a:pt x="21" y="0"/>
                    <a:pt x="18" y="4"/>
                    <a:pt x="16" y="8"/>
                  </a:cubicBezTo>
                  <a:cubicBezTo>
                    <a:pt x="16" y="1"/>
                    <a:pt x="16" y="1"/>
                    <a:pt x="16" y="1"/>
                  </a:cubicBezTo>
                  <a:cubicBezTo>
                    <a:pt x="0" y="1"/>
                    <a:pt x="0" y="1"/>
                    <a:pt x="0" y="1"/>
                  </a:cubicBezTo>
                  <a:cubicBezTo>
                    <a:pt x="1" y="5"/>
                    <a:pt x="0" y="47"/>
                    <a:pt x="0" y="47"/>
                  </a:cubicBezTo>
                  <a:cubicBezTo>
                    <a:pt x="16" y="47"/>
                    <a:pt x="16" y="47"/>
                    <a:pt x="16" y="47"/>
                  </a:cubicBezTo>
                  <a:cubicBezTo>
                    <a:pt x="16" y="21"/>
                    <a:pt x="16" y="21"/>
                    <a:pt x="16" y="21"/>
                  </a:cubicBezTo>
                  <a:cubicBezTo>
                    <a:pt x="16" y="20"/>
                    <a:pt x="16" y="19"/>
                    <a:pt x="16" y="18"/>
                  </a:cubicBezTo>
                  <a:cubicBezTo>
                    <a:pt x="17" y="15"/>
                    <a:pt x="20" y="12"/>
                    <a:pt x="24" y="12"/>
                  </a:cubicBezTo>
                  <a:cubicBezTo>
                    <a:pt x="30" y="12"/>
                    <a:pt x="32" y="16"/>
                    <a:pt x="32" y="22"/>
                  </a:cubicBezTo>
                  <a:cubicBezTo>
                    <a:pt x="32" y="47"/>
                    <a:pt x="32" y="47"/>
                    <a:pt x="32" y="47"/>
                  </a:cubicBezTo>
                  <a:cubicBezTo>
                    <a:pt x="47" y="47"/>
                    <a:pt x="47" y="47"/>
                    <a:pt x="47" y="47"/>
                  </a:cubicBezTo>
                  <a:cubicBezTo>
                    <a:pt x="47" y="21"/>
                    <a:pt x="47" y="21"/>
                    <a:pt x="47" y="21"/>
                  </a:cubicBezTo>
                  <a:cubicBezTo>
                    <a:pt x="47" y="7"/>
                    <a:pt x="40" y="0"/>
                    <a:pt x="29"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9" name="Freeform 14">
              <a:extLst>
                <a:ext uri="{FF2B5EF4-FFF2-40B4-BE49-F238E27FC236}">
                  <a16:creationId xmlns:a16="http://schemas.microsoft.com/office/drawing/2014/main" id="{6FE17691-FEEA-E7AC-CC09-A3BED81A7F9C}"/>
                </a:ext>
              </a:extLst>
            </p:cNvPr>
            <p:cNvSpPr>
              <a:spLocks/>
            </p:cNvSpPr>
            <p:nvPr userDrawn="1"/>
          </p:nvSpPr>
          <p:spPr bwMode="auto">
            <a:xfrm>
              <a:off x="7031" y="3532"/>
              <a:ext cx="33" cy="32"/>
            </a:xfrm>
            <a:custGeom>
              <a:avLst/>
              <a:gdLst>
                <a:gd name="T0" fmla="*/ 8 w 17"/>
                <a:gd name="T1" fmla="*/ 0 h 16"/>
                <a:gd name="T2" fmla="*/ 0 w 17"/>
                <a:gd name="T3" fmla="*/ 8 h 16"/>
                <a:gd name="T4" fmla="*/ 8 w 17"/>
                <a:gd name="T5" fmla="*/ 16 h 16"/>
                <a:gd name="T6" fmla="*/ 8 w 17"/>
                <a:gd name="T7" fmla="*/ 16 h 16"/>
                <a:gd name="T8" fmla="*/ 17 w 17"/>
                <a:gd name="T9" fmla="*/ 8 h 16"/>
                <a:gd name="T10" fmla="*/ 8 w 17"/>
                <a:gd name="T11" fmla="*/ 0 h 16"/>
              </a:gdLst>
              <a:ahLst/>
              <a:cxnLst>
                <a:cxn ang="0">
                  <a:pos x="T0" y="T1"/>
                </a:cxn>
                <a:cxn ang="0">
                  <a:pos x="T2" y="T3"/>
                </a:cxn>
                <a:cxn ang="0">
                  <a:pos x="T4" y="T5"/>
                </a:cxn>
                <a:cxn ang="0">
                  <a:pos x="T6" y="T7"/>
                </a:cxn>
                <a:cxn ang="0">
                  <a:pos x="T8" y="T9"/>
                </a:cxn>
                <a:cxn ang="0">
                  <a:pos x="T10" y="T11"/>
                </a:cxn>
              </a:cxnLst>
              <a:rect l="0" t="0" r="r" b="b"/>
              <a:pathLst>
                <a:path w="17" h="16">
                  <a:moveTo>
                    <a:pt x="8" y="0"/>
                  </a:moveTo>
                  <a:cubicBezTo>
                    <a:pt x="3" y="0"/>
                    <a:pt x="0" y="3"/>
                    <a:pt x="0" y="8"/>
                  </a:cubicBezTo>
                  <a:cubicBezTo>
                    <a:pt x="0" y="12"/>
                    <a:pt x="3" y="16"/>
                    <a:pt x="8" y="16"/>
                  </a:cubicBezTo>
                  <a:cubicBezTo>
                    <a:pt x="8" y="16"/>
                    <a:pt x="8" y="16"/>
                    <a:pt x="8" y="16"/>
                  </a:cubicBezTo>
                  <a:cubicBezTo>
                    <a:pt x="14" y="16"/>
                    <a:pt x="17" y="12"/>
                    <a:pt x="17" y="8"/>
                  </a:cubicBezTo>
                  <a:cubicBezTo>
                    <a:pt x="17" y="3"/>
                    <a:pt x="14" y="0"/>
                    <a:pt x="8"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0" name="Freeform 15">
              <a:extLst>
                <a:ext uri="{FF2B5EF4-FFF2-40B4-BE49-F238E27FC236}">
                  <a16:creationId xmlns:a16="http://schemas.microsoft.com/office/drawing/2014/main" id="{DF101658-8583-C825-8091-DF2923F745FC}"/>
                </a:ext>
              </a:extLst>
            </p:cNvPr>
            <p:cNvSpPr>
              <a:spLocks/>
            </p:cNvSpPr>
            <p:nvPr userDrawn="1"/>
          </p:nvSpPr>
          <p:spPr bwMode="auto">
            <a:xfrm>
              <a:off x="6752" y="3496"/>
              <a:ext cx="205" cy="208"/>
            </a:xfrm>
            <a:custGeom>
              <a:avLst/>
              <a:gdLst>
                <a:gd name="T0" fmla="*/ 18 w 105"/>
                <a:gd name="T1" fmla="*/ 0 h 104"/>
                <a:gd name="T2" fmla="*/ 0 w 105"/>
                <a:gd name="T3" fmla="*/ 18 h 104"/>
                <a:gd name="T4" fmla="*/ 0 w 105"/>
                <a:gd name="T5" fmla="*/ 86 h 104"/>
                <a:gd name="T6" fmla="*/ 18 w 105"/>
                <a:gd name="T7" fmla="*/ 104 h 104"/>
                <a:gd name="T8" fmla="*/ 87 w 105"/>
                <a:gd name="T9" fmla="*/ 104 h 104"/>
                <a:gd name="T10" fmla="*/ 105 w 105"/>
                <a:gd name="T11" fmla="*/ 86 h 104"/>
                <a:gd name="T12" fmla="*/ 105 w 105"/>
                <a:gd name="T13" fmla="*/ 18 h 104"/>
                <a:gd name="T14" fmla="*/ 87 w 105"/>
                <a:gd name="T15" fmla="*/ 0 h 104"/>
                <a:gd name="T16" fmla="*/ 18 w 105"/>
                <a:gd name="T17" fmla="*/ 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5" h="104">
                  <a:moveTo>
                    <a:pt x="18" y="0"/>
                  </a:moveTo>
                  <a:cubicBezTo>
                    <a:pt x="8" y="0"/>
                    <a:pt x="0" y="8"/>
                    <a:pt x="0" y="18"/>
                  </a:cubicBezTo>
                  <a:cubicBezTo>
                    <a:pt x="0" y="86"/>
                    <a:pt x="0" y="86"/>
                    <a:pt x="0" y="86"/>
                  </a:cubicBezTo>
                  <a:cubicBezTo>
                    <a:pt x="0" y="96"/>
                    <a:pt x="8" y="104"/>
                    <a:pt x="18" y="104"/>
                  </a:cubicBezTo>
                  <a:cubicBezTo>
                    <a:pt x="87" y="104"/>
                    <a:pt x="87" y="104"/>
                    <a:pt x="87" y="104"/>
                  </a:cubicBezTo>
                  <a:cubicBezTo>
                    <a:pt x="97" y="104"/>
                    <a:pt x="105" y="96"/>
                    <a:pt x="105" y="86"/>
                  </a:cubicBezTo>
                  <a:cubicBezTo>
                    <a:pt x="105" y="18"/>
                    <a:pt x="105" y="18"/>
                    <a:pt x="105" y="18"/>
                  </a:cubicBezTo>
                  <a:cubicBezTo>
                    <a:pt x="105" y="8"/>
                    <a:pt x="97" y="0"/>
                    <a:pt x="87" y="0"/>
                  </a:cubicBezTo>
                  <a:lnTo>
                    <a:pt x="18" y="0"/>
                  </a:lnTo>
                  <a:close/>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2" name="Freeform 16">
              <a:extLst>
                <a:ext uri="{FF2B5EF4-FFF2-40B4-BE49-F238E27FC236}">
                  <a16:creationId xmlns:a16="http://schemas.microsoft.com/office/drawing/2014/main" id="{0E525ABB-5E96-4763-2A7A-854BA2117144}"/>
                </a:ext>
              </a:extLst>
            </p:cNvPr>
            <p:cNvSpPr>
              <a:spLocks noEditPoints="1"/>
            </p:cNvSpPr>
            <p:nvPr userDrawn="1"/>
          </p:nvSpPr>
          <p:spPr bwMode="auto">
            <a:xfrm>
              <a:off x="6818" y="3564"/>
              <a:ext cx="72" cy="72"/>
            </a:xfrm>
            <a:custGeom>
              <a:avLst/>
              <a:gdLst>
                <a:gd name="T0" fmla="*/ 19 w 37"/>
                <a:gd name="T1" fmla="*/ 30 h 36"/>
                <a:gd name="T2" fmla="*/ 7 w 37"/>
                <a:gd name="T3" fmla="*/ 18 h 36"/>
                <a:gd name="T4" fmla="*/ 19 w 37"/>
                <a:gd name="T5" fmla="*/ 6 h 36"/>
                <a:gd name="T6" fmla="*/ 31 w 37"/>
                <a:gd name="T7" fmla="*/ 18 h 36"/>
                <a:gd name="T8" fmla="*/ 19 w 37"/>
                <a:gd name="T9" fmla="*/ 30 h 36"/>
                <a:gd name="T10" fmla="*/ 19 w 37"/>
                <a:gd name="T11" fmla="*/ 0 h 36"/>
                <a:gd name="T12" fmla="*/ 0 w 37"/>
                <a:gd name="T13" fmla="*/ 18 h 36"/>
                <a:gd name="T14" fmla="*/ 19 w 37"/>
                <a:gd name="T15" fmla="*/ 36 h 36"/>
                <a:gd name="T16" fmla="*/ 37 w 37"/>
                <a:gd name="T17" fmla="*/ 18 h 36"/>
                <a:gd name="T18" fmla="*/ 19 w 37"/>
                <a:gd name="T19"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7" h="36">
                  <a:moveTo>
                    <a:pt x="19" y="30"/>
                  </a:moveTo>
                  <a:cubicBezTo>
                    <a:pt x="12" y="30"/>
                    <a:pt x="7" y="25"/>
                    <a:pt x="7" y="18"/>
                  </a:cubicBezTo>
                  <a:cubicBezTo>
                    <a:pt x="7" y="11"/>
                    <a:pt x="12" y="6"/>
                    <a:pt x="19" y="6"/>
                  </a:cubicBezTo>
                  <a:cubicBezTo>
                    <a:pt x="25" y="6"/>
                    <a:pt x="31" y="11"/>
                    <a:pt x="31" y="18"/>
                  </a:cubicBezTo>
                  <a:cubicBezTo>
                    <a:pt x="31" y="25"/>
                    <a:pt x="25" y="30"/>
                    <a:pt x="19" y="30"/>
                  </a:cubicBezTo>
                  <a:moveTo>
                    <a:pt x="19" y="0"/>
                  </a:moveTo>
                  <a:cubicBezTo>
                    <a:pt x="9" y="0"/>
                    <a:pt x="0" y="8"/>
                    <a:pt x="0" y="18"/>
                  </a:cubicBezTo>
                  <a:cubicBezTo>
                    <a:pt x="0" y="28"/>
                    <a:pt x="9" y="36"/>
                    <a:pt x="19" y="36"/>
                  </a:cubicBezTo>
                  <a:cubicBezTo>
                    <a:pt x="29" y="36"/>
                    <a:pt x="37" y="28"/>
                    <a:pt x="37" y="18"/>
                  </a:cubicBezTo>
                  <a:cubicBezTo>
                    <a:pt x="37" y="8"/>
                    <a:pt x="29" y="0"/>
                    <a:pt x="19"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4" name="Freeform 17">
              <a:extLst>
                <a:ext uri="{FF2B5EF4-FFF2-40B4-BE49-F238E27FC236}">
                  <a16:creationId xmlns:a16="http://schemas.microsoft.com/office/drawing/2014/main" id="{723FBDB4-7455-BFBD-3585-A378128D7DC2}"/>
                </a:ext>
              </a:extLst>
            </p:cNvPr>
            <p:cNvSpPr>
              <a:spLocks noEditPoints="1"/>
            </p:cNvSpPr>
            <p:nvPr userDrawn="1"/>
          </p:nvSpPr>
          <p:spPr bwMode="auto">
            <a:xfrm>
              <a:off x="6785" y="3528"/>
              <a:ext cx="139" cy="144"/>
            </a:xfrm>
            <a:custGeom>
              <a:avLst/>
              <a:gdLst>
                <a:gd name="T0" fmla="*/ 65 w 71"/>
                <a:gd name="T1" fmla="*/ 50 h 72"/>
                <a:gd name="T2" fmla="*/ 64 w 71"/>
                <a:gd name="T3" fmla="*/ 57 h 72"/>
                <a:gd name="T4" fmla="*/ 61 w 71"/>
                <a:gd name="T5" fmla="*/ 61 h 72"/>
                <a:gd name="T6" fmla="*/ 57 w 71"/>
                <a:gd name="T7" fmla="*/ 64 h 72"/>
                <a:gd name="T8" fmla="*/ 50 w 71"/>
                <a:gd name="T9" fmla="*/ 65 h 72"/>
                <a:gd name="T10" fmla="*/ 36 w 71"/>
                <a:gd name="T11" fmla="*/ 65 h 72"/>
                <a:gd name="T12" fmla="*/ 21 w 71"/>
                <a:gd name="T13" fmla="*/ 65 h 72"/>
                <a:gd name="T14" fmla="*/ 15 w 71"/>
                <a:gd name="T15" fmla="*/ 64 h 72"/>
                <a:gd name="T16" fmla="*/ 11 w 71"/>
                <a:gd name="T17" fmla="*/ 61 h 72"/>
                <a:gd name="T18" fmla="*/ 8 w 71"/>
                <a:gd name="T19" fmla="*/ 57 h 72"/>
                <a:gd name="T20" fmla="*/ 7 w 71"/>
                <a:gd name="T21" fmla="*/ 50 h 72"/>
                <a:gd name="T22" fmla="*/ 6 w 71"/>
                <a:gd name="T23" fmla="*/ 36 h 72"/>
                <a:gd name="T24" fmla="*/ 7 w 71"/>
                <a:gd name="T25" fmla="*/ 21 h 72"/>
                <a:gd name="T26" fmla="*/ 8 w 71"/>
                <a:gd name="T27" fmla="*/ 15 h 72"/>
                <a:gd name="T28" fmla="*/ 11 w 71"/>
                <a:gd name="T29" fmla="*/ 11 h 72"/>
                <a:gd name="T30" fmla="*/ 15 w 71"/>
                <a:gd name="T31" fmla="*/ 8 h 72"/>
                <a:gd name="T32" fmla="*/ 21 w 71"/>
                <a:gd name="T33" fmla="*/ 7 h 72"/>
                <a:gd name="T34" fmla="*/ 36 w 71"/>
                <a:gd name="T35" fmla="*/ 7 h 72"/>
                <a:gd name="T36" fmla="*/ 50 w 71"/>
                <a:gd name="T37" fmla="*/ 7 h 72"/>
                <a:gd name="T38" fmla="*/ 57 w 71"/>
                <a:gd name="T39" fmla="*/ 8 h 72"/>
                <a:gd name="T40" fmla="*/ 61 w 71"/>
                <a:gd name="T41" fmla="*/ 11 h 72"/>
                <a:gd name="T42" fmla="*/ 64 w 71"/>
                <a:gd name="T43" fmla="*/ 15 h 72"/>
                <a:gd name="T44" fmla="*/ 65 w 71"/>
                <a:gd name="T45" fmla="*/ 21 h 72"/>
                <a:gd name="T46" fmla="*/ 65 w 71"/>
                <a:gd name="T47" fmla="*/ 36 h 72"/>
                <a:gd name="T48" fmla="*/ 65 w 71"/>
                <a:gd name="T49" fmla="*/ 50 h 72"/>
                <a:gd name="T50" fmla="*/ 71 w 71"/>
                <a:gd name="T51" fmla="*/ 21 h 72"/>
                <a:gd name="T52" fmla="*/ 70 w 71"/>
                <a:gd name="T53" fmla="*/ 13 h 72"/>
                <a:gd name="T54" fmla="*/ 65 w 71"/>
                <a:gd name="T55" fmla="*/ 6 h 72"/>
                <a:gd name="T56" fmla="*/ 59 w 71"/>
                <a:gd name="T57" fmla="*/ 2 h 72"/>
                <a:gd name="T58" fmla="*/ 50 w 71"/>
                <a:gd name="T59" fmla="*/ 0 h 72"/>
                <a:gd name="T60" fmla="*/ 36 w 71"/>
                <a:gd name="T61" fmla="*/ 0 h 72"/>
                <a:gd name="T62" fmla="*/ 21 w 71"/>
                <a:gd name="T63" fmla="*/ 0 h 72"/>
                <a:gd name="T64" fmla="*/ 12 w 71"/>
                <a:gd name="T65" fmla="*/ 2 h 72"/>
                <a:gd name="T66" fmla="*/ 6 w 71"/>
                <a:gd name="T67" fmla="*/ 6 h 72"/>
                <a:gd name="T68" fmla="*/ 2 w 71"/>
                <a:gd name="T69" fmla="*/ 13 h 72"/>
                <a:gd name="T70" fmla="*/ 0 w 71"/>
                <a:gd name="T71" fmla="*/ 21 h 72"/>
                <a:gd name="T72" fmla="*/ 0 w 71"/>
                <a:gd name="T73" fmla="*/ 36 h 72"/>
                <a:gd name="T74" fmla="*/ 0 w 71"/>
                <a:gd name="T75" fmla="*/ 51 h 72"/>
                <a:gd name="T76" fmla="*/ 2 w 71"/>
                <a:gd name="T77" fmla="*/ 59 h 72"/>
                <a:gd name="T78" fmla="*/ 6 w 71"/>
                <a:gd name="T79" fmla="*/ 66 h 72"/>
                <a:gd name="T80" fmla="*/ 12 w 71"/>
                <a:gd name="T81" fmla="*/ 70 h 72"/>
                <a:gd name="T82" fmla="*/ 21 w 71"/>
                <a:gd name="T83" fmla="*/ 71 h 72"/>
                <a:gd name="T84" fmla="*/ 36 w 71"/>
                <a:gd name="T85" fmla="*/ 72 h 72"/>
                <a:gd name="T86" fmla="*/ 50 w 71"/>
                <a:gd name="T87" fmla="*/ 71 h 72"/>
                <a:gd name="T88" fmla="*/ 59 w 71"/>
                <a:gd name="T89" fmla="*/ 70 h 72"/>
                <a:gd name="T90" fmla="*/ 65 w 71"/>
                <a:gd name="T91" fmla="*/ 66 h 72"/>
                <a:gd name="T92" fmla="*/ 70 w 71"/>
                <a:gd name="T93" fmla="*/ 59 h 72"/>
                <a:gd name="T94" fmla="*/ 71 w 71"/>
                <a:gd name="T95" fmla="*/ 51 h 72"/>
                <a:gd name="T96" fmla="*/ 71 w 71"/>
                <a:gd name="T97" fmla="*/ 36 h 72"/>
                <a:gd name="T98" fmla="*/ 71 w 71"/>
                <a:gd name="T99" fmla="*/ 21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71" h="72">
                  <a:moveTo>
                    <a:pt x="65" y="50"/>
                  </a:moveTo>
                  <a:cubicBezTo>
                    <a:pt x="65" y="54"/>
                    <a:pt x="64" y="56"/>
                    <a:pt x="64" y="57"/>
                  </a:cubicBezTo>
                  <a:cubicBezTo>
                    <a:pt x="63" y="59"/>
                    <a:pt x="62" y="60"/>
                    <a:pt x="61" y="61"/>
                  </a:cubicBezTo>
                  <a:cubicBezTo>
                    <a:pt x="60" y="62"/>
                    <a:pt x="58" y="63"/>
                    <a:pt x="57" y="64"/>
                  </a:cubicBezTo>
                  <a:cubicBezTo>
                    <a:pt x="56" y="64"/>
                    <a:pt x="54" y="65"/>
                    <a:pt x="50" y="65"/>
                  </a:cubicBezTo>
                  <a:cubicBezTo>
                    <a:pt x="46" y="65"/>
                    <a:pt x="45" y="65"/>
                    <a:pt x="36" y="65"/>
                  </a:cubicBezTo>
                  <a:cubicBezTo>
                    <a:pt x="26" y="65"/>
                    <a:pt x="25" y="65"/>
                    <a:pt x="21" y="65"/>
                  </a:cubicBezTo>
                  <a:cubicBezTo>
                    <a:pt x="18" y="65"/>
                    <a:pt x="16" y="64"/>
                    <a:pt x="15" y="64"/>
                  </a:cubicBezTo>
                  <a:cubicBezTo>
                    <a:pt x="13" y="63"/>
                    <a:pt x="12" y="62"/>
                    <a:pt x="11" y="61"/>
                  </a:cubicBezTo>
                  <a:cubicBezTo>
                    <a:pt x="9" y="60"/>
                    <a:pt x="9" y="59"/>
                    <a:pt x="8" y="57"/>
                  </a:cubicBezTo>
                  <a:cubicBezTo>
                    <a:pt x="7" y="56"/>
                    <a:pt x="7" y="54"/>
                    <a:pt x="7" y="50"/>
                  </a:cubicBezTo>
                  <a:cubicBezTo>
                    <a:pt x="6" y="47"/>
                    <a:pt x="6" y="45"/>
                    <a:pt x="6" y="36"/>
                  </a:cubicBezTo>
                  <a:cubicBezTo>
                    <a:pt x="6" y="26"/>
                    <a:pt x="6" y="25"/>
                    <a:pt x="7" y="21"/>
                  </a:cubicBezTo>
                  <a:cubicBezTo>
                    <a:pt x="7" y="18"/>
                    <a:pt x="7" y="16"/>
                    <a:pt x="8" y="15"/>
                  </a:cubicBezTo>
                  <a:cubicBezTo>
                    <a:pt x="9" y="13"/>
                    <a:pt x="9" y="12"/>
                    <a:pt x="11" y="11"/>
                  </a:cubicBezTo>
                  <a:cubicBezTo>
                    <a:pt x="12" y="10"/>
                    <a:pt x="13" y="9"/>
                    <a:pt x="15" y="8"/>
                  </a:cubicBezTo>
                  <a:cubicBezTo>
                    <a:pt x="16" y="8"/>
                    <a:pt x="18" y="7"/>
                    <a:pt x="21" y="7"/>
                  </a:cubicBezTo>
                  <a:cubicBezTo>
                    <a:pt x="25" y="7"/>
                    <a:pt x="26" y="7"/>
                    <a:pt x="36" y="7"/>
                  </a:cubicBezTo>
                  <a:cubicBezTo>
                    <a:pt x="45" y="7"/>
                    <a:pt x="46" y="7"/>
                    <a:pt x="50" y="7"/>
                  </a:cubicBezTo>
                  <a:cubicBezTo>
                    <a:pt x="54" y="7"/>
                    <a:pt x="56" y="8"/>
                    <a:pt x="57" y="8"/>
                  </a:cubicBezTo>
                  <a:cubicBezTo>
                    <a:pt x="58" y="9"/>
                    <a:pt x="60" y="10"/>
                    <a:pt x="61" y="11"/>
                  </a:cubicBezTo>
                  <a:cubicBezTo>
                    <a:pt x="62" y="12"/>
                    <a:pt x="63" y="13"/>
                    <a:pt x="64" y="15"/>
                  </a:cubicBezTo>
                  <a:cubicBezTo>
                    <a:pt x="64" y="16"/>
                    <a:pt x="65" y="18"/>
                    <a:pt x="65" y="21"/>
                  </a:cubicBezTo>
                  <a:cubicBezTo>
                    <a:pt x="65" y="25"/>
                    <a:pt x="65" y="26"/>
                    <a:pt x="65" y="36"/>
                  </a:cubicBezTo>
                  <a:cubicBezTo>
                    <a:pt x="65" y="45"/>
                    <a:pt x="65" y="47"/>
                    <a:pt x="65" y="50"/>
                  </a:cubicBezTo>
                  <a:moveTo>
                    <a:pt x="71" y="21"/>
                  </a:moveTo>
                  <a:cubicBezTo>
                    <a:pt x="71" y="17"/>
                    <a:pt x="70" y="15"/>
                    <a:pt x="70" y="13"/>
                  </a:cubicBezTo>
                  <a:cubicBezTo>
                    <a:pt x="69" y="10"/>
                    <a:pt x="67" y="8"/>
                    <a:pt x="65" y="6"/>
                  </a:cubicBezTo>
                  <a:cubicBezTo>
                    <a:pt x="63" y="4"/>
                    <a:pt x="61" y="3"/>
                    <a:pt x="59" y="2"/>
                  </a:cubicBezTo>
                  <a:cubicBezTo>
                    <a:pt x="57" y="1"/>
                    <a:pt x="54" y="1"/>
                    <a:pt x="50" y="0"/>
                  </a:cubicBezTo>
                  <a:cubicBezTo>
                    <a:pt x="47" y="0"/>
                    <a:pt x="45" y="0"/>
                    <a:pt x="36" y="0"/>
                  </a:cubicBezTo>
                  <a:cubicBezTo>
                    <a:pt x="26" y="0"/>
                    <a:pt x="25" y="0"/>
                    <a:pt x="21" y="0"/>
                  </a:cubicBezTo>
                  <a:cubicBezTo>
                    <a:pt x="17" y="1"/>
                    <a:pt x="15" y="1"/>
                    <a:pt x="12" y="2"/>
                  </a:cubicBezTo>
                  <a:cubicBezTo>
                    <a:pt x="10" y="3"/>
                    <a:pt x="8" y="4"/>
                    <a:pt x="6" y="6"/>
                  </a:cubicBezTo>
                  <a:cubicBezTo>
                    <a:pt x="4" y="8"/>
                    <a:pt x="3" y="10"/>
                    <a:pt x="2" y="13"/>
                  </a:cubicBezTo>
                  <a:cubicBezTo>
                    <a:pt x="1" y="15"/>
                    <a:pt x="0" y="17"/>
                    <a:pt x="0" y="21"/>
                  </a:cubicBezTo>
                  <a:cubicBezTo>
                    <a:pt x="0" y="25"/>
                    <a:pt x="0" y="26"/>
                    <a:pt x="0" y="36"/>
                  </a:cubicBezTo>
                  <a:cubicBezTo>
                    <a:pt x="0" y="46"/>
                    <a:pt x="0" y="47"/>
                    <a:pt x="0" y="51"/>
                  </a:cubicBezTo>
                  <a:cubicBezTo>
                    <a:pt x="0" y="54"/>
                    <a:pt x="1" y="57"/>
                    <a:pt x="2" y="59"/>
                  </a:cubicBezTo>
                  <a:cubicBezTo>
                    <a:pt x="3" y="62"/>
                    <a:pt x="4" y="64"/>
                    <a:pt x="6" y="66"/>
                  </a:cubicBezTo>
                  <a:cubicBezTo>
                    <a:pt x="8" y="68"/>
                    <a:pt x="10" y="69"/>
                    <a:pt x="12" y="70"/>
                  </a:cubicBezTo>
                  <a:cubicBezTo>
                    <a:pt x="15" y="71"/>
                    <a:pt x="17" y="71"/>
                    <a:pt x="21" y="71"/>
                  </a:cubicBezTo>
                  <a:cubicBezTo>
                    <a:pt x="25" y="72"/>
                    <a:pt x="26" y="72"/>
                    <a:pt x="36" y="72"/>
                  </a:cubicBezTo>
                  <a:cubicBezTo>
                    <a:pt x="45" y="72"/>
                    <a:pt x="47" y="72"/>
                    <a:pt x="50" y="71"/>
                  </a:cubicBezTo>
                  <a:cubicBezTo>
                    <a:pt x="54" y="71"/>
                    <a:pt x="57" y="71"/>
                    <a:pt x="59" y="70"/>
                  </a:cubicBezTo>
                  <a:cubicBezTo>
                    <a:pt x="61" y="69"/>
                    <a:pt x="63" y="68"/>
                    <a:pt x="65" y="66"/>
                  </a:cubicBezTo>
                  <a:cubicBezTo>
                    <a:pt x="67" y="64"/>
                    <a:pt x="69" y="62"/>
                    <a:pt x="70" y="59"/>
                  </a:cubicBezTo>
                  <a:cubicBezTo>
                    <a:pt x="70" y="57"/>
                    <a:pt x="71" y="54"/>
                    <a:pt x="71" y="51"/>
                  </a:cubicBezTo>
                  <a:cubicBezTo>
                    <a:pt x="71" y="47"/>
                    <a:pt x="71" y="46"/>
                    <a:pt x="71" y="36"/>
                  </a:cubicBezTo>
                  <a:cubicBezTo>
                    <a:pt x="71" y="26"/>
                    <a:pt x="71" y="25"/>
                    <a:pt x="71" y="21"/>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5" name="Oval 18">
              <a:extLst>
                <a:ext uri="{FF2B5EF4-FFF2-40B4-BE49-F238E27FC236}">
                  <a16:creationId xmlns:a16="http://schemas.microsoft.com/office/drawing/2014/main" id="{7AF7EC71-DD8E-8AB4-EFA6-5878FF8BF0D1}"/>
                </a:ext>
              </a:extLst>
            </p:cNvPr>
            <p:cNvSpPr>
              <a:spLocks noChangeArrowheads="1"/>
            </p:cNvSpPr>
            <p:nvPr userDrawn="1"/>
          </p:nvSpPr>
          <p:spPr bwMode="auto">
            <a:xfrm>
              <a:off x="6882" y="3554"/>
              <a:ext cx="18" cy="16"/>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grpSp>
      <p:grpSp>
        <p:nvGrpSpPr>
          <p:cNvPr id="26" name="Group 21">
            <a:extLst>
              <a:ext uri="{FF2B5EF4-FFF2-40B4-BE49-F238E27FC236}">
                <a16:creationId xmlns:a16="http://schemas.microsoft.com/office/drawing/2014/main" id="{AFD46EC2-B5DC-6437-56D4-093B892ACDAE}"/>
              </a:ext>
            </a:extLst>
          </p:cNvPr>
          <p:cNvGrpSpPr>
            <a:grpSpLocks noChangeAspect="1"/>
          </p:cNvGrpSpPr>
          <p:nvPr userDrawn="1"/>
        </p:nvGrpSpPr>
        <p:grpSpPr bwMode="auto">
          <a:xfrm>
            <a:off x="9551988" y="4535488"/>
            <a:ext cx="2052637" cy="333375"/>
            <a:chOff x="6017" y="2857"/>
            <a:chExt cx="1293" cy="210"/>
          </a:xfrm>
        </p:grpSpPr>
        <p:sp>
          <p:nvSpPr>
            <p:cNvPr id="27" name="AutoShape 20">
              <a:extLst>
                <a:ext uri="{FF2B5EF4-FFF2-40B4-BE49-F238E27FC236}">
                  <a16:creationId xmlns:a16="http://schemas.microsoft.com/office/drawing/2014/main" id="{85BBF0A3-728C-F607-EE50-BD13FA3975CA}"/>
                </a:ext>
              </a:extLst>
            </p:cNvPr>
            <p:cNvSpPr>
              <a:spLocks noChangeAspect="1" noChangeArrowheads="1" noTextEdit="1"/>
            </p:cNvSpPr>
            <p:nvPr userDrawn="1"/>
          </p:nvSpPr>
          <p:spPr bwMode="auto">
            <a:xfrm>
              <a:off x="6017" y="2857"/>
              <a:ext cx="1293" cy="2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8" name="Freeform 22">
              <a:extLst>
                <a:ext uri="{FF2B5EF4-FFF2-40B4-BE49-F238E27FC236}">
                  <a16:creationId xmlns:a16="http://schemas.microsoft.com/office/drawing/2014/main" id="{9244E173-08E8-46D7-2FCE-69AB1A47460F}"/>
                </a:ext>
              </a:extLst>
            </p:cNvPr>
            <p:cNvSpPr>
              <a:spLocks/>
            </p:cNvSpPr>
            <p:nvPr userDrawn="1"/>
          </p:nvSpPr>
          <p:spPr bwMode="auto">
            <a:xfrm>
              <a:off x="6436" y="2857"/>
              <a:ext cx="50" cy="75"/>
            </a:xfrm>
            <a:custGeom>
              <a:avLst/>
              <a:gdLst>
                <a:gd name="T0" fmla="*/ 38 w 161"/>
                <a:gd name="T1" fmla="*/ 228 h 238"/>
                <a:gd name="T2" fmla="*/ 10 w 161"/>
                <a:gd name="T3" fmla="*/ 202 h 238"/>
                <a:gd name="T4" fmla="*/ 0 w 161"/>
                <a:gd name="T5" fmla="*/ 162 h 238"/>
                <a:gd name="T6" fmla="*/ 0 w 161"/>
                <a:gd name="T7" fmla="*/ 76 h 238"/>
                <a:gd name="T8" fmla="*/ 10 w 161"/>
                <a:gd name="T9" fmla="*/ 36 h 238"/>
                <a:gd name="T10" fmla="*/ 38 w 161"/>
                <a:gd name="T11" fmla="*/ 10 h 238"/>
                <a:gd name="T12" fmla="*/ 81 w 161"/>
                <a:gd name="T13" fmla="*/ 0 h 238"/>
                <a:gd name="T14" fmla="*/ 123 w 161"/>
                <a:gd name="T15" fmla="*/ 9 h 238"/>
                <a:gd name="T16" fmla="*/ 151 w 161"/>
                <a:gd name="T17" fmla="*/ 35 h 238"/>
                <a:gd name="T18" fmla="*/ 161 w 161"/>
                <a:gd name="T19" fmla="*/ 74 h 238"/>
                <a:gd name="T20" fmla="*/ 161 w 161"/>
                <a:gd name="T21" fmla="*/ 74 h 238"/>
                <a:gd name="T22" fmla="*/ 160 w 161"/>
                <a:gd name="T23" fmla="*/ 77 h 238"/>
                <a:gd name="T24" fmla="*/ 158 w 161"/>
                <a:gd name="T25" fmla="*/ 77 h 238"/>
                <a:gd name="T26" fmla="*/ 133 w 161"/>
                <a:gd name="T27" fmla="*/ 79 h 238"/>
                <a:gd name="T28" fmla="*/ 129 w 161"/>
                <a:gd name="T29" fmla="*/ 76 h 238"/>
                <a:gd name="T30" fmla="*/ 129 w 161"/>
                <a:gd name="T31" fmla="*/ 75 h 238"/>
                <a:gd name="T32" fmla="*/ 116 w 161"/>
                <a:gd name="T33" fmla="*/ 41 h 238"/>
                <a:gd name="T34" fmla="*/ 81 w 161"/>
                <a:gd name="T35" fmla="*/ 28 h 238"/>
                <a:gd name="T36" fmla="*/ 45 w 161"/>
                <a:gd name="T37" fmla="*/ 41 h 238"/>
                <a:gd name="T38" fmla="*/ 32 w 161"/>
                <a:gd name="T39" fmla="*/ 75 h 238"/>
                <a:gd name="T40" fmla="*/ 32 w 161"/>
                <a:gd name="T41" fmla="*/ 163 h 238"/>
                <a:gd name="T42" fmla="*/ 45 w 161"/>
                <a:gd name="T43" fmla="*/ 197 h 238"/>
                <a:gd name="T44" fmla="*/ 81 w 161"/>
                <a:gd name="T45" fmla="*/ 210 h 238"/>
                <a:gd name="T46" fmla="*/ 116 w 161"/>
                <a:gd name="T47" fmla="*/ 197 h 238"/>
                <a:gd name="T48" fmla="*/ 129 w 161"/>
                <a:gd name="T49" fmla="*/ 163 h 238"/>
                <a:gd name="T50" fmla="*/ 129 w 161"/>
                <a:gd name="T51" fmla="*/ 162 h 238"/>
                <a:gd name="T52" fmla="*/ 133 w 161"/>
                <a:gd name="T53" fmla="*/ 159 h 238"/>
                <a:gd name="T54" fmla="*/ 158 w 161"/>
                <a:gd name="T55" fmla="*/ 161 h 238"/>
                <a:gd name="T56" fmla="*/ 161 w 161"/>
                <a:gd name="T57" fmla="*/ 164 h 238"/>
                <a:gd name="T58" fmla="*/ 151 w 161"/>
                <a:gd name="T59" fmla="*/ 203 h 238"/>
                <a:gd name="T60" fmla="*/ 123 w 161"/>
                <a:gd name="T61" fmla="*/ 229 h 238"/>
                <a:gd name="T62" fmla="*/ 81 w 161"/>
                <a:gd name="T63" fmla="*/ 238 h 238"/>
                <a:gd name="T64" fmla="*/ 38 w 161"/>
                <a:gd name="T65" fmla="*/ 22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61" h="238">
                  <a:moveTo>
                    <a:pt x="38" y="228"/>
                  </a:moveTo>
                  <a:cubicBezTo>
                    <a:pt x="26" y="222"/>
                    <a:pt x="17" y="213"/>
                    <a:pt x="10" y="202"/>
                  </a:cubicBezTo>
                  <a:cubicBezTo>
                    <a:pt x="3" y="190"/>
                    <a:pt x="0" y="177"/>
                    <a:pt x="0" y="162"/>
                  </a:cubicBezTo>
                  <a:cubicBezTo>
                    <a:pt x="0" y="76"/>
                    <a:pt x="0" y="76"/>
                    <a:pt x="0" y="76"/>
                  </a:cubicBezTo>
                  <a:cubicBezTo>
                    <a:pt x="0" y="61"/>
                    <a:pt x="3" y="48"/>
                    <a:pt x="10" y="36"/>
                  </a:cubicBezTo>
                  <a:cubicBezTo>
                    <a:pt x="17" y="25"/>
                    <a:pt x="26" y="16"/>
                    <a:pt x="38" y="10"/>
                  </a:cubicBezTo>
                  <a:cubicBezTo>
                    <a:pt x="51" y="4"/>
                    <a:pt x="65" y="0"/>
                    <a:pt x="81" y="0"/>
                  </a:cubicBezTo>
                  <a:cubicBezTo>
                    <a:pt x="96" y="0"/>
                    <a:pt x="110" y="3"/>
                    <a:pt x="123" y="9"/>
                  </a:cubicBezTo>
                  <a:cubicBezTo>
                    <a:pt x="135" y="16"/>
                    <a:pt x="144" y="24"/>
                    <a:pt x="151" y="35"/>
                  </a:cubicBezTo>
                  <a:cubicBezTo>
                    <a:pt x="158" y="46"/>
                    <a:pt x="161" y="59"/>
                    <a:pt x="161" y="74"/>
                  </a:cubicBezTo>
                  <a:cubicBezTo>
                    <a:pt x="161" y="74"/>
                    <a:pt x="161" y="74"/>
                    <a:pt x="161" y="74"/>
                  </a:cubicBezTo>
                  <a:cubicBezTo>
                    <a:pt x="161" y="75"/>
                    <a:pt x="161" y="76"/>
                    <a:pt x="160" y="77"/>
                  </a:cubicBezTo>
                  <a:cubicBezTo>
                    <a:pt x="159" y="77"/>
                    <a:pt x="159" y="77"/>
                    <a:pt x="158" y="77"/>
                  </a:cubicBezTo>
                  <a:cubicBezTo>
                    <a:pt x="133" y="79"/>
                    <a:pt x="133" y="79"/>
                    <a:pt x="133" y="79"/>
                  </a:cubicBezTo>
                  <a:cubicBezTo>
                    <a:pt x="130" y="79"/>
                    <a:pt x="129" y="78"/>
                    <a:pt x="129" y="76"/>
                  </a:cubicBezTo>
                  <a:cubicBezTo>
                    <a:pt x="129" y="75"/>
                    <a:pt x="129" y="75"/>
                    <a:pt x="129" y="75"/>
                  </a:cubicBezTo>
                  <a:cubicBezTo>
                    <a:pt x="129" y="61"/>
                    <a:pt x="125" y="49"/>
                    <a:pt x="116" y="41"/>
                  </a:cubicBezTo>
                  <a:cubicBezTo>
                    <a:pt x="107" y="32"/>
                    <a:pt x="95" y="28"/>
                    <a:pt x="81" y="28"/>
                  </a:cubicBezTo>
                  <a:cubicBezTo>
                    <a:pt x="66" y="28"/>
                    <a:pt x="54" y="32"/>
                    <a:pt x="45" y="41"/>
                  </a:cubicBezTo>
                  <a:cubicBezTo>
                    <a:pt x="36" y="49"/>
                    <a:pt x="32" y="61"/>
                    <a:pt x="32" y="75"/>
                  </a:cubicBezTo>
                  <a:cubicBezTo>
                    <a:pt x="32" y="163"/>
                    <a:pt x="32" y="163"/>
                    <a:pt x="32" y="163"/>
                  </a:cubicBezTo>
                  <a:cubicBezTo>
                    <a:pt x="32" y="177"/>
                    <a:pt x="36" y="189"/>
                    <a:pt x="45" y="197"/>
                  </a:cubicBezTo>
                  <a:cubicBezTo>
                    <a:pt x="54" y="206"/>
                    <a:pt x="66" y="210"/>
                    <a:pt x="81" y="210"/>
                  </a:cubicBezTo>
                  <a:cubicBezTo>
                    <a:pt x="95" y="210"/>
                    <a:pt x="107" y="206"/>
                    <a:pt x="116" y="197"/>
                  </a:cubicBezTo>
                  <a:cubicBezTo>
                    <a:pt x="125" y="188"/>
                    <a:pt x="129" y="177"/>
                    <a:pt x="129" y="163"/>
                  </a:cubicBezTo>
                  <a:cubicBezTo>
                    <a:pt x="129" y="162"/>
                    <a:pt x="129" y="162"/>
                    <a:pt x="129" y="162"/>
                  </a:cubicBezTo>
                  <a:cubicBezTo>
                    <a:pt x="129" y="160"/>
                    <a:pt x="130" y="159"/>
                    <a:pt x="133" y="159"/>
                  </a:cubicBezTo>
                  <a:cubicBezTo>
                    <a:pt x="158" y="161"/>
                    <a:pt x="158" y="161"/>
                    <a:pt x="158" y="161"/>
                  </a:cubicBezTo>
                  <a:cubicBezTo>
                    <a:pt x="160" y="161"/>
                    <a:pt x="161" y="162"/>
                    <a:pt x="161" y="164"/>
                  </a:cubicBezTo>
                  <a:cubicBezTo>
                    <a:pt x="161" y="179"/>
                    <a:pt x="158" y="191"/>
                    <a:pt x="151" y="203"/>
                  </a:cubicBezTo>
                  <a:cubicBezTo>
                    <a:pt x="144" y="214"/>
                    <a:pt x="135" y="222"/>
                    <a:pt x="123" y="229"/>
                  </a:cubicBezTo>
                  <a:cubicBezTo>
                    <a:pt x="111" y="235"/>
                    <a:pt x="97" y="238"/>
                    <a:pt x="81" y="238"/>
                  </a:cubicBezTo>
                  <a:cubicBezTo>
                    <a:pt x="65" y="238"/>
                    <a:pt x="51" y="235"/>
                    <a:pt x="38" y="228"/>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9" name="Freeform 23">
              <a:extLst>
                <a:ext uri="{FF2B5EF4-FFF2-40B4-BE49-F238E27FC236}">
                  <a16:creationId xmlns:a16="http://schemas.microsoft.com/office/drawing/2014/main" id="{98ED043D-2006-8085-D535-DF2DD0809DC8}"/>
                </a:ext>
              </a:extLst>
            </p:cNvPr>
            <p:cNvSpPr>
              <a:spLocks noEditPoints="1"/>
            </p:cNvSpPr>
            <p:nvPr userDrawn="1"/>
          </p:nvSpPr>
          <p:spPr bwMode="auto">
            <a:xfrm>
              <a:off x="6498" y="2858"/>
              <a:ext cx="50" cy="73"/>
            </a:xfrm>
            <a:custGeom>
              <a:avLst/>
              <a:gdLst>
                <a:gd name="T0" fmla="*/ 128 w 161"/>
                <a:gd name="T1" fmla="*/ 229 h 232"/>
                <a:gd name="T2" fmla="*/ 82 w 161"/>
                <a:gd name="T3" fmla="*/ 130 h 232"/>
                <a:gd name="T4" fmla="*/ 81 w 161"/>
                <a:gd name="T5" fmla="*/ 129 h 232"/>
                <a:gd name="T6" fmla="*/ 33 w 161"/>
                <a:gd name="T7" fmla="*/ 129 h 232"/>
                <a:gd name="T8" fmla="*/ 32 w 161"/>
                <a:gd name="T9" fmla="*/ 131 h 232"/>
                <a:gd name="T10" fmla="*/ 32 w 161"/>
                <a:gd name="T11" fmla="*/ 228 h 232"/>
                <a:gd name="T12" fmla="*/ 29 w 161"/>
                <a:gd name="T13" fmla="*/ 232 h 232"/>
                <a:gd name="T14" fmla="*/ 4 w 161"/>
                <a:gd name="T15" fmla="*/ 232 h 232"/>
                <a:gd name="T16" fmla="*/ 0 w 161"/>
                <a:gd name="T17" fmla="*/ 229 h 232"/>
                <a:gd name="T18" fmla="*/ 0 w 161"/>
                <a:gd name="T19" fmla="*/ 3 h 232"/>
                <a:gd name="T20" fmla="*/ 3 w 161"/>
                <a:gd name="T21" fmla="*/ 0 h 232"/>
                <a:gd name="T22" fmla="*/ 93 w 161"/>
                <a:gd name="T23" fmla="*/ 0 h 232"/>
                <a:gd name="T24" fmla="*/ 127 w 161"/>
                <a:gd name="T25" fmla="*/ 8 h 232"/>
                <a:gd name="T26" fmla="*/ 151 w 161"/>
                <a:gd name="T27" fmla="*/ 31 h 232"/>
                <a:gd name="T28" fmla="*/ 159 w 161"/>
                <a:gd name="T29" fmla="*/ 66 h 232"/>
                <a:gd name="T30" fmla="*/ 147 w 161"/>
                <a:gd name="T31" fmla="*/ 105 h 232"/>
                <a:gd name="T32" fmla="*/ 113 w 161"/>
                <a:gd name="T33" fmla="*/ 127 h 232"/>
                <a:gd name="T34" fmla="*/ 113 w 161"/>
                <a:gd name="T35" fmla="*/ 128 h 232"/>
                <a:gd name="T36" fmla="*/ 161 w 161"/>
                <a:gd name="T37" fmla="*/ 228 h 232"/>
                <a:gd name="T38" fmla="*/ 161 w 161"/>
                <a:gd name="T39" fmla="*/ 229 h 232"/>
                <a:gd name="T40" fmla="*/ 159 w 161"/>
                <a:gd name="T41" fmla="*/ 232 h 232"/>
                <a:gd name="T42" fmla="*/ 132 w 161"/>
                <a:gd name="T43" fmla="*/ 232 h 232"/>
                <a:gd name="T44" fmla="*/ 128 w 161"/>
                <a:gd name="T45" fmla="*/ 229 h 232"/>
                <a:gd name="T46" fmla="*/ 32 w 161"/>
                <a:gd name="T47" fmla="*/ 29 h 232"/>
                <a:gd name="T48" fmla="*/ 32 w 161"/>
                <a:gd name="T49" fmla="*/ 103 h 232"/>
                <a:gd name="T50" fmla="*/ 33 w 161"/>
                <a:gd name="T51" fmla="*/ 104 h 232"/>
                <a:gd name="T52" fmla="*/ 88 w 161"/>
                <a:gd name="T53" fmla="*/ 104 h 232"/>
                <a:gd name="T54" fmla="*/ 117 w 161"/>
                <a:gd name="T55" fmla="*/ 94 h 232"/>
                <a:gd name="T56" fmla="*/ 127 w 161"/>
                <a:gd name="T57" fmla="*/ 66 h 232"/>
                <a:gd name="T58" fmla="*/ 117 w 161"/>
                <a:gd name="T59" fmla="*/ 38 h 232"/>
                <a:gd name="T60" fmla="*/ 88 w 161"/>
                <a:gd name="T61" fmla="*/ 27 h 232"/>
                <a:gd name="T62" fmla="*/ 33 w 161"/>
                <a:gd name="T63" fmla="*/ 27 h 232"/>
                <a:gd name="T64" fmla="*/ 32 w 161"/>
                <a:gd name="T65" fmla="*/ 29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61" h="232">
                  <a:moveTo>
                    <a:pt x="128" y="229"/>
                  </a:moveTo>
                  <a:cubicBezTo>
                    <a:pt x="82" y="130"/>
                    <a:pt x="82" y="130"/>
                    <a:pt x="82" y="130"/>
                  </a:cubicBezTo>
                  <a:cubicBezTo>
                    <a:pt x="82" y="130"/>
                    <a:pt x="81" y="129"/>
                    <a:pt x="81" y="129"/>
                  </a:cubicBezTo>
                  <a:cubicBezTo>
                    <a:pt x="33" y="129"/>
                    <a:pt x="33" y="129"/>
                    <a:pt x="33" y="129"/>
                  </a:cubicBezTo>
                  <a:cubicBezTo>
                    <a:pt x="32" y="129"/>
                    <a:pt x="32" y="130"/>
                    <a:pt x="32" y="131"/>
                  </a:cubicBezTo>
                  <a:cubicBezTo>
                    <a:pt x="32" y="228"/>
                    <a:pt x="32" y="228"/>
                    <a:pt x="32" y="228"/>
                  </a:cubicBezTo>
                  <a:cubicBezTo>
                    <a:pt x="32" y="231"/>
                    <a:pt x="31" y="232"/>
                    <a:pt x="29" y="232"/>
                  </a:cubicBezTo>
                  <a:cubicBezTo>
                    <a:pt x="4" y="232"/>
                    <a:pt x="4" y="232"/>
                    <a:pt x="4" y="232"/>
                  </a:cubicBezTo>
                  <a:cubicBezTo>
                    <a:pt x="1" y="232"/>
                    <a:pt x="0" y="231"/>
                    <a:pt x="0" y="229"/>
                  </a:cubicBezTo>
                  <a:cubicBezTo>
                    <a:pt x="0" y="3"/>
                    <a:pt x="0" y="3"/>
                    <a:pt x="0" y="3"/>
                  </a:cubicBezTo>
                  <a:cubicBezTo>
                    <a:pt x="0" y="1"/>
                    <a:pt x="1" y="0"/>
                    <a:pt x="3" y="0"/>
                  </a:cubicBezTo>
                  <a:cubicBezTo>
                    <a:pt x="93" y="0"/>
                    <a:pt x="93" y="0"/>
                    <a:pt x="93" y="0"/>
                  </a:cubicBezTo>
                  <a:cubicBezTo>
                    <a:pt x="106" y="0"/>
                    <a:pt x="117" y="3"/>
                    <a:pt x="127" y="8"/>
                  </a:cubicBezTo>
                  <a:cubicBezTo>
                    <a:pt x="137" y="14"/>
                    <a:pt x="145" y="21"/>
                    <a:pt x="151" y="31"/>
                  </a:cubicBezTo>
                  <a:cubicBezTo>
                    <a:pt x="156" y="41"/>
                    <a:pt x="159" y="53"/>
                    <a:pt x="159" y="66"/>
                  </a:cubicBezTo>
                  <a:cubicBezTo>
                    <a:pt x="159" y="81"/>
                    <a:pt x="155" y="94"/>
                    <a:pt x="147" y="105"/>
                  </a:cubicBezTo>
                  <a:cubicBezTo>
                    <a:pt x="138" y="116"/>
                    <a:pt x="127" y="123"/>
                    <a:pt x="113" y="127"/>
                  </a:cubicBezTo>
                  <a:cubicBezTo>
                    <a:pt x="113" y="127"/>
                    <a:pt x="112" y="128"/>
                    <a:pt x="113" y="128"/>
                  </a:cubicBezTo>
                  <a:cubicBezTo>
                    <a:pt x="161" y="228"/>
                    <a:pt x="161" y="228"/>
                    <a:pt x="161" y="228"/>
                  </a:cubicBezTo>
                  <a:cubicBezTo>
                    <a:pt x="161" y="228"/>
                    <a:pt x="161" y="229"/>
                    <a:pt x="161" y="229"/>
                  </a:cubicBezTo>
                  <a:cubicBezTo>
                    <a:pt x="161" y="231"/>
                    <a:pt x="160" y="232"/>
                    <a:pt x="159" y="232"/>
                  </a:cubicBezTo>
                  <a:cubicBezTo>
                    <a:pt x="132" y="232"/>
                    <a:pt x="132" y="232"/>
                    <a:pt x="132" y="232"/>
                  </a:cubicBezTo>
                  <a:cubicBezTo>
                    <a:pt x="130" y="232"/>
                    <a:pt x="129" y="231"/>
                    <a:pt x="128" y="229"/>
                  </a:cubicBezTo>
                  <a:moveTo>
                    <a:pt x="32" y="29"/>
                  </a:moveTo>
                  <a:cubicBezTo>
                    <a:pt x="32" y="103"/>
                    <a:pt x="32" y="103"/>
                    <a:pt x="32" y="103"/>
                  </a:cubicBezTo>
                  <a:cubicBezTo>
                    <a:pt x="32" y="104"/>
                    <a:pt x="32" y="104"/>
                    <a:pt x="33" y="104"/>
                  </a:cubicBezTo>
                  <a:cubicBezTo>
                    <a:pt x="88" y="104"/>
                    <a:pt x="88" y="104"/>
                    <a:pt x="88" y="104"/>
                  </a:cubicBezTo>
                  <a:cubicBezTo>
                    <a:pt x="100" y="104"/>
                    <a:pt x="109" y="101"/>
                    <a:pt x="117" y="94"/>
                  </a:cubicBezTo>
                  <a:cubicBezTo>
                    <a:pt x="124" y="87"/>
                    <a:pt x="127" y="78"/>
                    <a:pt x="127" y="66"/>
                  </a:cubicBezTo>
                  <a:cubicBezTo>
                    <a:pt x="127" y="55"/>
                    <a:pt x="124" y="45"/>
                    <a:pt x="117" y="38"/>
                  </a:cubicBezTo>
                  <a:cubicBezTo>
                    <a:pt x="109" y="31"/>
                    <a:pt x="100" y="27"/>
                    <a:pt x="88" y="27"/>
                  </a:cubicBezTo>
                  <a:cubicBezTo>
                    <a:pt x="33" y="27"/>
                    <a:pt x="33" y="27"/>
                    <a:pt x="33" y="27"/>
                  </a:cubicBezTo>
                  <a:cubicBezTo>
                    <a:pt x="32" y="27"/>
                    <a:pt x="32" y="28"/>
                    <a:pt x="32" y="29"/>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0" name="Freeform 24">
              <a:extLst>
                <a:ext uri="{FF2B5EF4-FFF2-40B4-BE49-F238E27FC236}">
                  <a16:creationId xmlns:a16="http://schemas.microsoft.com/office/drawing/2014/main" id="{3540DB54-3D91-6ADD-0C53-3EE8FB702C03}"/>
                </a:ext>
              </a:extLst>
            </p:cNvPr>
            <p:cNvSpPr>
              <a:spLocks/>
            </p:cNvSpPr>
            <p:nvPr userDrawn="1"/>
          </p:nvSpPr>
          <p:spPr bwMode="auto">
            <a:xfrm>
              <a:off x="6560" y="2858"/>
              <a:ext cx="48" cy="73"/>
            </a:xfrm>
            <a:custGeom>
              <a:avLst/>
              <a:gdLst>
                <a:gd name="T0" fmla="*/ 150 w 153"/>
                <a:gd name="T1" fmla="*/ 27 h 232"/>
                <a:gd name="T2" fmla="*/ 33 w 153"/>
                <a:gd name="T3" fmla="*/ 27 h 232"/>
                <a:gd name="T4" fmla="*/ 31 w 153"/>
                <a:gd name="T5" fmla="*/ 29 h 232"/>
                <a:gd name="T6" fmla="*/ 31 w 153"/>
                <a:gd name="T7" fmla="*/ 100 h 232"/>
                <a:gd name="T8" fmla="*/ 33 w 153"/>
                <a:gd name="T9" fmla="*/ 101 h 232"/>
                <a:gd name="T10" fmla="*/ 113 w 153"/>
                <a:gd name="T11" fmla="*/ 101 h 232"/>
                <a:gd name="T12" fmla="*/ 117 w 153"/>
                <a:gd name="T13" fmla="*/ 104 h 232"/>
                <a:gd name="T14" fmla="*/ 117 w 153"/>
                <a:gd name="T15" fmla="*/ 125 h 232"/>
                <a:gd name="T16" fmla="*/ 113 w 153"/>
                <a:gd name="T17" fmla="*/ 129 h 232"/>
                <a:gd name="T18" fmla="*/ 33 w 153"/>
                <a:gd name="T19" fmla="*/ 129 h 232"/>
                <a:gd name="T20" fmla="*/ 31 w 153"/>
                <a:gd name="T21" fmla="*/ 130 h 232"/>
                <a:gd name="T22" fmla="*/ 31 w 153"/>
                <a:gd name="T23" fmla="*/ 203 h 232"/>
                <a:gd name="T24" fmla="*/ 33 w 153"/>
                <a:gd name="T25" fmla="*/ 204 h 232"/>
                <a:gd name="T26" fmla="*/ 150 w 153"/>
                <a:gd name="T27" fmla="*/ 204 h 232"/>
                <a:gd name="T28" fmla="*/ 153 w 153"/>
                <a:gd name="T29" fmla="*/ 207 h 232"/>
                <a:gd name="T30" fmla="*/ 153 w 153"/>
                <a:gd name="T31" fmla="*/ 228 h 232"/>
                <a:gd name="T32" fmla="*/ 150 w 153"/>
                <a:gd name="T33" fmla="*/ 232 h 232"/>
                <a:gd name="T34" fmla="*/ 3 w 153"/>
                <a:gd name="T35" fmla="*/ 232 h 232"/>
                <a:gd name="T36" fmla="*/ 0 w 153"/>
                <a:gd name="T37" fmla="*/ 228 h 232"/>
                <a:gd name="T38" fmla="*/ 0 w 153"/>
                <a:gd name="T39" fmla="*/ 3 h 232"/>
                <a:gd name="T40" fmla="*/ 3 w 153"/>
                <a:gd name="T41" fmla="*/ 0 h 232"/>
                <a:gd name="T42" fmla="*/ 150 w 153"/>
                <a:gd name="T43" fmla="*/ 0 h 232"/>
                <a:gd name="T44" fmla="*/ 153 w 153"/>
                <a:gd name="T45" fmla="*/ 3 h 232"/>
                <a:gd name="T46" fmla="*/ 153 w 153"/>
                <a:gd name="T47" fmla="*/ 24 h 232"/>
                <a:gd name="T48" fmla="*/ 150 w 153"/>
                <a:gd name="T49" fmla="*/ 27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3" h="232">
                  <a:moveTo>
                    <a:pt x="150" y="27"/>
                  </a:moveTo>
                  <a:cubicBezTo>
                    <a:pt x="33" y="27"/>
                    <a:pt x="33" y="27"/>
                    <a:pt x="33" y="27"/>
                  </a:cubicBezTo>
                  <a:cubicBezTo>
                    <a:pt x="32" y="27"/>
                    <a:pt x="31" y="28"/>
                    <a:pt x="31" y="29"/>
                  </a:cubicBezTo>
                  <a:cubicBezTo>
                    <a:pt x="31" y="100"/>
                    <a:pt x="31" y="100"/>
                    <a:pt x="31" y="100"/>
                  </a:cubicBezTo>
                  <a:cubicBezTo>
                    <a:pt x="31" y="101"/>
                    <a:pt x="32" y="101"/>
                    <a:pt x="33" y="101"/>
                  </a:cubicBezTo>
                  <a:cubicBezTo>
                    <a:pt x="113" y="101"/>
                    <a:pt x="113" y="101"/>
                    <a:pt x="113" y="101"/>
                  </a:cubicBezTo>
                  <a:cubicBezTo>
                    <a:pt x="115" y="101"/>
                    <a:pt x="117" y="102"/>
                    <a:pt x="117" y="104"/>
                  </a:cubicBezTo>
                  <a:cubicBezTo>
                    <a:pt x="117" y="125"/>
                    <a:pt x="117" y="125"/>
                    <a:pt x="117" y="125"/>
                  </a:cubicBezTo>
                  <a:cubicBezTo>
                    <a:pt x="117" y="128"/>
                    <a:pt x="115" y="129"/>
                    <a:pt x="113" y="129"/>
                  </a:cubicBezTo>
                  <a:cubicBezTo>
                    <a:pt x="33" y="129"/>
                    <a:pt x="33" y="129"/>
                    <a:pt x="33" y="129"/>
                  </a:cubicBezTo>
                  <a:cubicBezTo>
                    <a:pt x="32" y="129"/>
                    <a:pt x="31" y="129"/>
                    <a:pt x="31" y="130"/>
                  </a:cubicBezTo>
                  <a:cubicBezTo>
                    <a:pt x="31" y="203"/>
                    <a:pt x="31" y="203"/>
                    <a:pt x="31" y="203"/>
                  </a:cubicBezTo>
                  <a:cubicBezTo>
                    <a:pt x="31" y="204"/>
                    <a:pt x="32" y="204"/>
                    <a:pt x="33" y="204"/>
                  </a:cubicBezTo>
                  <a:cubicBezTo>
                    <a:pt x="150" y="204"/>
                    <a:pt x="150" y="204"/>
                    <a:pt x="150" y="204"/>
                  </a:cubicBezTo>
                  <a:cubicBezTo>
                    <a:pt x="152" y="204"/>
                    <a:pt x="153" y="205"/>
                    <a:pt x="153" y="207"/>
                  </a:cubicBezTo>
                  <a:cubicBezTo>
                    <a:pt x="153" y="228"/>
                    <a:pt x="153" y="228"/>
                    <a:pt x="153" y="228"/>
                  </a:cubicBezTo>
                  <a:cubicBezTo>
                    <a:pt x="153" y="231"/>
                    <a:pt x="152" y="232"/>
                    <a:pt x="150" y="232"/>
                  </a:cubicBezTo>
                  <a:cubicBezTo>
                    <a:pt x="3" y="232"/>
                    <a:pt x="3" y="232"/>
                    <a:pt x="3" y="232"/>
                  </a:cubicBezTo>
                  <a:cubicBezTo>
                    <a:pt x="1" y="232"/>
                    <a:pt x="0" y="231"/>
                    <a:pt x="0" y="228"/>
                  </a:cubicBezTo>
                  <a:cubicBezTo>
                    <a:pt x="0" y="3"/>
                    <a:pt x="0" y="3"/>
                    <a:pt x="0" y="3"/>
                  </a:cubicBezTo>
                  <a:cubicBezTo>
                    <a:pt x="0" y="1"/>
                    <a:pt x="1" y="0"/>
                    <a:pt x="3" y="0"/>
                  </a:cubicBezTo>
                  <a:cubicBezTo>
                    <a:pt x="150" y="0"/>
                    <a:pt x="150" y="0"/>
                    <a:pt x="150" y="0"/>
                  </a:cubicBezTo>
                  <a:cubicBezTo>
                    <a:pt x="152" y="0"/>
                    <a:pt x="153" y="1"/>
                    <a:pt x="153" y="3"/>
                  </a:cubicBezTo>
                  <a:cubicBezTo>
                    <a:pt x="153" y="24"/>
                    <a:pt x="153" y="24"/>
                    <a:pt x="153" y="24"/>
                  </a:cubicBezTo>
                  <a:cubicBezTo>
                    <a:pt x="153" y="26"/>
                    <a:pt x="152" y="27"/>
                    <a:pt x="150" y="27"/>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1" name="Freeform 25">
              <a:extLst>
                <a:ext uri="{FF2B5EF4-FFF2-40B4-BE49-F238E27FC236}">
                  <a16:creationId xmlns:a16="http://schemas.microsoft.com/office/drawing/2014/main" id="{BF760519-8724-E4A0-1223-2A7D885EB78D}"/>
                </a:ext>
              </a:extLst>
            </p:cNvPr>
            <p:cNvSpPr>
              <a:spLocks noEditPoints="1"/>
            </p:cNvSpPr>
            <p:nvPr userDrawn="1"/>
          </p:nvSpPr>
          <p:spPr bwMode="auto">
            <a:xfrm>
              <a:off x="6614" y="2858"/>
              <a:ext cx="59" cy="73"/>
            </a:xfrm>
            <a:custGeom>
              <a:avLst/>
              <a:gdLst>
                <a:gd name="T0" fmla="*/ 154 w 188"/>
                <a:gd name="T1" fmla="*/ 229 h 232"/>
                <a:gd name="T2" fmla="*/ 142 w 188"/>
                <a:gd name="T3" fmla="*/ 190 h 232"/>
                <a:gd name="T4" fmla="*/ 141 w 188"/>
                <a:gd name="T5" fmla="*/ 189 h 232"/>
                <a:gd name="T6" fmla="*/ 47 w 188"/>
                <a:gd name="T7" fmla="*/ 189 h 232"/>
                <a:gd name="T8" fmla="*/ 46 w 188"/>
                <a:gd name="T9" fmla="*/ 190 h 232"/>
                <a:gd name="T10" fmla="*/ 34 w 188"/>
                <a:gd name="T11" fmla="*/ 229 h 232"/>
                <a:gd name="T12" fmla="*/ 30 w 188"/>
                <a:gd name="T13" fmla="*/ 232 h 232"/>
                <a:gd name="T14" fmla="*/ 3 w 188"/>
                <a:gd name="T15" fmla="*/ 232 h 232"/>
                <a:gd name="T16" fmla="*/ 1 w 188"/>
                <a:gd name="T17" fmla="*/ 228 h 232"/>
                <a:gd name="T18" fmla="*/ 73 w 188"/>
                <a:gd name="T19" fmla="*/ 2 h 232"/>
                <a:gd name="T20" fmla="*/ 77 w 188"/>
                <a:gd name="T21" fmla="*/ 0 h 232"/>
                <a:gd name="T22" fmla="*/ 110 w 188"/>
                <a:gd name="T23" fmla="*/ 0 h 232"/>
                <a:gd name="T24" fmla="*/ 114 w 188"/>
                <a:gd name="T25" fmla="*/ 2 h 232"/>
                <a:gd name="T26" fmla="*/ 187 w 188"/>
                <a:gd name="T27" fmla="*/ 228 h 232"/>
                <a:gd name="T28" fmla="*/ 188 w 188"/>
                <a:gd name="T29" fmla="*/ 229 h 232"/>
                <a:gd name="T30" fmla="*/ 185 w 188"/>
                <a:gd name="T31" fmla="*/ 232 h 232"/>
                <a:gd name="T32" fmla="*/ 158 w 188"/>
                <a:gd name="T33" fmla="*/ 232 h 232"/>
                <a:gd name="T34" fmla="*/ 154 w 188"/>
                <a:gd name="T35" fmla="*/ 229 h 232"/>
                <a:gd name="T36" fmla="*/ 55 w 188"/>
                <a:gd name="T37" fmla="*/ 164 h 232"/>
                <a:gd name="T38" fmla="*/ 56 w 188"/>
                <a:gd name="T39" fmla="*/ 164 h 232"/>
                <a:gd name="T40" fmla="*/ 132 w 188"/>
                <a:gd name="T41" fmla="*/ 164 h 232"/>
                <a:gd name="T42" fmla="*/ 133 w 188"/>
                <a:gd name="T43" fmla="*/ 163 h 232"/>
                <a:gd name="T44" fmla="*/ 133 w 188"/>
                <a:gd name="T45" fmla="*/ 162 h 232"/>
                <a:gd name="T46" fmla="*/ 95 w 188"/>
                <a:gd name="T47" fmla="*/ 40 h 232"/>
                <a:gd name="T48" fmla="*/ 94 w 188"/>
                <a:gd name="T49" fmla="*/ 39 h 232"/>
                <a:gd name="T50" fmla="*/ 93 w 188"/>
                <a:gd name="T51" fmla="*/ 40 h 232"/>
                <a:gd name="T52" fmla="*/ 55 w 188"/>
                <a:gd name="T53" fmla="*/ 162 h 232"/>
                <a:gd name="T54" fmla="*/ 55 w 188"/>
                <a:gd name="T55" fmla="*/ 164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88" h="232">
                  <a:moveTo>
                    <a:pt x="154" y="229"/>
                  </a:moveTo>
                  <a:cubicBezTo>
                    <a:pt x="142" y="190"/>
                    <a:pt x="142" y="190"/>
                    <a:pt x="142" y="190"/>
                  </a:cubicBezTo>
                  <a:cubicBezTo>
                    <a:pt x="142" y="189"/>
                    <a:pt x="141" y="189"/>
                    <a:pt x="141" y="189"/>
                  </a:cubicBezTo>
                  <a:cubicBezTo>
                    <a:pt x="47" y="189"/>
                    <a:pt x="47" y="189"/>
                    <a:pt x="47" y="189"/>
                  </a:cubicBezTo>
                  <a:cubicBezTo>
                    <a:pt x="47" y="189"/>
                    <a:pt x="46" y="190"/>
                    <a:pt x="46" y="190"/>
                  </a:cubicBezTo>
                  <a:cubicBezTo>
                    <a:pt x="34" y="229"/>
                    <a:pt x="34" y="229"/>
                    <a:pt x="34" y="229"/>
                  </a:cubicBezTo>
                  <a:cubicBezTo>
                    <a:pt x="33" y="231"/>
                    <a:pt x="32" y="232"/>
                    <a:pt x="30" y="232"/>
                  </a:cubicBezTo>
                  <a:cubicBezTo>
                    <a:pt x="3" y="232"/>
                    <a:pt x="3" y="232"/>
                    <a:pt x="3" y="232"/>
                  </a:cubicBezTo>
                  <a:cubicBezTo>
                    <a:pt x="1" y="232"/>
                    <a:pt x="0" y="230"/>
                    <a:pt x="1" y="228"/>
                  </a:cubicBezTo>
                  <a:cubicBezTo>
                    <a:pt x="73" y="2"/>
                    <a:pt x="73" y="2"/>
                    <a:pt x="73" y="2"/>
                  </a:cubicBezTo>
                  <a:cubicBezTo>
                    <a:pt x="74" y="1"/>
                    <a:pt x="75" y="0"/>
                    <a:pt x="77" y="0"/>
                  </a:cubicBezTo>
                  <a:cubicBezTo>
                    <a:pt x="110" y="0"/>
                    <a:pt x="110" y="0"/>
                    <a:pt x="110" y="0"/>
                  </a:cubicBezTo>
                  <a:cubicBezTo>
                    <a:pt x="112" y="0"/>
                    <a:pt x="114" y="1"/>
                    <a:pt x="114" y="2"/>
                  </a:cubicBezTo>
                  <a:cubicBezTo>
                    <a:pt x="187" y="228"/>
                    <a:pt x="187" y="228"/>
                    <a:pt x="187" y="228"/>
                  </a:cubicBezTo>
                  <a:cubicBezTo>
                    <a:pt x="188" y="229"/>
                    <a:pt x="188" y="229"/>
                    <a:pt x="188" y="229"/>
                  </a:cubicBezTo>
                  <a:cubicBezTo>
                    <a:pt x="188" y="231"/>
                    <a:pt x="187" y="232"/>
                    <a:pt x="185" y="232"/>
                  </a:cubicBezTo>
                  <a:cubicBezTo>
                    <a:pt x="158" y="232"/>
                    <a:pt x="158" y="232"/>
                    <a:pt x="158" y="232"/>
                  </a:cubicBezTo>
                  <a:cubicBezTo>
                    <a:pt x="156" y="232"/>
                    <a:pt x="155" y="231"/>
                    <a:pt x="154" y="229"/>
                  </a:cubicBezTo>
                  <a:moveTo>
                    <a:pt x="55" y="164"/>
                  </a:moveTo>
                  <a:cubicBezTo>
                    <a:pt x="55" y="164"/>
                    <a:pt x="55" y="164"/>
                    <a:pt x="56" y="164"/>
                  </a:cubicBezTo>
                  <a:cubicBezTo>
                    <a:pt x="132" y="164"/>
                    <a:pt x="132" y="164"/>
                    <a:pt x="132" y="164"/>
                  </a:cubicBezTo>
                  <a:cubicBezTo>
                    <a:pt x="132" y="164"/>
                    <a:pt x="133" y="164"/>
                    <a:pt x="133" y="163"/>
                  </a:cubicBezTo>
                  <a:cubicBezTo>
                    <a:pt x="134" y="163"/>
                    <a:pt x="134" y="163"/>
                    <a:pt x="133" y="162"/>
                  </a:cubicBezTo>
                  <a:cubicBezTo>
                    <a:pt x="95" y="40"/>
                    <a:pt x="95" y="40"/>
                    <a:pt x="95" y="40"/>
                  </a:cubicBezTo>
                  <a:cubicBezTo>
                    <a:pt x="94" y="39"/>
                    <a:pt x="94" y="39"/>
                    <a:pt x="94" y="39"/>
                  </a:cubicBezTo>
                  <a:cubicBezTo>
                    <a:pt x="93" y="39"/>
                    <a:pt x="93" y="39"/>
                    <a:pt x="93" y="40"/>
                  </a:cubicBezTo>
                  <a:cubicBezTo>
                    <a:pt x="55" y="162"/>
                    <a:pt x="55" y="162"/>
                    <a:pt x="55" y="162"/>
                  </a:cubicBezTo>
                  <a:cubicBezTo>
                    <a:pt x="54" y="163"/>
                    <a:pt x="54" y="163"/>
                    <a:pt x="55" y="164"/>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2" name="Freeform 26">
              <a:extLst>
                <a:ext uri="{FF2B5EF4-FFF2-40B4-BE49-F238E27FC236}">
                  <a16:creationId xmlns:a16="http://schemas.microsoft.com/office/drawing/2014/main" id="{14F4B067-C20C-5952-CBB1-F8197E4A6632}"/>
                </a:ext>
              </a:extLst>
            </p:cNvPr>
            <p:cNvSpPr>
              <a:spLocks/>
            </p:cNvSpPr>
            <p:nvPr userDrawn="1"/>
          </p:nvSpPr>
          <p:spPr bwMode="auto">
            <a:xfrm>
              <a:off x="6668" y="2858"/>
              <a:ext cx="52" cy="73"/>
            </a:xfrm>
            <a:custGeom>
              <a:avLst/>
              <a:gdLst>
                <a:gd name="T0" fmla="*/ 165 w 165"/>
                <a:gd name="T1" fmla="*/ 3 h 232"/>
                <a:gd name="T2" fmla="*/ 165 w 165"/>
                <a:gd name="T3" fmla="*/ 24 h 232"/>
                <a:gd name="T4" fmla="*/ 161 w 165"/>
                <a:gd name="T5" fmla="*/ 27 h 232"/>
                <a:gd name="T6" fmla="*/ 98 w 165"/>
                <a:gd name="T7" fmla="*/ 27 h 232"/>
                <a:gd name="T8" fmla="*/ 97 w 165"/>
                <a:gd name="T9" fmla="*/ 29 h 232"/>
                <a:gd name="T10" fmla="*/ 97 w 165"/>
                <a:gd name="T11" fmla="*/ 228 h 232"/>
                <a:gd name="T12" fmla="*/ 94 w 165"/>
                <a:gd name="T13" fmla="*/ 231 h 232"/>
                <a:gd name="T14" fmla="*/ 68 w 165"/>
                <a:gd name="T15" fmla="*/ 232 h 232"/>
                <a:gd name="T16" fmla="*/ 65 w 165"/>
                <a:gd name="T17" fmla="*/ 228 h 232"/>
                <a:gd name="T18" fmla="*/ 65 w 165"/>
                <a:gd name="T19" fmla="*/ 29 h 232"/>
                <a:gd name="T20" fmla="*/ 64 w 165"/>
                <a:gd name="T21" fmla="*/ 27 h 232"/>
                <a:gd name="T22" fmla="*/ 3 w 165"/>
                <a:gd name="T23" fmla="*/ 27 h 232"/>
                <a:gd name="T24" fmla="*/ 0 w 165"/>
                <a:gd name="T25" fmla="*/ 24 h 232"/>
                <a:gd name="T26" fmla="*/ 0 w 165"/>
                <a:gd name="T27" fmla="*/ 3 h 232"/>
                <a:gd name="T28" fmla="*/ 3 w 165"/>
                <a:gd name="T29" fmla="*/ 0 h 232"/>
                <a:gd name="T30" fmla="*/ 161 w 165"/>
                <a:gd name="T31" fmla="*/ 0 h 232"/>
                <a:gd name="T32" fmla="*/ 165 w 165"/>
                <a:gd name="T33" fmla="*/ 3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5" h="232">
                  <a:moveTo>
                    <a:pt x="165" y="3"/>
                  </a:moveTo>
                  <a:cubicBezTo>
                    <a:pt x="165" y="24"/>
                    <a:pt x="165" y="24"/>
                    <a:pt x="165" y="24"/>
                  </a:cubicBezTo>
                  <a:cubicBezTo>
                    <a:pt x="165" y="26"/>
                    <a:pt x="164" y="27"/>
                    <a:pt x="161" y="27"/>
                  </a:cubicBezTo>
                  <a:cubicBezTo>
                    <a:pt x="98" y="27"/>
                    <a:pt x="98" y="27"/>
                    <a:pt x="98" y="27"/>
                  </a:cubicBezTo>
                  <a:cubicBezTo>
                    <a:pt x="97" y="27"/>
                    <a:pt x="97" y="28"/>
                    <a:pt x="97" y="29"/>
                  </a:cubicBezTo>
                  <a:cubicBezTo>
                    <a:pt x="97" y="228"/>
                    <a:pt x="97" y="228"/>
                    <a:pt x="97" y="228"/>
                  </a:cubicBezTo>
                  <a:cubicBezTo>
                    <a:pt x="97" y="230"/>
                    <a:pt x="96" y="231"/>
                    <a:pt x="94" y="231"/>
                  </a:cubicBezTo>
                  <a:cubicBezTo>
                    <a:pt x="68" y="232"/>
                    <a:pt x="68" y="232"/>
                    <a:pt x="68" y="232"/>
                  </a:cubicBezTo>
                  <a:cubicBezTo>
                    <a:pt x="66" y="232"/>
                    <a:pt x="65" y="230"/>
                    <a:pt x="65" y="228"/>
                  </a:cubicBezTo>
                  <a:cubicBezTo>
                    <a:pt x="65" y="29"/>
                    <a:pt x="65" y="29"/>
                    <a:pt x="65" y="29"/>
                  </a:cubicBezTo>
                  <a:cubicBezTo>
                    <a:pt x="65" y="28"/>
                    <a:pt x="65" y="27"/>
                    <a:pt x="64" y="27"/>
                  </a:cubicBezTo>
                  <a:cubicBezTo>
                    <a:pt x="3" y="27"/>
                    <a:pt x="3" y="27"/>
                    <a:pt x="3" y="27"/>
                  </a:cubicBezTo>
                  <a:cubicBezTo>
                    <a:pt x="1" y="27"/>
                    <a:pt x="0" y="26"/>
                    <a:pt x="0" y="24"/>
                  </a:cubicBezTo>
                  <a:cubicBezTo>
                    <a:pt x="0" y="3"/>
                    <a:pt x="0" y="3"/>
                    <a:pt x="0" y="3"/>
                  </a:cubicBezTo>
                  <a:cubicBezTo>
                    <a:pt x="0" y="1"/>
                    <a:pt x="1" y="0"/>
                    <a:pt x="3" y="0"/>
                  </a:cubicBezTo>
                  <a:cubicBezTo>
                    <a:pt x="161" y="0"/>
                    <a:pt x="161" y="0"/>
                    <a:pt x="161" y="0"/>
                  </a:cubicBezTo>
                  <a:cubicBezTo>
                    <a:pt x="164" y="0"/>
                    <a:pt x="165" y="1"/>
                    <a:pt x="165" y="3"/>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3" name="Freeform 27">
              <a:extLst>
                <a:ext uri="{FF2B5EF4-FFF2-40B4-BE49-F238E27FC236}">
                  <a16:creationId xmlns:a16="http://schemas.microsoft.com/office/drawing/2014/main" id="{34A407D1-465E-4834-6778-CCF25D091DCA}"/>
                </a:ext>
              </a:extLst>
            </p:cNvPr>
            <p:cNvSpPr>
              <a:spLocks/>
            </p:cNvSpPr>
            <p:nvPr userDrawn="1"/>
          </p:nvSpPr>
          <p:spPr bwMode="auto">
            <a:xfrm>
              <a:off x="6730" y="2858"/>
              <a:ext cx="10" cy="72"/>
            </a:xfrm>
            <a:custGeom>
              <a:avLst/>
              <a:gdLst>
                <a:gd name="T0" fmla="*/ 4 w 32"/>
                <a:gd name="T1" fmla="*/ 0 h 231"/>
                <a:gd name="T2" fmla="*/ 29 w 32"/>
                <a:gd name="T3" fmla="*/ 0 h 231"/>
                <a:gd name="T4" fmla="*/ 32 w 32"/>
                <a:gd name="T5" fmla="*/ 3 h 231"/>
                <a:gd name="T6" fmla="*/ 32 w 32"/>
                <a:gd name="T7" fmla="*/ 228 h 231"/>
                <a:gd name="T8" fmla="*/ 29 w 32"/>
                <a:gd name="T9" fmla="*/ 231 h 231"/>
                <a:gd name="T10" fmla="*/ 4 w 32"/>
                <a:gd name="T11" fmla="*/ 231 h 231"/>
                <a:gd name="T12" fmla="*/ 1 w 32"/>
                <a:gd name="T13" fmla="*/ 228 h 231"/>
                <a:gd name="T14" fmla="*/ 0 w 32"/>
                <a:gd name="T15" fmla="*/ 3 h 231"/>
                <a:gd name="T16" fmla="*/ 4 w 32"/>
                <a:gd name="T17" fmla="*/ 0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231">
                  <a:moveTo>
                    <a:pt x="4" y="0"/>
                  </a:moveTo>
                  <a:cubicBezTo>
                    <a:pt x="29" y="0"/>
                    <a:pt x="29" y="0"/>
                    <a:pt x="29" y="0"/>
                  </a:cubicBezTo>
                  <a:cubicBezTo>
                    <a:pt x="31" y="0"/>
                    <a:pt x="32" y="1"/>
                    <a:pt x="32" y="3"/>
                  </a:cubicBezTo>
                  <a:cubicBezTo>
                    <a:pt x="32" y="228"/>
                    <a:pt x="32" y="228"/>
                    <a:pt x="32" y="228"/>
                  </a:cubicBezTo>
                  <a:cubicBezTo>
                    <a:pt x="32" y="230"/>
                    <a:pt x="31" y="231"/>
                    <a:pt x="29" y="231"/>
                  </a:cubicBezTo>
                  <a:cubicBezTo>
                    <a:pt x="4" y="231"/>
                    <a:pt x="4" y="231"/>
                    <a:pt x="4" y="231"/>
                  </a:cubicBezTo>
                  <a:cubicBezTo>
                    <a:pt x="2" y="231"/>
                    <a:pt x="1" y="230"/>
                    <a:pt x="1" y="228"/>
                  </a:cubicBezTo>
                  <a:cubicBezTo>
                    <a:pt x="0" y="3"/>
                    <a:pt x="0" y="3"/>
                    <a:pt x="0" y="3"/>
                  </a:cubicBezTo>
                  <a:cubicBezTo>
                    <a:pt x="0" y="1"/>
                    <a:pt x="2" y="0"/>
                    <a:pt x="4" y="0"/>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4" name="Freeform 28">
              <a:extLst>
                <a:ext uri="{FF2B5EF4-FFF2-40B4-BE49-F238E27FC236}">
                  <a16:creationId xmlns:a16="http://schemas.microsoft.com/office/drawing/2014/main" id="{DD695AA3-E97D-B102-EB30-F81D584A3E3B}"/>
                </a:ext>
              </a:extLst>
            </p:cNvPr>
            <p:cNvSpPr>
              <a:spLocks/>
            </p:cNvSpPr>
            <p:nvPr userDrawn="1"/>
          </p:nvSpPr>
          <p:spPr bwMode="auto">
            <a:xfrm>
              <a:off x="6756" y="2858"/>
              <a:ext cx="52" cy="72"/>
            </a:xfrm>
            <a:custGeom>
              <a:avLst/>
              <a:gdLst>
                <a:gd name="T0" fmla="*/ 140 w 168"/>
                <a:gd name="T1" fmla="*/ 0 h 232"/>
                <a:gd name="T2" fmla="*/ 165 w 168"/>
                <a:gd name="T3" fmla="*/ 0 h 232"/>
                <a:gd name="T4" fmla="*/ 168 w 168"/>
                <a:gd name="T5" fmla="*/ 4 h 232"/>
                <a:gd name="T6" fmla="*/ 168 w 168"/>
                <a:gd name="T7" fmla="*/ 229 h 232"/>
                <a:gd name="T8" fmla="*/ 165 w 168"/>
                <a:gd name="T9" fmla="*/ 232 h 232"/>
                <a:gd name="T10" fmla="*/ 141 w 168"/>
                <a:gd name="T11" fmla="*/ 232 h 232"/>
                <a:gd name="T12" fmla="*/ 137 w 168"/>
                <a:gd name="T13" fmla="*/ 230 h 232"/>
                <a:gd name="T14" fmla="*/ 33 w 168"/>
                <a:gd name="T15" fmla="*/ 61 h 232"/>
                <a:gd name="T16" fmla="*/ 32 w 168"/>
                <a:gd name="T17" fmla="*/ 60 h 232"/>
                <a:gd name="T18" fmla="*/ 31 w 168"/>
                <a:gd name="T19" fmla="*/ 61 h 232"/>
                <a:gd name="T20" fmla="*/ 32 w 168"/>
                <a:gd name="T21" fmla="*/ 229 h 232"/>
                <a:gd name="T22" fmla="*/ 29 w 168"/>
                <a:gd name="T23" fmla="*/ 232 h 232"/>
                <a:gd name="T24" fmla="*/ 3 w 168"/>
                <a:gd name="T25" fmla="*/ 232 h 232"/>
                <a:gd name="T26" fmla="*/ 0 w 168"/>
                <a:gd name="T27" fmla="*/ 229 h 232"/>
                <a:gd name="T28" fmla="*/ 0 w 168"/>
                <a:gd name="T29" fmla="*/ 4 h 232"/>
                <a:gd name="T30" fmla="*/ 3 w 168"/>
                <a:gd name="T31" fmla="*/ 1 h 232"/>
                <a:gd name="T32" fmla="*/ 28 w 168"/>
                <a:gd name="T33" fmla="*/ 0 h 232"/>
                <a:gd name="T34" fmla="*/ 32 w 168"/>
                <a:gd name="T35" fmla="*/ 3 h 232"/>
                <a:gd name="T36" fmla="*/ 135 w 168"/>
                <a:gd name="T37" fmla="*/ 172 h 232"/>
                <a:gd name="T38" fmla="*/ 136 w 168"/>
                <a:gd name="T39" fmla="*/ 173 h 232"/>
                <a:gd name="T40" fmla="*/ 137 w 168"/>
                <a:gd name="T41" fmla="*/ 172 h 232"/>
                <a:gd name="T42" fmla="*/ 136 w 168"/>
                <a:gd name="T43" fmla="*/ 4 h 232"/>
                <a:gd name="T44" fmla="*/ 140 w 168"/>
                <a:gd name="T45" fmla="*/ 0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8" h="232">
                  <a:moveTo>
                    <a:pt x="140" y="0"/>
                  </a:moveTo>
                  <a:cubicBezTo>
                    <a:pt x="165" y="0"/>
                    <a:pt x="165" y="0"/>
                    <a:pt x="165" y="0"/>
                  </a:cubicBezTo>
                  <a:cubicBezTo>
                    <a:pt x="167" y="0"/>
                    <a:pt x="168" y="2"/>
                    <a:pt x="168" y="4"/>
                  </a:cubicBezTo>
                  <a:cubicBezTo>
                    <a:pt x="168" y="229"/>
                    <a:pt x="168" y="229"/>
                    <a:pt x="168" y="229"/>
                  </a:cubicBezTo>
                  <a:cubicBezTo>
                    <a:pt x="168" y="231"/>
                    <a:pt x="167" y="232"/>
                    <a:pt x="165" y="232"/>
                  </a:cubicBezTo>
                  <a:cubicBezTo>
                    <a:pt x="141" y="232"/>
                    <a:pt x="141" y="232"/>
                    <a:pt x="141" y="232"/>
                  </a:cubicBezTo>
                  <a:cubicBezTo>
                    <a:pt x="139" y="232"/>
                    <a:pt x="138" y="232"/>
                    <a:pt x="137" y="230"/>
                  </a:cubicBezTo>
                  <a:cubicBezTo>
                    <a:pt x="33" y="61"/>
                    <a:pt x="33" y="61"/>
                    <a:pt x="33" y="61"/>
                  </a:cubicBezTo>
                  <a:cubicBezTo>
                    <a:pt x="33" y="60"/>
                    <a:pt x="32" y="60"/>
                    <a:pt x="32" y="60"/>
                  </a:cubicBezTo>
                  <a:cubicBezTo>
                    <a:pt x="32" y="60"/>
                    <a:pt x="31" y="60"/>
                    <a:pt x="31" y="61"/>
                  </a:cubicBezTo>
                  <a:cubicBezTo>
                    <a:pt x="32" y="229"/>
                    <a:pt x="32" y="229"/>
                    <a:pt x="32" y="229"/>
                  </a:cubicBezTo>
                  <a:cubicBezTo>
                    <a:pt x="32" y="231"/>
                    <a:pt x="31" y="232"/>
                    <a:pt x="29" y="232"/>
                  </a:cubicBezTo>
                  <a:cubicBezTo>
                    <a:pt x="3" y="232"/>
                    <a:pt x="3" y="232"/>
                    <a:pt x="3" y="232"/>
                  </a:cubicBezTo>
                  <a:cubicBezTo>
                    <a:pt x="1" y="232"/>
                    <a:pt x="0" y="231"/>
                    <a:pt x="0" y="229"/>
                  </a:cubicBezTo>
                  <a:cubicBezTo>
                    <a:pt x="0" y="4"/>
                    <a:pt x="0" y="4"/>
                    <a:pt x="0" y="4"/>
                  </a:cubicBezTo>
                  <a:cubicBezTo>
                    <a:pt x="0" y="2"/>
                    <a:pt x="1" y="1"/>
                    <a:pt x="3" y="1"/>
                  </a:cubicBezTo>
                  <a:cubicBezTo>
                    <a:pt x="28" y="0"/>
                    <a:pt x="28" y="0"/>
                    <a:pt x="28" y="0"/>
                  </a:cubicBezTo>
                  <a:cubicBezTo>
                    <a:pt x="29" y="0"/>
                    <a:pt x="31" y="1"/>
                    <a:pt x="32" y="3"/>
                  </a:cubicBezTo>
                  <a:cubicBezTo>
                    <a:pt x="135" y="172"/>
                    <a:pt x="135" y="172"/>
                    <a:pt x="135" y="172"/>
                  </a:cubicBezTo>
                  <a:cubicBezTo>
                    <a:pt x="135" y="173"/>
                    <a:pt x="136" y="173"/>
                    <a:pt x="136" y="173"/>
                  </a:cubicBezTo>
                  <a:cubicBezTo>
                    <a:pt x="137" y="173"/>
                    <a:pt x="137" y="172"/>
                    <a:pt x="137" y="172"/>
                  </a:cubicBezTo>
                  <a:cubicBezTo>
                    <a:pt x="136" y="4"/>
                    <a:pt x="136" y="4"/>
                    <a:pt x="136" y="4"/>
                  </a:cubicBezTo>
                  <a:cubicBezTo>
                    <a:pt x="136" y="2"/>
                    <a:pt x="137" y="0"/>
                    <a:pt x="140" y="0"/>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5" name="Freeform 29">
              <a:extLst>
                <a:ext uri="{FF2B5EF4-FFF2-40B4-BE49-F238E27FC236}">
                  <a16:creationId xmlns:a16="http://schemas.microsoft.com/office/drawing/2014/main" id="{DBD0E769-F89B-14A1-7A35-F2AFABEA01F8}"/>
                </a:ext>
              </a:extLst>
            </p:cNvPr>
            <p:cNvSpPr>
              <a:spLocks/>
            </p:cNvSpPr>
            <p:nvPr userDrawn="1"/>
          </p:nvSpPr>
          <p:spPr bwMode="auto">
            <a:xfrm>
              <a:off x="6822" y="2857"/>
              <a:ext cx="50" cy="74"/>
            </a:xfrm>
            <a:custGeom>
              <a:avLst/>
              <a:gdLst>
                <a:gd name="T0" fmla="*/ 38 w 161"/>
                <a:gd name="T1" fmla="*/ 227 h 237"/>
                <a:gd name="T2" fmla="*/ 10 w 161"/>
                <a:gd name="T3" fmla="*/ 201 h 237"/>
                <a:gd name="T4" fmla="*/ 0 w 161"/>
                <a:gd name="T5" fmla="*/ 161 h 237"/>
                <a:gd name="T6" fmla="*/ 0 w 161"/>
                <a:gd name="T7" fmla="*/ 76 h 237"/>
                <a:gd name="T8" fmla="*/ 10 w 161"/>
                <a:gd name="T9" fmla="*/ 36 h 237"/>
                <a:gd name="T10" fmla="*/ 38 w 161"/>
                <a:gd name="T11" fmla="*/ 9 h 237"/>
                <a:gd name="T12" fmla="*/ 80 w 161"/>
                <a:gd name="T13" fmla="*/ 0 h 237"/>
                <a:gd name="T14" fmla="*/ 122 w 161"/>
                <a:gd name="T15" fmla="*/ 9 h 237"/>
                <a:gd name="T16" fmla="*/ 151 w 161"/>
                <a:gd name="T17" fmla="*/ 35 h 237"/>
                <a:gd name="T18" fmla="*/ 161 w 161"/>
                <a:gd name="T19" fmla="*/ 72 h 237"/>
                <a:gd name="T20" fmla="*/ 161 w 161"/>
                <a:gd name="T21" fmla="*/ 75 h 237"/>
                <a:gd name="T22" fmla="*/ 157 w 161"/>
                <a:gd name="T23" fmla="*/ 78 h 237"/>
                <a:gd name="T24" fmla="*/ 132 w 161"/>
                <a:gd name="T25" fmla="*/ 79 h 237"/>
                <a:gd name="T26" fmla="*/ 129 w 161"/>
                <a:gd name="T27" fmla="*/ 75 h 237"/>
                <a:gd name="T28" fmla="*/ 129 w 161"/>
                <a:gd name="T29" fmla="*/ 72 h 237"/>
                <a:gd name="T30" fmla="*/ 116 w 161"/>
                <a:gd name="T31" fmla="*/ 40 h 237"/>
                <a:gd name="T32" fmla="*/ 80 w 161"/>
                <a:gd name="T33" fmla="*/ 28 h 237"/>
                <a:gd name="T34" fmla="*/ 45 w 161"/>
                <a:gd name="T35" fmla="*/ 40 h 237"/>
                <a:gd name="T36" fmla="*/ 31 w 161"/>
                <a:gd name="T37" fmla="*/ 75 h 237"/>
                <a:gd name="T38" fmla="*/ 31 w 161"/>
                <a:gd name="T39" fmla="*/ 162 h 237"/>
                <a:gd name="T40" fmla="*/ 45 w 161"/>
                <a:gd name="T41" fmla="*/ 196 h 237"/>
                <a:gd name="T42" fmla="*/ 81 w 161"/>
                <a:gd name="T43" fmla="*/ 209 h 237"/>
                <a:gd name="T44" fmla="*/ 116 w 161"/>
                <a:gd name="T45" fmla="*/ 198 h 237"/>
                <a:gd name="T46" fmla="*/ 129 w 161"/>
                <a:gd name="T47" fmla="*/ 166 h 237"/>
                <a:gd name="T48" fmla="*/ 129 w 161"/>
                <a:gd name="T49" fmla="*/ 141 h 237"/>
                <a:gd name="T50" fmla="*/ 127 w 161"/>
                <a:gd name="T51" fmla="*/ 139 h 237"/>
                <a:gd name="T52" fmla="*/ 83 w 161"/>
                <a:gd name="T53" fmla="*/ 139 h 237"/>
                <a:gd name="T54" fmla="*/ 79 w 161"/>
                <a:gd name="T55" fmla="*/ 136 h 237"/>
                <a:gd name="T56" fmla="*/ 79 w 161"/>
                <a:gd name="T57" fmla="*/ 116 h 237"/>
                <a:gd name="T58" fmla="*/ 83 w 161"/>
                <a:gd name="T59" fmla="*/ 112 h 237"/>
                <a:gd name="T60" fmla="*/ 157 w 161"/>
                <a:gd name="T61" fmla="*/ 112 h 237"/>
                <a:gd name="T62" fmla="*/ 161 w 161"/>
                <a:gd name="T63" fmla="*/ 116 h 237"/>
                <a:gd name="T64" fmla="*/ 161 w 161"/>
                <a:gd name="T65" fmla="*/ 158 h 237"/>
                <a:gd name="T66" fmla="*/ 139 w 161"/>
                <a:gd name="T67" fmla="*/ 216 h 237"/>
                <a:gd name="T68" fmla="*/ 81 w 161"/>
                <a:gd name="T69" fmla="*/ 237 h 237"/>
                <a:gd name="T70" fmla="*/ 38 w 161"/>
                <a:gd name="T71" fmla="*/ 227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61" h="237">
                  <a:moveTo>
                    <a:pt x="38" y="227"/>
                  </a:moveTo>
                  <a:cubicBezTo>
                    <a:pt x="26" y="221"/>
                    <a:pt x="17" y="212"/>
                    <a:pt x="10" y="201"/>
                  </a:cubicBezTo>
                  <a:cubicBezTo>
                    <a:pt x="3" y="189"/>
                    <a:pt x="0" y="176"/>
                    <a:pt x="0" y="161"/>
                  </a:cubicBezTo>
                  <a:cubicBezTo>
                    <a:pt x="0" y="76"/>
                    <a:pt x="0" y="76"/>
                    <a:pt x="0" y="76"/>
                  </a:cubicBezTo>
                  <a:cubicBezTo>
                    <a:pt x="0" y="61"/>
                    <a:pt x="3" y="47"/>
                    <a:pt x="10" y="36"/>
                  </a:cubicBezTo>
                  <a:cubicBezTo>
                    <a:pt x="16" y="24"/>
                    <a:pt x="26" y="15"/>
                    <a:pt x="38" y="9"/>
                  </a:cubicBezTo>
                  <a:cubicBezTo>
                    <a:pt x="50" y="3"/>
                    <a:pt x="64" y="0"/>
                    <a:pt x="80" y="0"/>
                  </a:cubicBezTo>
                  <a:cubicBezTo>
                    <a:pt x="96" y="0"/>
                    <a:pt x="110" y="3"/>
                    <a:pt x="122" y="9"/>
                  </a:cubicBezTo>
                  <a:cubicBezTo>
                    <a:pt x="135" y="15"/>
                    <a:pt x="144" y="24"/>
                    <a:pt x="151" y="35"/>
                  </a:cubicBezTo>
                  <a:cubicBezTo>
                    <a:pt x="157" y="46"/>
                    <a:pt x="161" y="58"/>
                    <a:pt x="161" y="72"/>
                  </a:cubicBezTo>
                  <a:cubicBezTo>
                    <a:pt x="161" y="75"/>
                    <a:pt x="161" y="75"/>
                    <a:pt x="161" y="75"/>
                  </a:cubicBezTo>
                  <a:cubicBezTo>
                    <a:pt x="161" y="77"/>
                    <a:pt x="159" y="78"/>
                    <a:pt x="157" y="78"/>
                  </a:cubicBezTo>
                  <a:cubicBezTo>
                    <a:pt x="132" y="79"/>
                    <a:pt x="132" y="79"/>
                    <a:pt x="132" y="79"/>
                  </a:cubicBezTo>
                  <a:cubicBezTo>
                    <a:pt x="130" y="79"/>
                    <a:pt x="129" y="77"/>
                    <a:pt x="129" y="75"/>
                  </a:cubicBezTo>
                  <a:cubicBezTo>
                    <a:pt x="129" y="72"/>
                    <a:pt x="129" y="72"/>
                    <a:pt x="129" y="72"/>
                  </a:cubicBezTo>
                  <a:cubicBezTo>
                    <a:pt x="129" y="59"/>
                    <a:pt x="124" y="48"/>
                    <a:pt x="116" y="40"/>
                  </a:cubicBezTo>
                  <a:cubicBezTo>
                    <a:pt x="107" y="32"/>
                    <a:pt x="95" y="28"/>
                    <a:pt x="80" y="28"/>
                  </a:cubicBezTo>
                  <a:cubicBezTo>
                    <a:pt x="66" y="28"/>
                    <a:pt x="54" y="32"/>
                    <a:pt x="45" y="40"/>
                  </a:cubicBezTo>
                  <a:cubicBezTo>
                    <a:pt x="36" y="49"/>
                    <a:pt x="31" y="61"/>
                    <a:pt x="31" y="75"/>
                  </a:cubicBezTo>
                  <a:cubicBezTo>
                    <a:pt x="31" y="162"/>
                    <a:pt x="31" y="162"/>
                    <a:pt x="31" y="162"/>
                  </a:cubicBezTo>
                  <a:cubicBezTo>
                    <a:pt x="31" y="176"/>
                    <a:pt x="36" y="188"/>
                    <a:pt x="45" y="196"/>
                  </a:cubicBezTo>
                  <a:cubicBezTo>
                    <a:pt x="55" y="205"/>
                    <a:pt x="67" y="209"/>
                    <a:pt x="81" y="209"/>
                  </a:cubicBezTo>
                  <a:cubicBezTo>
                    <a:pt x="96" y="209"/>
                    <a:pt x="108" y="205"/>
                    <a:pt x="116" y="198"/>
                  </a:cubicBezTo>
                  <a:cubicBezTo>
                    <a:pt x="125" y="190"/>
                    <a:pt x="129" y="180"/>
                    <a:pt x="129" y="166"/>
                  </a:cubicBezTo>
                  <a:cubicBezTo>
                    <a:pt x="129" y="141"/>
                    <a:pt x="129" y="141"/>
                    <a:pt x="129" y="141"/>
                  </a:cubicBezTo>
                  <a:cubicBezTo>
                    <a:pt x="129" y="140"/>
                    <a:pt x="128" y="139"/>
                    <a:pt x="127" y="139"/>
                  </a:cubicBezTo>
                  <a:cubicBezTo>
                    <a:pt x="83" y="139"/>
                    <a:pt x="83" y="139"/>
                    <a:pt x="83" y="139"/>
                  </a:cubicBezTo>
                  <a:cubicBezTo>
                    <a:pt x="81" y="139"/>
                    <a:pt x="79" y="138"/>
                    <a:pt x="79" y="136"/>
                  </a:cubicBezTo>
                  <a:cubicBezTo>
                    <a:pt x="79" y="116"/>
                    <a:pt x="79" y="116"/>
                    <a:pt x="79" y="116"/>
                  </a:cubicBezTo>
                  <a:cubicBezTo>
                    <a:pt x="79" y="113"/>
                    <a:pt x="81" y="112"/>
                    <a:pt x="83" y="112"/>
                  </a:cubicBezTo>
                  <a:cubicBezTo>
                    <a:pt x="157" y="112"/>
                    <a:pt x="157" y="112"/>
                    <a:pt x="157" y="112"/>
                  </a:cubicBezTo>
                  <a:cubicBezTo>
                    <a:pt x="160" y="112"/>
                    <a:pt x="161" y="113"/>
                    <a:pt x="161" y="116"/>
                  </a:cubicBezTo>
                  <a:cubicBezTo>
                    <a:pt x="161" y="158"/>
                    <a:pt x="161" y="158"/>
                    <a:pt x="161" y="158"/>
                  </a:cubicBezTo>
                  <a:cubicBezTo>
                    <a:pt x="161" y="183"/>
                    <a:pt x="153" y="203"/>
                    <a:pt x="139" y="216"/>
                  </a:cubicBezTo>
                  <a:cubicBezTo>
                    <a:pt x="125" y="230"/>
                    <a:pt x="105" y="237"/>
                    <a:pt x="81" y="237"/>
                  </a:cubicBezTo>
                  <a:cubicBezTo>
                    <a:pt x="64" y="237"/>
                    <a:pt x="50" y="234"/>
                    <a:pt x="38" y="227"/>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6" name="Freeform 30">
              <a:extLst>
                <a:ext uri="{FF2B5EF4-FFF2-40B4-BE49-F238E27FC236}">
                  <a16:creationId xmlns:a16="http://schemas.microsoft.com/office/drawing/2014/main" id="{D324D69C-6115-B23A-0C04-55EF66BC8AC7}"/>
                </a:ext>
              </a:extLst>
            </p:cNvPr>
            <p:cNvSpPr>
              <a:spLocks/>
            </p:cNvSpPr>
            <p:nvPr userDrawn="1"/>
          </p:nvSpPr>
          <p:spPr bwMode="auto">
            <a:xfrm>
              <a:off x="6899" y="2858"/>
              <a:ext cx="52" cy="72"/>
            </a:xfrm>
            <a:custGeom>
              <a:avLst/>
              <a:gdLst>
                <a:gd name="T0" fmla="*/ 165 w 165"/>
                <a:gd name="T1" fmla="*/ 3 h 232"/>
                <a:gd name="T2" fmla="*/ 165 w 165"/>
                <a:gd name="T3" fmla="*/ 25 h 232"/>
                <a:gd name="T4" fmla="*/ 162 w 165"/>
                <a:gd name="T5" fmla="*/ 28 h 232"/>
                <a:gd name="T6" fmla="*/ 99 w 165"/>
                <a:gd name="T7" fmla="*/ 28 h 232"/>
                <a:gd name="T8" fmla="*/ 97 w 165"/>
                <a:gd name="T9" fmla="*/ 29 h 232"/>
                <a:gd name="T10" fmla="*/ 98 w 165"/>
                <a:gd name="T11" fmla="*/ 229 h 232"/>
                <a:gd name="T12" fmla="*/ 94 w 165"/>
                <a:gd name="T13" fmla="*/ 232 h 232"/>
                <a:gd name="T14" fmla="*/ 69 w 165"/>
                <a:gd name="T15" fmla="*/ 232 h 232"/>
                <a:gd name="T16" fmla="*/ 66 w 165"/>
                <a:gd name="T17" fmla="*/ 229 h 232"/>
                <a:gd name="T18" fmla="*/ 66 w 165"/>
                <a:gd name="T19" fmla="*/ 29 h 232"/>
                <a:gd name="T20" fmla="*/ 64 w 165"/>
                <a:gd name="T21" fmla="*/ 28 h 232"/>
                <a:gd name="T22" fmla="*/ 4 w 165"/>
                <a:gd name="T23" fmla="*/ 28 h 232"/>
                <a:gd name="T24" fmla="*/ 0 w 165"/>
                <a:gd name="T25" fmla="*/ 25 h 232"/>
                <a:gd name="T26" fmla="*/ 0 w 165"/>
                <a:gd name="T27" fmla="*/ 4 h 232"/>
                <a:gd name="T28" fmla="*/ 4 w 165"/>
                <a:gd name="T29" fmla="*/ 0 h 232"/>
                <a:gd name="T30" fmla="*/ 162 w 165"/>
                <a:gd name="T31" fmla="*/ 0 h 232"/>
                <a:gd name="T32" fmla="*/ 165 w 165"/>
                <a:gd name="T33" fmla="*/ 3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5" h="232">
                  <a:moveTo>
                    <a:pt x="165" y="3"/>
                  </a:moveTo>
                  <a:cubicBezTo>
                    <a:pt x="165" y="25"/>
                    <a:pt x="165" y="25"/>
                    <a:pt x="165" y="25"/>
                  </a:cubicBezTo>
                  <a:cubicBezTo>
                    <a:pt x="165" y="27"/>
                    <a:pt x="164" y="28"/>
                    <a:pt x="162" y="28"/>
                  </a:cubicBezTo>
                  <a:cubicBezTo>
                    <a:pt x="99" y="28"/>
                    <a:pt x="99" y="28"/>
                    <a:pt x="99" y="28"/>
                  </a:cubicBezTo>
                  <a:cubicBezTo>
                    <a:pt x="98" y="28"/>
                    <a:pt x="97" y="28"/>
                    <a:pt x="97" y="29"/>
                  </a:cubicBezTo>
                  <a:cubicBezTo>
                    <a:pt x="98" y="229"/>
                    <a:pt x="98" y="229"/>
                    <a:pt x="98" y="229"/>
                  </a:cubicBezTo>
                  <a:cubicBezTo>
                    <a:pt x="98" y="231"/>
                    <a:pt x="96" y="232"/>
                    <a:pt x="94" y="232"/>
                  </a:cubicBezTo>
                  <a:cubicBezTo>
                    <a:pt x="69" y="232"/>
                    <a:pt x="69" y="232"/>
                    <a:pt x="69" y="232"/>
                  </a:cubicBezTo>
                  <a:cubicBezTo>
                    <a:pt x="67" y="232"/>
                    <a:pt x="66" y="231"/>
                    <a:pt x="66" y="229"/>
                  </a:cubicBezTo>
                  <a:cubicBezTo>
                    <a:pt x="66" y="29"/>
                    <a:pt x="66" y="29"/>
                    <a:pt x="66" y="29"/>
                  </a:cubicBezTo>
                  <a:cubicBezTo>
                    <a:pt x="66" y="28"/>
                    <a:pt x="65" y="28"/>
                    <a:pt x="64" y="28"/>
                  </a:cubicBezTo>
                  <a:cubicBezTo>
                    <a:pt x="4" y="28"/>
                    <a:pt x="4" y="28"/>
                    <a:pt x="4" y="28"/>
                  </a:cubicBezTo>
                  <a:cubicBezTo>
                    <a:pt x="1" y="28"/>
                    <a:pt x="0" y="27"/>
                    <a:pt x="0" y="25"/>
                  </a:cubicBezTo>
                  <a:cubicBezTo>
                    <a:pt x="0" y="4"/>
                    <a:pt x="0" y="4"/>
                    <a:pt x="0" y="4"/>
                  </a:cubicBezTo>
                  <a:cubicBezTo>
                    <a:pt x="0" y="1"/>
                    <a:pt x="1" y="0"/>
                    <a:pt x="4" y="0"/>
                  </a:cubicBezTo>
                  <a:cubicBezTo>
                    <a:pt x="162" y="0"/>
                    <a:pt x="162" y="0"/>
                    <a:pt x="162" y="0"/>
                  </a:cubicBezTo>
                  <a:cubicBezTo>
                    <a:pt x="164" y="0"/>
                    <a:pt x="165" y="1"/>
                    <a:pt x="165" y="3"/>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7" name="Freeform 31">
              <a:extLst>
                <a:ext uri="{FF2B5EF4-FFF2-40B4-BE49-F238E27FC236}">
                  <a16:creationId xmlns:a16="http://schemas.microsoft.com/office/drawing/2014/main" id="{6E60E78A-9DDB-60B5-AEAA-1B898E9D965E}"/>
                </a:ext>
              </a:extLst>
            </p:cNvPr>
            <p:cNvSpPr>
              <a:spLocks noEditPoints="1"/>
            </p:cNvSpPr>
            <p:nvPr userDrawn="1"/>
          </p:nvSpPr>
          <p:spPr bwMode="auto">
            <a:xfrm>
              <a:off x="6961" y="2858"/>
              <a:ext cx="50" cy="72"/>
            </a:xfrm>
            <a:custGeom>
              <a:avLst/>
              <a:gdLst>
                <a:gd name="T0" fmla="*/ 128 w 161"/>
                <a:gd name="T1" fmla="*/ 230 h 232"/>
                <a:gd name="T2" fmla="*/ 82 w 161"/>
                <a:gd name="T3" fmla="*/ 131 h 232"/>
                <a:gd name="T4" fmla="*/ 81 w 161"/>
                <a:gd name="T5" fmla="*/ 130 h 232"/>
                <a:gd name="T6" fmla="*/ 33 w 161"/>
                <a:gd name="T7" fmla="*/ 130 h 232"/>
                <a:gd name="T8" fmla="*/ 32 w 161"/>
                <a:gd name="T9" fmla="*/ 131 h 232"/>
                <a:gd name="T10" fmla="*/ 32 w 161"/>
                <a:gd name="T11" fmla="*/ 229 h 232"/>
                <a:gd name="T12" fmla="*/ 29 w 161"/>
                <a:gd name="T13" fmla="*/ 232 h 232"/>
                <a:gd name="T14" fmla="*/ 4 w 161"/>
                <a:gd name="T15" fmla="*/ 232 h 232"/>
                <a:gd name="T16" fmla="*/ 0 w 161"/>
                <a:gd name="T17" fmla="*/ 229 h 232"/>
                <a:gd name="T18" fmla="*/ 0 w 161"/>
                <a:gd name="T19" fmla="*/ 3 h 232"/>
                <a:gd name="T20" fmla="*/ 3 w 161"/>
                <a:gd name="T21" fmla="*/ 0 h 232"/>
                <a:gd name="T22" fmla="*/ 93 w 161"/>
                <a:gd name="T23" fmla="*/ 0 h 232"/>
                <a:gd name="T24" fmla="*/ 127 w 161"/>
                <a:gd name="T25" fmla="*/ 8 h 232"/>
                <a:gd name="T26" fmla="*/ 150 w 161"/>
                <a:gd name="T27" fmla="*/ 32 h 232"/>
                <a:gd name="T28" fmla="*/ 159 w 161"/>
                <a:gd name="T29" fmla="*/ 66 h 232"/>
                <a:gd name="T30" fmla="*/ 147 w 161"/>
                <a:gd name="T31" fmla="*/ 105 h 232"/>
                <a:gd name="T32" fmla="*/ 113 w 161"/>
                <a:gd name="T33" fmla="*/ 127 h 232"/>
                <a:gd name="T34" fmla="*/ 113 w 161"/>
                <a:gd name="T35" fmla="*/ 129 h 232"/>
                <a:gd name="T36" fmla="*/ 161 w 161"/>
                <a:gd name="T37" fmla="*/ 228 h 232"/>
                <a:gd name="T38" fmla="*/ 161 w 161"/>
                <a:gd name="T39" fmla="*/ 230 h 232"/>
                <a:gd name="T40" fmla="*/ 159 w 161"/>
                <a:gd name="T41" fmla="*/ 232 h 232"/>
                <a:gd name="T42" fmla="*/ 132 w 161"/>
                <a:gd name="T43" fmla="*/ 232 h 232"/>
                <a:gd name="T44" fmla="*/ 128 w 161"/>
                <a:gd name="T45" fmla="*/ 230 h 232"/>
                <a:gd name="T46" fmla="*/ 32 w 161"/>
                <a:gd name="T47" fmla="*/ 29 h 232"/>
                <a:gd name="T48" fmla="*/ 32 w 161"/>
                <a:gd name="T49" fmla="*/ 103 h 232"/>
                <a:gd name="T50" fmla="*/ 33 w 161"/>
                <a:gd name="T51" fmla="*/ 104 h 232"/>
                <a:gd name="T52" fmla="*/ 88 w 161"/>
                <a:gd name="T53" fmla="*/ 104 h 232"/>
                <a:gd name="T54" fmla="*/ 117 w 161"/>
                <a:gd name="T55" fmla="*/ 94 h 232"/>
                <a:gd name="T56" fmla="*/ 127 w 161"/>
                <a:gd name="T57" fmla="*/ 66 h 232"/>
                <a:gd name="T58" fmla="*/ 117 w 161"/>
                <a:gd name="T59" fmla="*/ 38 h 232"/>
                <a:gd name="T60" fmla="*/ 88 w 161"/>
                <a:gd name="T61" fmla="*/ 28 h 232"/>
                <a:gd name="T62" fmla="*/ 33 w 161"/>
                <a:gd name="T63" fmla="*/ 28 h 232"/>
                <a:gd name="T64" fmla="*/ 32 w 161"/>
                <a:gd name="T65" fmla="*/ 29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61" h="232">
                  <a:moveTo>
                    <a:pt x="128" y="230"/>
                  </a:moveTo>
                  <a:cubicBezTo>
                    <a:pt x="82" y="131"/>
                    <a:pt x="82" y="131"/>
                    <a:pt x="82" y="131"/>
                  </a:cubicBezTo>
                  <a:cubicBezTo>
                    <a:pt x="82" y="130"/>
                    <a:pt x="81" y="130"/>
                    <a:pt x="81" y="130"/>
                  </a:cubicBezTo>
                  <a:cubicBezTo>
                    <a:pt x="33" y="130"/>
                    <a:pt x="33" y="130"/>
                    <a:pt x="33" y="130"/>
                  </a:cubicBezTo>
                  <a:cubicBezTo>
                    <a:pt x="32" y="130"/>
                    <a:pt x="32" y="130"/>
                    <a:pt x="32" y="131"/>
                  </a:cubicBezTo>
                  <a:cubicBezTo>
                    <a:pt x="32" y="229"/>
                    <a:pt x="32" y="229"/>
                    <a:pt x="32" y="229"/>
                  </a:cubicBezTo>
                  <a:cubicBezTo>
                    <a:pt x="32" y="231"/>
                    <a:pt x="31" y="232"/>
                    <a:pt x="29" y="232"/>
                  </a:cubicBezTo>
                  <a:cubicBezTo>
                    <a:pt x="4" y="232"/>
                    <a:pt x="4" y="232"/>
                    <a:pt x="4" y="232"/>
                  </a:cubicBezTo>
                  <a:cubicBezTo>
                    <a:pt x="1" y="232"/>
                    <a:pt x="0" y="231"/>
                    <a:pt x="0" y="229"/>
                  </a:cubicBezTo>
                  <a:cubicBezTo>
                    <a:pt x="0" y="3"/>
                    <a:pt x="0" y="3"/>
                    <a:pt x="0" y="3"/>
                  </a:cubicBezTo>
                  <a:cubicBezTo>
                    <a:pt x="0" y="1"/>
                    <a:pt x="1" y="0"/>
                    <a:pt x="3" y="0"/>
                  </a:cubicBezTo>
                  <a:cubicBezTo>
                    <a:pt x="93" y="0"/>
                    <a:pt x="93" y="0"/>
                    <a:pt x="93" y="0"/>
                  </a:cubicBezTo>
                  <a:cubicBezTo>
                    <a:pt x="106" y="0"/>
                    <a:pt x="117" y="3"/>
                    <a:pt x="127" y="8"/>
                  </a:cubicBezTo>
                  <a:cubicBezTo>
                    <a:pt x="137" y="14"/>
                    <a:pt x="145" y="22"/>
                    <a:pt x="150" y="32"/>
                  </a:cubicBezTo>
                  <a:cubicBezTo>
                    <a:pt x="156" y="41"/>
                    <a:pt x="159" y="53"/>
                    <a:pt x="159" y="66"/>
                  </a:cubicBezTo>
                  <a:cubicBezTo>
                    <a:pt x="159" y="81"/>
                    <a:pt x="155" y="94"/>
                    <a:pt x="147" y="105"/>
                  </a:cubicBezTo>
                  <a:cubicBezTo>
                    <a:pt x="138" y="116"/>
                    <a:pt x="127" y="123"/>
                    <a:pt x="113" y="127"/>
                  </a:cubicBezTo>
                  <a:cubicBezTo>
                    <a:pt x="113" y="127"/>
                    <a:pt x="112" y="128"/>
                    <a:pt x="113" y="129"/>
                  </a:cubicBezTo>
                  <a:cubicBezTo>
                    <a:pt x="161" y="228"/>
                    <a:pt x="161" y="228"/>
                    <a:pt x="161" y="228"/>
                  </a:cubicBezTo>
                  <a:cubicBezTo>
                    <a:pt x="161" y="228"/>
                    <a:pt x="161" y="229"/>
                    <a:pt x="161" y="230"/>
                  </a:cubicBezTo>
                  <a:cubicBezTo>
                    <a:pt x="161" y="231"/>
                    <a:pt x="160" y="232"/>
                    <a:pt x="159" y="232"/>
                  </a:cubicBezTo>
                  <a:cubicBezTo>
                    <a:pt x="132" y="232"/>
                    <a:pt x="132" y="232"/>
                    <a:pt x="132" y="232"/>
                  </a:cubicBezTo>
                  <a:cubicBezTo>
                    <a:pt x="130" y="232"/>
                    <a:pt x="129" y="231"/>
                    <a:pt x="128" y="230"/>
                  </a:cubicBezTo>
                  <a:moveTo>
                    <a:pt x="32" y="29"/>
                  </a:moveTo>
                  <a:cubicBezTo>
                    <a:pt x="32" y="103"/>
                    <a:pt x="32" y="103"/>
                    <a:pt x="32" y="103"/>
                  </a:cubicBezTo>
                  <a:cubicBezTo>
                    <a:pt x="32" y="104"/>
                    <a:pt x="32" y="104"/>
                    <a:pt x="33" y="104"/>
                  </a:cubicBezTo>
                  <a:cubicBezTo>
                    <a:pt x="88" y="104"/>
                    <a:pt x="88" y="104"/>
                    <a:pt x="88" y="104"/>
                  </a:cubicBezTo>
                  <a:cubicBezTo>
                    <a:pt x="100" y="104"/>
                    <a:pt x="109" y="101"/>
                    <a:pt x="117" y="94"/>
                  </a:cubicBezTo>
                  <a:cubicBezTo>
                    <a:pt x="124" y="87"/>
                    <a:pt x="127" y="78"/>
                    <a:pt x="127" y="66"/>
                  </a:cubicBezTo>
                  <a:cubicBezTo>
                    <a:pt x="127" y="55"/>
                    <a:pt x="124" y="46"/>
                    <a:pt x="117" y="38"/>
                  </a:cubicBezTo>
                  <a:cubicBezTo>
                    <a:pt x="109" y="31"/>
                    <a:pt x="100" y="28"/>
                    <a:pt x="88" y="28"/>
                  </a:cubicBezTo>
                  <a:cubicBezTo>
                    <a:pt x="33" y="28"/>
                    <a:pt x="33" y="28"/>
                    <a:pt x="33" y="28"/>
                  </a:cubicBezTo>
                  <a:cubicBezTo>
                    <a:pt x="32" y="28"/>
                    <a:pt x="32" y="28"/>
                    <a:pt x="32" y="29"/>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8" name="Freeform 32">
              <a:extLst>
                <a:ext uri="{FF2B5EF4-FFF2-40B4-BE49-F238E27FC236}">
                  <a16:creationId xmlns:a16="http://schemas.microsoft.com/office/drawing/2014/main" id="{4412EA37-5DAC-5098-7192-36500162AB73}"/>
                </a:ext>
              </a:extLst>
            </p:cNvPr>
            <p:cNvSpPr>
              <a:spLocks/>
            </p:cNvSpPr>
            <p:nvPr userDrawn="1"/>
          </p:nvSpPr>
          <p:spPr bwMode="auto">
            <a:xfrm>
              <a:off x="7022" y="2858"/>
              <a:ext cx="51" cy="73"/>
            </a:xfrm>
            <a:custGeom>
              <a:avLst/>
              <a:gdLst>
                <a:gd name="T0" fmla="*/ 39 w 163"/>
                <a:gd name="T1" fmla="*/ 225 h 235"/>
                <a:gd name="T2" fmla="*/ 10 w 163"/>
                <a:gd name="T3" fmla="*/ 198 h 235"/>
                <a:gd name="T4" fmla="*/ 0 w 163"/>
                <a:gd name="T5" fmla="*/ 158 h 235"/>
                <a:gd name="T6" fmla="*/ 0 w 163"/>
                <a:gd name="T7" fmla="*/ 3 h 235"/>
                <a:gd name="T8" fmla="*/ 3 w 163"/>
                <a:gd name="T9" fmla="*/ 0 h 235"/>
                <a:gd name="T10" fmla="*/ 28 w 163"/>
                <a:gd name="T11" fmla="*/ 0 h 235"/>
                <a:gd name="T12" fmla="*/ 32 w 163"/>
                <a:gd name="T13" fmla="*/ 3 h 235"/>
                <a:gd name="T14" fmla="*/ 32 w 163"/>
                <a:gd name="T15" fmla="*/ 159 h 235"/>
                <a:gd name="T16" fmla="*/ 45 w 163"/>
                <a:gd name="T17" fmla="*/ 194 h 235"/>
                <a:gd name="T18" fmla="*/ 81 w 163"/>
                <a:gd name="T19" fmla="*/ 207 h 235"/>
                <a:gd name="T20" fmla="*/ 117 w 163"/>
                <a:gd name="T21" fmla="*/ 194 h 235"/>
                <a:gd name="T22" fmla="*/ 131 w 163"/>
                <a:gd name="T23" fmla="*/ 159 h 235"/>
                <a:gd name="T24" fmla="*/ 131 w 163"/>
                <a:gd name="T25" fmla="*/ 3 h 235"/>
                <a:gd name="T26" fmla="*/ 134 w 163"/>
                <a:gd name="T27" fmla="*/ 0 h 235"/>
                <a:gd name="T28" fmla="*/ 159 w 163"/>
                <a:gd name="T29" fmla="*/ 0 h 235"/>
                <a:gd name="T30" fmla="*/ 162 w 163"/>
                <a:gd name="T31" fmla="*/ 3 h 235"/>
                <a:gd name="T32" fmla="*/ 163 w 163"/>
                <a:gd name="T33" fmla="*/ 158 h 235"/>
                <a:gd name="T34" fmla="*/ 152 w 163"/>
                <a:gd name="T35" fmla="*/ 198 h 235"/>
                <a:gd name="T36" fmla="*/ 124 w 163"/>
                <a:gd name="T37" fmla="*/ 225 h 235"/>
                <a:gd name="T38" fmla="*/ 81 w 163"/>
                <a:gd name="T39" fmla="*/ 235 h 235"/>
                <a:gd name="T40" fmla="*/ 39 w 163"/>
                <a:gd name="T41" fmla="*/ 225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3" h="235">
                  <a:moveTo>
                    <a:pt x="39" y="225"/>
                  </a:moveTo>
                  <a:cubicBezTo>
                    <a:pt x="26" y="219"/>
                    <a:pt x="17" y="210"/>
                    <a:pt x="10" y="198"/>
                  </a:cubicBezTo>
                  <a:cubicBezTo>
                    <a:pt x="3" y="187"/>
                    <a:pt x="0" y="173"/>
                    <a:pt x="0" y="158"/>
                  </a:cubicBezTo>
                  <a:cubicBezTo>
                    <a:pt x="0" y="3"/>
                    <a:pt x="0" y="3"/>
                    <a:pt x="0" y="3"/>
                  </a:cubicBezTo>
                  <a:cubicBezTo>
                    <a:pt x="0" y="1"/>
                    <a:pt x="1" y="0"/>
                    <a:pt x="3" y="0"/>
                  </a:cubicBezTo>
                  <a:cubicBezTo>
                    <a:pt x="28" y="0"/>
                    <a:pt x="28" y="0"/>
                    <a:pt x="28" y="0"/>
                  </a:cubicBezTo>
                  <a:cubicBezTo>
                    <a:pt x="31" y="0"/>
                    <a:pt x="32" y="1"/>
                    <a:pt x="32" y="3"/>
                  </a:cubicBezTo>
                  <a:cubicBezTo>
                    <a:pt x="32" y="159"/>
                    <a:pt x="32" y="159"/>
                    <a:pt x="32" y="159"/>
                  </a:cubicBezTo>
                  <a:cubicBezTo>
                    <a:pt x="32" y="173"/>
                    <a:pt x="36" y="185"/>
                    <a:pt x="45" y="194"/>
                  </a:cubicBezTo>
                  <a:cubicBezTo>
                    <a:pt x="54" y="203"/>
                    <a:pt x="66" y="207"/>
                    <a:pt x="81" y="207"/>
                  </a:cubicBezTo>
                  <a:cubicBezTo>
                    <a:pt x="96" y="207"/>
                    <a:pt x="108" y="203"/>
                    <a:pt x="117" y="194"/>
                  </a:cubicBezTo>
                  <a:cubicBezTo>
                    <a:pt x="126" y="185"/>
                    <a:pt x="131" y="173"/>
                    <a:pt x="131" y="159"/>
                  </a:cubicBezTo>
                  <a:cubicBezTo>
                    <a:pt x="131" y="3"/>
                    <a:pt x="131" y="3"/>
                    <a:pt x="131" y="3"/>
                  </a:cubicBezTo>
                  <a:cubicBezTo>
                    <a:pt x="131" y="1"/>
                    <a:pt x="132" y="0"/>
                    <a:pt x="134" y="0"/>
                  </a:cubicBezTo>
                  <a:cubicBezTo>
                    <a:pt x="159" y="0"/>
                    <a:pt x="159" y="0"/>
                    <a:pt x="159" y="0"/>
                  </a:cubicBezTo>
                  <a:cubicBezTo>
                    <a:pt x="161" y="0"/>
                    <a:pt x="162" y="1"/>
                    <a:pt x="162" y="3"/>
                  </a:cubicBezTo>
                  <a:cubicBezTo>
                    <a:pt x="163" y="158"/>
                    <a:pt x="163" y="158"/>
                    <a:pt x="163" y="158"/>
                  </a:cubicBezTo>
                  <a:cubicBezTo>
                    <a:pt x="163" y="173"/>
                    <a:pt x="159" y="187"/>
                    <a:pt x="152" y="198"/>
                  </a:cubicBezTo>
                  <a:cubicBezTo>
                    <a:pt x="146" y="210"/>
                    <a:pt x="136" y="219"/>
                    <a:pt x="124" y="225"/>
                  </a:cubicBezTo>
                  <a:cubicBezTo>
                    <a:pt x="111" y="231"/>
                    <a:pt x="97" y="235"/>
                    <a:pt x="81" y="235"/>
                  </a:cubicBezTo>
                  <a:cubicBezTo>
                    <a:pt x="65" y="235"/>
                    <a:pt x="51" y="231"/>
                    <a:pt x="39" y="225"/>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9" name="Freeform 33">
              <a:extLst>
                <a:ext uri="{FF2B5EF4-FFF2-40B4-BE49-F238E27FC236}">
                  <a16:creationId xmlns:a16="http://schemas.microsoft.com/office/drawing/2014/main" id="{E970A321-2E66-AD62-6863-1573B9692C28}"/>
                </a:ext>
              </a:extLst>
            </p:cNvPr>
            <p:cNvSpPr>
              <a:spLocks/>
            </p:cNvSpPr>
            <p:nvPr userDrawn="1"/>
          </p:nvSpPr>
          <p:spPr bwMode="auto">
            <a:xfrm>
              <a:off x="7084" y="2857"/>
              <a:ext cx="51" cy="74"/>
            </a:xfrm>
            <a:custGeom>
              <a:avLst/>
              <a:gdLst>
                <a:gd name="T0" fmla="*/ 39 w 164"/>
                <a:gd name="T1" fmla="*/ 230 h 237"/>
                <a:gd name="T2" fmla="*/ 10 w 164"/>
                <a:gd name="T3" fmla="*/ 207 h 237"/>
                <a:gd name="T4" fmla="*/ 0 w 164"/>
                <a:gd name="T5" fmla="*/ 173 h 237"/>
                <a:gd name="T6" fmla="*/ 0 w 164"/>
                <a:gd name="T7" fmla="*/ 163 h 237"/>
                <a:gd name="T8" fmla="*/ 4 w 164"/>
                <a:gd name="T9" fmla="*/ 160 h 237"/>
                <a:gd name="T10" fmla="*/ 28 w 164"/>
                <a:gd name="T11" fmla="*/ 160 h 237"/>
                <a:gd name="T12" fmla="*/ 31 w 164"/>
                <a:gd name="T13" fmla="*/ 163 h 237"/>
                <a:gd name="T14" fmla="*/ 31 w 164"/>
                <a:gd name="T15" fmla="*/ 171 h 237"/>
                <a:gd name="T16" fmla="*/ 46 w 164"/>
                <a:gd name="T17" fmla="*/ 199 h 237"/>
                <a:gd name="T18" fmla="*/ 86 w 164"/>
                <a:gd name="T19" fmla="*/ 210 h 237"/>
                <a:gd name="T20" fmla="*/ 120 w 164"/>
                <a:gd name="T21" fmla="*/ 200 h 237"/>
                <a:gd name="T22" fmla="*/ 132 w 164"/>
                <a:gd name="T23" fmla="*/ 175 h 237"/>
                <a:gd name="T24" fmla="*/ 126 w 164"/>
                <a:gd name="T25" fmla="*/ 158 h 237"/>
                <a:gd name="T26" fmla="*/ 109 w 164"/>
                <a:gd name="T27" fmla="*/ 144 h 237"/>
                <a:gd name="T28" fmla="*/ 75 w 164"/>
                <a:gd name="T29" fmla="*/ 129 h 237"/>
                <a:gd name="T30" fmla="*/ 37 w 164"/>
                <a:gd name="T31" fmla="*/ 113 h 237"/>
                <a:gd name="T32" fmla="*/ 14 w 164"/>
                <a:gd name="T33" fmla="*/ 93 h 237"/>
                <a:gd name="T34" fmla="*/ 4 w 164"/>
                <a:gd name="T35" fmla="*/ 61 h 237"/>
                <a:gd name="T36" fmla="*/ 25 w 164"/>
                <a:gd name="T37" fmla="*/ 17 h 237"/>
                <a:gd name="T38" fmla="*/ 80 w 164"/>
                <a:gd name="T39" fmla="*/ 0 h 237"/>
                <a:gd name="T40" fmla="*/ 123 w 164"/>
                <a:gd name="T41" fmla="*/ 9 h 237"/>
                <a:gd name="T42" fmla="*/ 152 w 164"/>
                <a:gd name="T43" fmla="*/ 32 h 237"/>
                <a:gd name="T44" fmla="*/ 162 w 164"/>
                <a:gd name="T45" fmla="*/ 66 h 237"/>
                <a:gd name="T46" fmla="*/ 162 w 164"/>
                <a:gd name="T47" fmla="*/ 73 h 237"/>
                <a:gd name="T48" fmla="*/ 158 w 164"/>
                <a:gd name="T49" fmla="*/ 76 h 237"/>
                <a:gd name="T50" fmla="*/ 133 w 164"/>
                <a:gd name="T51" fmla="*/ 76 h 237"/>
                <a:gd name="T52" fmla="*/ 130 w 164"/>
                <a:gd name="T53" fmla="*/ 73 h 237"/>
                <a:gd name="T54" fmla="*/ 130 w 164"/>
                <a:gd name="T55" fmla="*/ 68 h 237"/>
                <a:gd name="T56" fmla="*/ 116 w 164"/>
                <a:gd name="T57" fmla="*/ 39 h 237"/>
                <a:gd name="T58" fmla="*/ 78 w 164"/>
                <a:gd name="T59" fmla="*/ 28 h 237"/>
                <a:gd name="T60" fmla="*/ 47 w 164"/>
                <a:gd name="T61" fmla="*/ 36 h 237"/>
                <a:gd name="T62" fmla="*/ 35 w 164"/>
                <a:gd name="T63" fmla="*/ 61 h 237"/>
                <a:gd name="T64" fmla="*/ 41 w 164"/>
                <a:gd name="T65" fmla="*/ 78 h 237"/>
                <a:gd name="T66" fmla="*/ 58 w 164"/>
                <a:gd name="T67" fmla="*/ 91 h 237"/>
                <a:gd name="T68" fmla="*/ 92 w 164"/>
                <a:gd name="T69" fmla="*/ 105 h 237"/>
                <a:gd name="T70" fmla="*/ 130 w 164"/>
                <a:gd name="T71" fmla="*/ 122 h 237"/>
                <a:gd name="T72" fmla="*/ 154 w 164"/>
                <a:gd name="T73" fmla="*/ 142 h 237"/>
                <a:gd name="T74" fmla="*/ 164 w 164"/>
                <a:gd name="T75" fmla="*/ 174 h 237"/>
                <a:gd name="T76" fmla="*/ 142 w 164"/>
                <a:gd name="T77" fmla="*/ 220 h 237"/>
                <a:gd name="T78" fmla="*/ 84 w 164"/>
                <a:gd name="T79" fmla="*/ 237 h 237"/>
                <a:gd name="T80" fmla="*/ 39 w 164"/>
                <a:gd name="T81" fmla="*/ 230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64" h="237">
                  <a:moveTo>
                    <a:pt x="39" y="230"/>
                  </a:moveTo>
                  <a:cubicBezTo>
                    <a:pt x="27" y="224"/>
                    <a:pt x="17" y="217"/>
                    <a:pt x="10" y="207"/>
                  </a:cubicBezTo>
                  <a:cubicBezTo>
                    <a:pt x="4" y="197"/>
                    <a:pt x="0" y="186"/>
                    <a:pt x="0" y="173"/>
                  </a:cubicBezTo>
                  <a:cubicBezTo>
                    <a:pt x="0" y="163"/>
                    <a:pt x="0" y="163"/>
                    <a:pt x="0" y="163"/>
                  </a:cubicBezTo>
                  <a:cubicBezTo>
                    <a:pt x="0" y="161"/>
                    <a:pt x="1" y="160"/>
                    <a:pt x="4" y="160"/>
                  </a:cubicBezTo>
                  <a:cubicBezTo>
                    <a:pt x="28" y="160"/>
                    <a:pt x="28" y="160"/>
                    <a:pt x="28" y="160"/>
                  </a:cubicBezTo>
                  <a:cubicBezTo>
                    <a:pt x="30" y="160"/>
                    <a:pt x="31" y="161"/>
                    <a:pt x="31" y="163"/>
                  </a:cubicBezTo>
                  <a:cubicBezTo>
                    <a:pt x="31" y="171"/>
                    <a:pt x="31" y="171"/>
                    <a:pt x="31" y="171"/>
                  </a:cubicBezTo>
                  <a:cubicBezTo>
                    <a:pt x="31" y="182"/>
                    <a:pt x="36" y="192"/>
                    <a:pt x="46" y="199"/>
                  </a:cubicBezTo>
                  <a:cubicBezTo>
                    <a:pt x="55" y="206"/>
                    <a:pt x="69" y="210"/>
                    <a:pt x="86" y="210"/>
                  </a:cubicBezTo>
                  <a:cubicBezTo>
                    <a:pt x="101" y="210"/>
                    <a:pt x="113" y="207"/>
                    <a:pt x="120" y="200"/>
                  </a:cubicBezTo>
                  <a:cubicBezTo>
                    <a:pt x="128" y="194"/>
                    <a:pt x="132" y="186"/>
                    <a:pt x="132" y="175"/>
                  </a:cubicBezTo>
                  <a:cubicBezTo>
                    <a:pt x="132" y="168"/>
                    <a:pt x="130" y="162"/>
                    <a:pt x="126" y="158"/>
                  </a:cubicBezTo>
                  <a:cubicBezTo>
                    <a:pt x="122" y="153"/>
                    <a:pt x="116" y="148"/>
                    <a:pt x="109" y="144"/>
                  </a:cubicBezTo>
                  <a:cubicBezTo>
                    <a:pt x="101" y="140"/>
                    <a:pt x="90" y="135"/>
                    <a:pt x="75" y="129"/>
                  </a:cubicBezTo>
                  <a:cubicBezTo>
                    <a:pt x="59" y="123"/>
                    <a:pt x="46" y="118"/>
                    <a:pt x="37" y="113"/>
                  </a:cubicBezTo>
                  <a:cubicBezTo>
                    <a:pt x="28" y="107"/>
                    <a:pt x="20" y="101"/>
                    <a:pt x="14" y="93"/>
                  </a:cubicBezTo>
                  <a:cubicBezTo>
                    <a:pt x="7" y="84"/>
                    <a:pt x="4" y="74"/>
                    <a:pt x="4" y="61"/>
                  </a:cubicBezTo>
                  <a:cubicBezTo>
                    <a:pt x="4" y="42"/>
                    <a:pt x="11" y="27"/>
                    <a:pt x="25" y="17"/>
                  </a:cubicBezTo>
                  <a:cubicBezTo>
                    <a:pt x="38" y="6"/>
                    <a:pt x="57" y="0"/>
                    <a:pt x="80" y="0"/>
                  </a:cubicBezTo>
                  <a:cubicBezTo>
                    <a:pt x="96" y="0"/>
                    <a:pt x="110" y="3"/>
                    <a:pt x="123" y="9"/>
                  </a:cubicBezTo>
                  <a:cubicBezTo>
                    <a:pt x="135" y="14"/>
                    <a:pt x="145" y="22"/>
                    <a:pt x="152" y="32"/>
                  </a:cubicBezTo>
                  <a:cubicBezTo>
                    <a:pt x="158" y="42"/>
                    <a:pt x="162" y="53"/>
                    <a:pt x="162" y="66"/>
                  </a:cubicBezTo>
                  <a:cubicBezTo>
                    <a:pt x="162" y="73"/>
                    <a:pt x="162" y="73"/>
                    <a:pt x="162" y="73"/>
                  </a:cubicBezTo>
                  <a:cubicBezTo>
                    <a:pt x="162" y="75"/>
                    <a:pt x="161" y="76"/>
                    <a:pt x="158" y="76"/>
                  </a:cubicBezTo>
                  <a:cubicBezTo>
                    <a:pt x="133" y="76"/>
                    <a:pt x="133" y="76"/>
                    <a:pt x="133" y="76"/>
                  </a:cubicBezTo>
                  <a:cubicBezTo>
                    <a:pt x="131" y="76"/>
                    <a:pt x="130" y="75"/>
                    <a:pt x="130" y="73"/>
                  </a:cubicBezTo>
                  <a:cubicBezTo>
                    <a:pt x="130" y="68"/>
                    <a:pt x="130" y="68"/>
                    <a:pt x="130" y="68"/>
                  </a:cubicBezTo>
                  <a:cubicBezTo>
                    <a:pt x="130" y="56"/>
                    <a:pt x="126" y="47"/>
                    <a:pt x="116" y="39"/>
                  </a:cubicBezTo>
                  <a:cubicBezTo>
                    <a:pt x="107" y="32"/>
                    <a:pt x="95" y="28"/>
                    <a:pt x="78" y="28"/>
                  </a:cubicBezTo>
                  <a:cubicBezTo>
                    <a:pt x="65" y="28"/>
                    <a:pt x="54" y="31"/>
                    <a:pt x="47" y="36"/>
                  </a:cubicBezTo>
                  <a:cubicBezTo>
                    <a:pt x="39" y="42"/>
                    <a:pt x="35" y="50"/>
                    <a:pt x="35" y="61"/>
                  </a:cubicBezTo>
                  <a:cubicBezTo>
                    <a:pt x="35" y="68"/>
                    <a:pt x="37" y="74"/>
                    <a:pt x="41" y="78"/>
                  </a:cubicBezTo>
                  <a:cubicBezTo>
                    <a:pt x="45" y="83"/>
                    <a:pt x="50" y="87"/>
                    <a:pt x="58" y="91"/>
                  </a:cubicBezTo>
                  <a:cubicBezTo>
                    <a:pt x="65" y="95"/>
                    <a:pt x="77" y="99"/>
                    <a:pt x="92" y="105"/>
                  </a:cubicBezTo>
                  <a:cubicBezTo>
                    <a:pt x="107" y="111"/>
                    <a:pt x="120" y="117"/>
                    <a:pt x="130" y="122"/>
                  </a:cubicBezTo>
                  <a:cubicBezTo>
                    <a:pt x="140" y="127"/>
                    <a:pt x="148" y="134"/>
                    <a:pt x="154" y="142"/>
                  </a:cubicBezTo>
                  <a:cubicBezTo>
                    <a:pt x="160" y="151"/>
                    <a:pt x="164" y="162"/>
                    <a:pt x="164" y="174"/>
                  </a:cubicBezTo>
                  <a:cubicBezTo>
                    <a:pt x="164" y="194"/>
                    <a:pt x="157" y="209"/>
                    <a:pt x="142" y="220"/>
                  </a:cubicBezTo>
                  <a:cubicBezTo>
                    <a:pt x="128" y="232"/>
                    <a:pt x="108" y="237"/>
                    <a:pt x="84" y="237"/>
                  </a:cubicBezTo>
                  <a:cubicBezTo>
                    <a:pt x="67" y="237"/>
                    <a:pt x="52" y="235"/>
                    <a:pt x="39" y="230"/>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0" name="Freeform 34">
              <a:extLst>
                <a:ext uri="{FF2B5EF4-FFF2-40B4-BE49-F238E27FC236}">
                  <a16:creationId xmlns:a16="http://schemas.microsoft.com/office/drawing/2014/main" id="{60B65A6C-4DBD-21E9-196D-FBF84DD120A6}"/>
                </a:ext>
              </a:extLst>
            </p:cNvPr>
            <p:cNvSpPr>
              <a:spLocks/>
            </p:cNvSpPr>
            <p:nvPr userDrawn="1"/>
          </p:nvSpPr>
          <p:spPr bwMode="auto">
            <a:xfrm>
              <a:off x="7139" y="2858"/>
              <a:ext cx="51" cy="72"/>
            </a:xfrm>
            <a:custGeom>
              <a:avLst/>
              <a:gdLst>
                <a:gd name="T0" fmla="*/ 165 w 165"/>
                <a:gd name="T1" fmla="*/ 3 h 232"/>
                <a:gd name="T2" fmla="*/ 165 w 165"/>
                <a:gd name="T3" fmla="*/ 24 h 232"/>
                <a:gd name="T4" fmla="*/ 161 w 165"/>
                <a:gd name="T5" fmla="*/ 28 h 232"/>
                <a:gd name="T6" fmla="*/ 98 w 165"/>
                <a:gd name="T7" fmla="*/ 28 h 232"/>
                <a:gd name="T8" fmla="*/ 97 w 165"/>
                <a:gd name="T9" fmla="*/ 29 h 232"/>
                <a:gd name="T10" fmla="*/ 97 w 165"/>
                <a:gd name="T11" fmla="*/ 228 h 232"/>
                <a:gd name="T12" fmla="*/ 94 w 165"/>
                <a:gd name="T13" fmla="*/ 232 h 232"/>
                <a:gd name="T14" fmla="*/ 69 w 165"/>
                <a:gd name="T15" fmla="*/ 232 h 232"/>
                <a:gd name="T16" fmla="*/ 65 w 165"/>
                <a:gd name="T17" fmla="*/ 228 h 232"/>
                <a:gd name="T18" fmla="*/ 65 w 165"/>
                <a:gd name="T19" fmla="*/ 29 h 232"/>
                <a:gd name="T20" fmla="*/ 64 w 165"/>
                <a:gd name="T21" fmla="*/ 28 h 232"/>
                <a:gd name="T22" fmla="*/ 3 w 165"/>
                <a:gd name="T23" fmla="*/ 28 h 232"/>
                <a:gd name="T24" fmla="*/ 0 w 165"/>
                <a:gd name="T25" fmla="*/ 24 h 232"/>
                <a:gd name="T26" fmla="*/ 0 w 165"/>
                <a:gd name="T27" fmla="*/ 3 h 232"/>
                <a:gd name="T28" fmla="*/ 3 w 165"/>
                <a:gd name="T29" fmla="*/ 0 h 232"/>
                <a:gd name="T30" fmla="*/ 161 w 165"/>
                <a:gd name="T31" fmla="*/ 0 h 232"/>
                <a:gd name="T32" fmla="*/ 165 w 165"/>
                <a:gd name="T33" fmla="*/ 3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5" h="232">
                  <a:moveTo>
                    <a:pt x="165" y="3"/>
                  </a:moveTo>
                  <a:cubicBezTo>
                    <a:pt x="165" y="24"/>
                    <a:pt x="165" y="24"/>
                    <a:pt x="165" y="24"/>
                  </a:cubicBezTo>
                  <a:cubicBezTo>
                    <a:pt x="165" y="26"/>
                    <a:pt x="164" y="28"/>
                    <a:pt x="161" y="28"/>
                  </a:cubicBezTo>
                  <a:cubicBezTo>
                    <a:pt x="98" y="28"/>
                    <a:pt x="98" y="28"/>
                    <a:pt x="98" y="28"/>
                  </a:cubicBezTo>
                  <a:cubicBezTo>
                    <a:pt x="97" y="28"/>
                    <a:pt x="97" y="28"/>
                    <a:pt x="97" y="29"/>
                  </a:cubicBezTo>
                  <a:cubicBezTo>
                    <a:pt x="97" y="228"/>
                    <a:pt x="97" y="228"/>
                    <a:pt x="97" y="228"/>
                  </a:cubicBezTo>
                  <a:cubicBezTo>
                    <a:pt x="97" y="231"/>
                    <a:pt x="96" y="232"/>
                    <a:pt x="94" y="232"/>
                  </a:cubicBezTo>
                  <a:cubicBezTo>
                    <a:pt x="69" y="232"/>
                    <a:pt x="69" y="232"/>
                    <a:pt x="69" y="232"/>
                  </a:cubicBezTo>
                  <a:cubicBezTo>
                    <a:pt x="66" y="232"/>
                    <a:pt x="65" y="231"/>
                    <a:pt x="65" y="228"/>
                  </a:cubicBezTo>
                  <a:cubicBezTo>
                    <a:pt x="65" y="29"/>
                    <a:pt x="65" y="29"/>
                    <a:pt x="65" y="29"/>
                  </a:cubicBezTo>
                  <a:cubicBezTo>
                    <a:pt x="65" y="28"/>
                    <a:pt x="65" y="28"/>
                    <a:pt x="64" y="28"/>
                  </a:cubicBezTo>
                  <a:cubicBezTo>
                    <a:pt x="3" y="28"/>
                    <a:pt x="3" y="28"/>
                    <a:pt x="3" y="28"/>
                  </a:cubicBezTo>
                  <a:cubicBezTo>
                    <a:pt x="1" y="28"/>
                    <a:pt x="0" y="27"/>
                    <a:pt x="0" y="24"/>
                  </a:cubicBezTo>
                  <a:cubicBezTo>
                    <a:pt x="0" y="3"/>
                    <a:pt x="0" y="3"/>
                    <a:pt x="0" y="3"/>
                  </a:cubicBezTo>
                  <a:cubicBezTo>
                    <a:pt x="0" y="1"/>
                    <a:pt x="1" y="0"/>
                    <a:pt x="3" y="0"/>
                  </a:cubicBezTo>
                  <a:cubicBezTo>
                    <a:pt x="161" y="0"/>
                    <a:pt x="161" y="0"/>
                    <a:pt x="161" y="0"/>
                  </a:cubicBezTo>
                  <a:cubicBezTo>
                    <a:pt x="164" y="0"/>
                    <a:pt x="165" y="1"/>
                    <a:pt x="165" y="3"/>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1" name="Freeform 35">
              <a:extLst>
                <a:ext uri="{FF2B5EF4-FFF2-40B4-BE49-F238E27FC236}">
                  <a16:creationId xmlns:a16="http://schemas.microsoft.com/office/drawing/2014/main" id="{C0A90B50-9DDE-E6AA-C529-DBD6713D5462}"/>
                </a:ext>
              </a:extLst>
            </p:cNvPr>
            <p:cNvSpPr>
              <a:spLocks/>
            </p:cNvSpPr>
            <p:nvPr userDrawn="1"/>
          </p:nvSpPr>
          <p:spPr bwMode="auto">
            <a:xfrm>
              <a:off x="7201" y="2858"/>
              <a:ext cx="47" cy="72"/>
            </a:xfrm>
            <a:custGeom>
              <a:avLst/>
              <a:gdLst>
                <a:gd name="T0" fmla="*/ 150 w 153"/>
                <a:gd name="T1" fmla="*/ 27 h 232"/>
                <a:gd name="T2" fmla="*/ 33 w 153"/>
                <a:gd name="T3" fmla="*/ 27 h 232"/>
                <a:gd name="T4" fmla="*/ 31 w 153"/>
                <a:gd name="T5" fmla="*/ 29 h 232"/>
                <a:gd name="T6" fmla="*/ 31 w 153"/>
                <a:gd name="T7" fmla="*/ 100 h 232"/>
                <a:gd name="T8" fmla="*/ 33 w 153"/>
                <a:gd name="T9" fmla="*/ 101 h 232"/>
                <a:gd name="T10" fmla="*/ 113 w 153"/>
                <a:gd name="T11" fmla="*/ 101 h 232"/>
                <a:gd name="T12" fmla="*/ 117 w 153"/>
                <a:gd name="T13" fmla="*/ 104 h 232"/>
                <a:gd name="T14" fmla="*/ 117 w 153"/>
                <a:gd name="T15" fmla="*/ 125 h 232"/>
                <a:gd name="T16" fmla="*/ 113 w 153"/>
                <a:gd name="T17" fmla="*/ 129 h 232"/>
                <a:gd name="T18" fmla="*/ 33 w 153"/>
                <a:gd name="T19" fmla="*/ 129 h 232"/>
                <a:gd name="T20" fmla="*/ 31 w 153"/>
                <a:gd name="T21" fmla="*/ 130 h 232"/>
                <a:gd name="T22" fmla="*/ 32 w 153"/>
                <a:gd name="T23" fmla="*/ 203 h 232"/>
                <a:gd name="T24" fmla="*/ 33 w 153"/>
                <a:gd name="T25" fmla="*/ 204 h 232"/>
                <a:gd name="T26" fmla="*/ 150 w 153"/>
                <a:gd name="T27" fmla="*/ 204 h 232"/>
                <a:gd name="T28" fmla="*/ 153 w 153"/>
                <a:gd name="T29" fmla="*/ 207 h 232"/>
                <a:gd name="T30" fmla="*/ 153 w 153"/>
                <a:gd name="T31" fmla="*/ 228 h 232"/>
                <a:gd name="T32" fmla="*/ 150 w 153"/>
                <a:gd name="T33" fmla="*/ 232 h 232"/>
                <a:gd name="T34" fmla="*/ 3 w 153"/>
                <a:gd name="T35" fmla="*/ 232 h 232"/>
                <a:gd name="T36" fmla="*/ 0 w 153"/>
                <a:gd name="T37" fmla="*/ 228 h 232"/>
                <a:gd name="T38" fmla="*/ 0 w 153"/>
                <a:gd name="T39" fmla="*/ 3 h 232"/>
                <a:gd name="T40" fmla="*/ 3 w 153"/>
                <a:gd name="T41" fmla="*/ 0 h 232"/>
                <a:gd name="T42" fmla="*/ 150 w 153"/>
                <a:gd name="T43" fmla="*/ 0 h 232"/>
                <a:gd name="T44" fmla="*/ 153 w 153"/>
                <a:gd name="T45" fmla="*/ 3 h 232"/>
                <a:gd name="T46" fmla="*/ 153 w 153"/>
                <a:gd name="T47" fmla="*/ 24 h 232"/>
                <a:gd name="T48" fmla="*/ 150 w 153"/>
                <a:gd name="T49" fmla="*/ 27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3" h="232">
                  <a:moveTo>
                    <a:pt x="150" y="27"/>
                  </a:moveTo>
                  <a:cubicBezTo>
                    <a:pt x="33" y="27"/>
                    <a:pt x="33" y="27"/>
                    <a:pt x="33" y="27"/>
                  </a:cubicBezTo>
                  <a:cubicBezTo>
                    <a:pt x="32" y="27"/>
                    <a:pt x="31" y="28"/>
                    <a:pt x="31" y="29"/>
                  </a:cubicBezTo>
                  <a:cubicBezTo>
                    <a:pt x="31" y="100"/>
                    <a:pt x="31" y="100"/>
                    <a:pt x="31" y="100"/>
                  </a:cubicBezTo>
                  <a:cubicBezTo>
                    <a:pt x="31" y="101"/>
                    <a:pt x="32" y="101"/>
                    <a:pt x="33" y="101"/>
                  </a:cubicBezTo>
                  <a:cubicBezTo>
                    <a:pt x="113" y="101"/>
                    <a:pt x="113" y="101"/>
                    <a:pt x="113" y="101"/>
                  </a:cubicBezTo>
                  <a:cubicBezTo>
                    <a:pt x="115" y="101"/>
                    <a:pt x="117" y="102"/>
                    <a:pt x="117" y="104"/>
                  </a:cubicBezTo>
                  <a:cubicBezTo>
                    <a:pt x="117" y="125"/>
                    <a:pt x="117" y="125"/>
                    <a:pt x="117" y="125"/>
                  </a:cubicBezTo>
                  <a:cubicBezTo>
                    <a:pt x="117" y="127"/>
                    <a:pt x="115" y="129"/>
                    <a:pt x="113" y="129"/>
                  </a:cubicBezTo>
                  <a:cubicBezTo>
                    <a:pt x="33" y="129"/>
                    <a:pt x="33" y="129"/>
                    <a:pt x="33" y="129"/>
                  </a:cubicBezTo>
                  <a:cubicBezTo>
                    <a:pt x="32" y="129"/>
                    <a:pt x="31" y="129"/>
                    <a:pt x="31" y="130"/>
                  </a:cubicBezTo>
                  <a:cubicBezTo>
                    <a:pt x="32" y="203"/>
                    <a:pt x="32" y="203"/>
                    <a:pt x="32" y="203"/>
                  </a:cubicBezTo>
                  <a:cubicBezTo>
                    <a:pt x="32" y="204"/>
                    <a:pt x="32" y="204"/>
                    <a:pt x="33" y="204"/>
                  </a:cubicBezTo>
                  <a:cubicBezTo>
                    <a:pt x="150" y="204"/>
                    <a:pt x="150" y="204"/>
                    <a:pt x="150" y="204"/>
                  </a:cubicBezTo>
                  <a:cubicBezTo>
                    <a:pt x="152" y="204"/>
                    <a:pt x="153" y="205"/>
                    <a:pt x="153" y="207"/>
                  </a:cubicBezTo>
                  <a:cubicBezTo>
                    <a:pt x="153" y="228"/>
                    <a:pt x="153" y="228"/>
                    <a:pt x="153" y="228"/>
                  </a:cubicBezTo>
                  <a:cubicBezTo>
                    <a:pt x="153" y="230"/>
                    <a:pt x="152" y="232"/>
                    <a:pt x="150" y="232"/>
                  </a:cubicBezTo>
                  <a:cubicBezTo>
                    <a:pt x="3" y="232"/>
                    <a:pt x="3" y="232"/>
                    <a:pt x="3" y="232"/>
                  </a:cubicBezTo>
                  <a:cubicBezTo>
                    <a:pt x="1" y="232"/>
                    <a:pt x="0" y="231"/>
                    <a:pt x="0" y="228"/>
                  </a:cubicBezTo>
                  <a:cubicBezTo>
                    <a:pt x="0" y="3"/>
                    <a:pt x="0" y="3"/>
                    <a:pt x="0" y="3"/>
                  </a:cubicBezTo>
                  <a:cubicBezTo>
                    <a:pt x="0" y="1"/>
                    <a:pt x="1" y="0"/>
                    <a:pt x="3" y="0"/>
                  </a:cubicBezTo>
                  <a:cubicBezTo>
                    <a:pt x="150" y="0"/>
                    <a:pt x="150" y="0"/>
                    <a:pt x="150" y="0"/>
                  </a:cubicBezTo>
                  <a:cubicBezTo>
                    <a:pt x="152" y="0"/>
                    <a:pt x="153" y="1"/>
                    <a:pt x="153" y="3"/>
                  </a:cubicBezTo>
                  <a:cubicBezTo>
                    <a:pt x="153" y="24"/>
                    <a:pt x="153" y="24"/>
                    <a:pt x="153" y="24"/>
                  </a:cubicBezTo>
                  <a:cubicBezTo>
                    <a:pt x="153" y="26"/>
                    <a:pt x="152" y="27"/>
                    <a:pt x="150" y="27"/>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2" name="Freeform 36">
              <a:extLst>
                <a:ext uri="{FF2B5EF4-FFF2-40B4-BE49-F238E27FC236}">
                  <a16:creationId xmlns:a16="http://schemas.microsoft.com/office/drawing/2014/main" id="{662B9D80-6D30-0271-29EA-1DCC500F7749}"/>
                </a:ext>
              </a:extLst>
            </p:cNvPr>
            <p:cNvSpPr>
              <a:spLocks noEditPoints="1"/>
            </p:cNvSpPr>
            <p:nvPr userDrawn="1"/>
          </p:nvSpPr>
          <p:spPr bwMode="auto">
            <a:xfrm>
              <a:off x="7260" y="2858"/>
              <a:ext cx="50" cy="72"/>
            </a:xfrm>
            <a:custGeom>
              <a:avLst/>
              <a:gdLst>
                <a:gd name="T0" fmla="*/ 4 w 159"/>
                <a:gd name="T1" fmla="*/ 0 h 232"/>
                <a:gd name="T2" fmla="*/ 84 w 159"/>
                <a:gd name="T3" fmla="*/ 0 h 232"/>
                <a:gd name="T4" fmla="*/ 139 w 159"/>
                <a:gd name="T5" fmla="*/ 18 h 232"/>
                <a:gd name="T6" fmla="*/ 159 w 159"/>
                <a:gd name="T7" fmla="*/ 66 h 232"/>
                <a:gd name="T8" fmla="*/ 159 w 159"/>
                <a:gd name="T9" fmla="*/ 165 h 232"/>
                <a:gd name="T10" fmla="*/ 139 w 159"/>
                <a:gd name="T11" fmla="*/ 213 h 232"/>
                <a:gd name="T12" fmla="*/ 84 w 159"/>
                <a:gd name="T13" fmla="*/ 231 h 232"/>
                <a:gd name="T14" fmla="*/ 4 w 159"/>
                <a:gd name="T15" fmla="*/ 232 h 232"/>
                <a:gd name="T16" fmla="*/ 1 w 159"/>
                <a:gd name="T17" fmla="*/ 228 h 232"/>
                <a:gd name="T18" fmla="*/ 0 w 159"/>
                <a:gd name="T19" fmla="*/ 3 h 232"/>
                <a:gd name="T20" fmla="*/ 4 w 159"/>
                <a:gd name="T21" fmla="*/ 0 h 232"/>
                <a:gd name="T22" fmla="*/ 116 w 159"/>
                <a:gd name="T23" fmla="*/ 192 h 232"/>
                <a:gd name="T24" fmla="*/ 128 w 159"/>
                <a:gd name="T25" fmla="*/ 161 h 232"/>
                <a:gd name="T26" fmla="*/ 128 w 159"/>
                <a:gd name="T27" fmla="*/ 70 h 232"/>
                <a:gd name="T28" fmla="*/ 116 w 159"/>
                <a:gd name="T29" fmla="*/ 39 h 232"/>
                <a:gd name="T30" fmla="*/ 85 w 159"/>
                <a:gd name="T31" fmla="*/ 27 h 232"/>
                <a:gd name="T32" fmla="*/ 34 w 159"/>
                <a:gd name="T33" fmla="*/ 27 h 232"/>
                <a:gd name="T34" fmla="*/ 32 w 159"/>
                <a:gd name="T35" fmla="*/ 28 h 232"/>
                <a:gd name="T36" fmla="*/ 32 w 159"/>
                <a:gd name="T37" fmla="*/ 203 h 232"/>
                <a:gd name="T38" fmla="*/ 34 w 159"/>
                <a:gd name="T39" fmla="*/ 204 h 232"/>
                <a:gd name="T40" fmla="*/ 85 w 159"/>
                <a:gd name="T41" fmla="*/ 204 h 232"/>
                <a:gd name="T42" fmla="*/ 116 w 159"/>
                <a:gd name="T43" fmla="*/ 192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59" h="232">
                  <a:moveTo>
                    <a:pt x="4" y="0"/>
                  </a:moveTo>
                  <a:cubicBezTo>
                    <a:pt x="84" y="0"/>
                    <a:pt x="84" y="0"/>
                    <a:pt x="84" y="0"/>
                  </a:cubicBezTo>
                  <a:cubicBezTo>
                    <a:pt x="106" y="0"/>
                    <a:pt x="125" y="6"/>
                    <a:pt x="139" y="18"/>
                  </a:cubicBezTo>
                  <a:cubicBezTo>
                    <a:pt x="152" y="30"/>
                    <a:pt x="159" y="46"/>
                    <a:pt x="159" y="66"/>
                  </a:cubicBezTo>
                  <a:cubicBezTo>
                    <a:pt x="159" y="165"/>
                    <a:pt x="159" y="165"/>
                    <a:pt x="159" y="165"/>
                  </a:cubicBezTo>
                  <a:cubicBezTo>
                    <a:pt x="159" y="185"/>
                    <a:pt x="153" y="201"/>
                    <a:pt x="139" y="213"/>
                  </a:cubicBezTo>
                  <a:cubicBezTo>
                    <a:pt x="125" y="225"/>
                    <a:pt x="107" y="231"/>
                    <a:pt x="84" y="231"/>
                  </a:cubicBezTo>
                  <a:cubicBezTo>
                    <a:pt x="4" y="232"/>
                    <a:pt x="4" y="232"/>
                    <a:pt x="4" y="232"/>
                  </a:cubicBezTo>
                  <a:cubicBezTo>
                    <a:pt x="2" y="232"/>
                    <a:pt x="1" y="230"/>
                    <a:pt x="1" y="228"/>
                  </a:cubicBezTo>
                  <a:cubicBezTo>
                    <a:pt x="0" y="3"/>
                    <a:pt x="0" y="3"/>
                    <a:pt x="0" y="3"/>
                  </a:cubicBezTo>
                  <a:cubicBezTo>
                    <a:pt x="0" y="1"/>
                    <a:pt x="1" y="0"/>
                    <a:pt x="4" y="0"/>
                  </a:cubicBezTo>
                  <a:moveTo>
                    <a:pt x="116" y="192"/>
                  </a:moveTo>
                  <a:cubicBezTo>
                    <a:pt x="123" y="184"/>
                    <a:pt x="127" y="174"/>
                    <a:pt x="128" y="161"/>
                  </a:cubicBezTo>
                  <a:cubicBezTo>
                    <a:pt x="128" y="70"/>
                    <a:pt x="128" y="70"/>
                    <a:pt x="128" y="70"/>
                  </a:cubicBezTo>
                  <a:cubicBezTo>
                    <a:pt x="128" y="57"/>
                    <a:pt x="124" y="47"/>
                    <a:pt x="116" y="39"/>
                  </a:cubicBezTo>
                  <a:cubicBezTo>
                    <a:pt x="108" y="31"/>
                    <a:pt x="98" y="27"/>
                    <a:pt x="85" y="27"/>
                  </a:cubicBezTo>
                  <a:cubicBezTo>
                    <a:pt x="34" y="27"/>
                    <a:pt x="34" y="27"/>
                    <a:pt x="34" y="27"/>
                  </a:cubicBezTo>
                  <a:cubicBezTo>
                    <a:pt x="33" y="27"/>
                    <a:pt x="32" y="28"/>
                    <a:pt x="32" y="28"/>
                  </a:cubicBezTo>
                  <a:cubicBezTo>
                    <a:pt x="32" y="203"/>
                    <a:pt x="32" y="203"/>
                    <a:pt x="32" y="203"/>
                  </a:cubicBezTo>
                  <a:cubicBezTo>
                    <a:pt x="32" y="204"/>
                    <a:pt x="33" y="204"/>
                    <a:pt x="34" y="204"/>
                  </a:cubicBezTo>
                  <a:cubicBezTo>
                    <a:pt x="85" y="204"/>
                    <a:pt x="85" y="204"/>
                    <a:pt x="85" y="204"/>
                  </a:cubicBezTo>
                  <a:cubicBezTo>
                    <a:pt x="98" y="204"/>
                    <a:pt x="108" y="200"/>
                    <a:pt x="116" y="192"/>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3" name="Freeform 37">
              <a:extLst>
                <a:ext uri="{FF2B5EF4-FFF2-40B4-BE49-F238E27FC236}">
                  <a16:creationId xmlns:a16="http://schemas.microsoft.com/office/drawing/2014/main" id="{A5900D3B-ECA5-CCCC-AD26-2B305A06AC6E}"/>
                </a:ext>
              </a:extLst>
            </p:cNvPr>
            <p:cNvSpPr>
              <a:spLocks/>
            </p:cNvSpPr>
            <p:nvPr userDrawn="1"/>
          </p:nvSpPr>
          <p:spPr bwMode="auto">
            <a:xfrm>
              <a:off x="6436" y="2961"/>
              <a:ext cx="50" cy="74"/>
            </a:xfrm>
            <a:custGeom>
              <a:avLst/>
              <a:gdLst>
                <a:gd name="T0" fmla="*/ 39 w 161"/>
                <a:gd name="T1" fmla="*/ 228 h 237"/>
                <a:gd name="T2" fmla="*/ 10 w 161"/>
                <a:gd name="T3" fmla="*/ 201 h 237"/>
                <a:gd name="T4" fmla="*/ 0 w 161"/>
                <a:gd name="T5" fmla="*/ 161 h 237"/>
                <a:gd name="T6" fmla="*/ 0 w 161"/>
                <a:gd name="T7" fmla="*/ 75 h 237"/>
                <a:gd name="T8" fmla="*/ 10 w 161"/>
                <a:gd name="T9" fmla="*/ 36 h 237"/>
                <a:gd name="T10" fmla="*/ 38 w 161"/>
                <a:gd name="T11" fmla="*/ 9 h 237"/>
                <a:gd name="T12" fmla="*/ 81 w 161"/>
                <a:gd name="T13" fmla="*/ 0 h 237"/>
                <a:gd name="T14" fmla="*/ 123 w 161"/>
                <a:gd name="T15" fmla="*/ 9 h 237"/>
                <a:gd name="T16" fmla="*/ 151 w 161"/>
                <a:gd name="T17" fmla="*/ 34 h 237"/>
                <a:gd name="T18" fmla="*/ 161 w 161"/>
                <a:gd name="T19" fmla="*/ 73 h 237"/>
                <a:gd name="T20" fmla="*/ 161 w 161"/>
                <a:gd name="T21" fmla="*/ 73 h 237"/>
                <a:gd name="T22" fmla="*/ 160 w 161"/>
                <a:gd name="T23" fmla="*/ 76 h 237"/>
                <a:gd name="T24" fmla="*/ 158 w 161"/>
                <a:gd name="T25" fmla="*/ 77 h 237"/>
                <a:gd name="T26" fmla="*/ 133 w 161"/>
                <a:gd name="T27" fmla="*/ 78 h 237"/>
                <a:gd name="T28" fmla="*/ 129 w 161"/>
                <a:gd name="T29" fmla="*/ 75 h 237"/>
                <a:gd name="T30" fmla="*/ 129 w 161"/>
                <a:gd name="T31" fmla="*/ 74 h 237"/>
                <a:gd name="T32" fmla="*/ 116 w 161"/>
                <a:gd name="T33" fmla="*/ 40 h 237"/>
                <a:gd name="T34" fmla="*/ 81 w 161"/>
                <a:gd name="T35" fmla="*/ 27 h 237"/>
                <a:gd name="T36" fmla="*/ 45 w 161"/>
                <a:gd name="T37" fmla="*/ 40 h 237"/>
                <a:gd name="T38" fmla="*/ 32 w 161"/>
                <a:gd name="T39" fmla="*/ 74 h 237"/>
                <a:gd name="T40" fmla="*/ 32 w 161"/>
                <a:gd name="T41" fmla="*/ 162 h 237"/>
                <a:gd name="T42" fmla="*/ 45 w 161"/>
                <a:gd name="T43" fmla="*/ 196 h 237"/>
                <a:gd name="T44" fmla="*/ 81 w 161"/>
                <a:gd name="T45" fmla="*/ 209 h 237"/>
                <a:gd name="T46" fmla="*/ 116 w 161"/>
                <a:gd name="T47" fmla="*/ 196 h 237"/>
                <a:gd name="T48" fmla="*/ 129 w 161"/>
                <a:gd name="T49" fmla="*/ 162 h 237"/>
                <a:gd name="T50" fmla="*/ 129 w 161"/>
                <a:gd name="T51" fmla="*/ 162 h 237"/>
                <a:gd name="T52" fmla="*/ 133 w 161"/>
                <a:gd name="T53" fmla="*/ 159 h 237"/>
                <a:gd name="T54" fmla="*/ 158 w 161"/>
                <a:gd name="T55" fmla="*/ 160 h 237"/>
                <a:gd name="T56" fmla="*/ 161 w 161"/>
                <a:gd name="T57" fmla="*/ 163 h 237"/>
                <a:gd name="T58" fmla="*/ 151 w 161"/>
                <a:gd name="T59" fmla="*/ 202 h 237"/>
                <a:gd name="T60" fmla="*/ 123 w 161"/>
                <a:gd name="T61" fmla="*/ 228 h 237"/>
                <a:gd name="T62" fmla="*/ 81 w 161"/>
                <a:gd name="T63" fmla="*/ 237 h 237"/>
                <a:gd name="T64" fmla="*/ 39 w 161"/>
                <a:gd name="T65" fmla="*/ 228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61" h="237">
                  <a:moveTo>
                    <a:pt x="39" y="228"/>
                  </a:moveTo>
                  <a:cubicBezTo>
                    <a:pt x="26" y="221"/>
                    <a:pt x="17" y="212"/>
                    <a:pt x="10" y="201"/>
                  </a:cubicBezTo>
                  <a:cubicBezTo>
                    <a:pt x="3" y="189"/>
                    <a:pt x="0" y="176"/>
                    <a:pt x="0" y="161"/>
                  </a:cubicBezTo>
                  <a:cubicBezTo>
                    <a:pt x="0" y="75"/>
                    <a:pt x="0" y="75"/>
                    <a:pt x="0" y="75"/>
                  </a:cubicBezTo>
                  <a:cubicBezTo>
                    <a:pt x="0" y="60"/>
                    <a:pt x="3" y="47"/>
                    <a:pt x="10" y="36"/>
                  </a:cubicBezTo>
                  <a:cubicBezTo>
                    <a:pt x="17" y="24"/>
                    <a:pt x="26" y="15"/>
                    <a:pt x="38" y="9"/>
                  </a:cubicBezTo>
                  <a:cubicBezTo>
                    <a:pt x="51" y="3"/>
                    <a:pt x="65" y="0"/>
                    <a:pt x="81" y="0"/>
                  </a:cubicBezTo>
                  <a:cubicBezTo>
                    <a:pt x="97" y="0"/>
                    <a:pt x="111" y="3"/>
                    <a:pt x="123" y="9"/>
                  </a:cubicBezTo>
                  <a:cubicBezTo>
                    <a:pt x="135" y="15"/>
                    <a:pt x="144" y="23"/>
                    <a:pt x="151" y="34"/>
                  </a:cubicBezTo>
                  <a:cubicBezTo>
                    <a:pt x="158" y="45"/>
                    <a:pt x="161" y="58"/>
                    <a:pt x="161" y="73"/>
                  </a:cubicBezTo>
                  <a:cubicBezTo>
                    <a:pt x="161" y="73"/>
                    <a:pt x="161" y="73"/>
                    <a:pt x="161" y="73"/>
                  </a:cubicBezTo>
                  <a:cubicBezTo>
                    <a:pt x="161" y="74"/>
                    <a:pt x="161" y="75"/>
                    <a:pt x="160" y="76"/>
                  </a:cubicBezTo>
                  <a:cubicBezTo>
                    <a:pt x="160" y="76"/>
                    <a:pt x="159" y="77"/>
                    <a:pt x="158" y="77"/>
                  </a:cubicBezTo>
                  <a:cubicBezTo>
                    <a:pt x="133" y="78"/>
                    <a:pt x="133" y="78"/>
                    <a:pt x="133" y="78"/>
                  </a:cubicBezTo>
                  <a:cubicBezTo>
                    <a:pt x="131" y="78"/>
                    <a:pt x="129" y="77"/>
                    <a:pt x="129" y="75"/>
                  </a:cubicBezTo>
                  <a:cubicBezTo>
                    <a:pt x="129" y="74"/>
                    <a:pt x="129" y="74"/>
                    <a:pt x="129" y="74"/>
                  </a:cubicBezTo>
                  <a:cubicBezTo>
                    <a:pt x="129" y="60"/>
                    <a:pt x="125" y="49"/>
                    <a:pt x="116" y="40"/>
                  </a:cubicBezTo>
                  <a:cubicBezTo>
                    <a:pt x="107" y="31"/>
                    <a:pt x="96" y="27"/>
                    <a:pt x="81" y="27"/>
                  </a:cubicBezTo>
                  <a:cubicBezTo>
                    <a:pt x="66" y="27"/>
                    <a:pt x="54" y="31"/>
                    <a:pt x="45" y="40"/>
                  </a:cubicBezTo>
                  <a:cubicBezTo>
                    <a:pt x="36" y="49"/>
                    <a:pt x="32" y="60"/>
                    <a:pt x="32" y="74"/>
                  </a:cubicBezTo>
                  <a:cubicBezTo>
                    <a:pt x="32" y="162"/>
                    <a:pt x="32" y="162"/>
                    <a:pt x="32" y="162"/>
                  </a:cubicBezTo>
                  <a:cubicBezTo>
                    <a:pt x="32" y="176"/>
                    <a:pt x="36" y="188"/>
                    <a:pt x="45" y="196"/>
                  </a:cubicBezTo>
                  <a:cubicBezTo>
                    <a:pt x="54" y="205"/>
                    <a:pt x="66" y="209"/>
                    <a:pt x="81" y="209"/>
                  </a:cubicBezTo>
                  <a:cubicBezTo>
                    <a:pt x="96" y="209"/>
                    <a:pt x="107" y="205"/>
                    <a:pt x="116" y="196"/>
                  </a:cubicBezTo>
                  <a:cubicBezTo>
                    <a:pt x="125" y="188"/>
                    <a:pt x="129" y="176"/>
                    <a:pt x="129" y="162"/>
                  </a:cubicBezTo>
                  <a:cubicBezTo>
                    <a:pt x="129" y="162"/>
                    <a:pt x="129" y="162"/>
                    <a:pt x="129" y="162"/>
                  </a:cubicBezTo>
                  <a:cubicBezTo>
                    <a:pt x="129" y="160"/>
                    <a:pt x="131" y="159"/>
                    <a:pt x="133" y="159"/>
                  </a:cubicBezTo>
                  <a:cubicBezTo>
                    <a:pt x="158" y="160"/>
                    <a:pt x="158" y="160"/>
                    <a:pt x="158" y="160"/>
                  </a:cubicBezTo>
                  <a:cubicBezTo>
                    <a:pt x="160" y="160"/>
                    <a:pt x="161" y="161"/>
                    <a:pt x="161" y="163"/>
                  </a:cubicBezTo>
                  <a:cubicBezTo>
                    <a:pt x="161" y="178"/>
                    <a:pt x="158" y="191"/>
                    <a:pt x="151" y="202"/>
                  </a:cubicBezTo>
                  <a:cubicBezTo>
                    <a:pt x="144" y="213"/>
                    <a:pt x="135" y="222"/>
                    <a:pt x="123" y="228"/>
                  </a:cubicBezTo>
                  <a:cubicBezTo>
                    <a:pt x="111" y="234"/>
                    <a:pt x="97" y="237"/>
                    <a:pt x="81" y="237"/>
                  </a:cubicBezTo>
                  <a:cubicBezTo>
                    <a:pt x="65" y="237"/>
                    <a:pt x="51" y="234"/>
                    <a:pt x="39" y="228"/>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4" name="Freeform 38">
              <a:extLst>
                <a:ext uri="{FF2B5EF4-FFF2-40B4-BE49-F238E27FC236}">
                  <a16:creationId xmlns:a16="http://schemas.microsoft.com/office/drawing/2014/main" id="{A588A109-B5A1-247F-71F3-4E6DA69C5AA3}"/>
                </a:ext>
              </a:extLst>
            </p:cNvPr>
            <p:cNvSpPr>
              <a:spLocks noEditPoints="1"/>
            </p:cNvSpPr>
            <p:nvPr userDrawn="1"/>
          </p:nvSpPr>
          <p:spPr bwMode="auto">
            <a:xfrm>
              <a:off x="6495" y="2961"/>
              <a:ext cx="51" cy="74"/>
            </a:xfrm>
            <a:custGeom>
              <a:avLst/>
              <a:gdLst>
                <a:gd name="T0" fmla="*/ 39 w 164"/>
                <a:gd name="T1" fmla="*/ 227 h 237"/>
                <a:gd name="T2" fmla="*/ 10 w 164"/>
                <a:gd name="T3" fmla="*/ 199 h 237"/>
                <a:gd name="T4" fmla="*/ 0 w 164"/>
                <a:gd name="T5" fmla="*/ 158 h 237"/>
                <a:gd name="T6" fmla="*/ 0 w 164"/>
                <a:gd name="T7" fmla="*/ 79 h 237"/>
                <a:gd name="T8" fmla="*/ 10 w 164"/>
                <a:gd name="T9" fmla="*/ 37 h 237"/>
                <a:gd name="T10" fmla="*/ 39 w 164"/>
                <a:gd name="T11" fmla="*/ 9 h 237"/>
                <a:gd name="T12" fmla="*/ 81 w 164"/>
                <a:gd name="T13" fmla="*/ 0 h 237"/>
                <a:gd name="T14" fmla="*/ 125 w 164"/>
                <a:gd name="T15" fmla="*/ 9 h 237"/>
                <a:gd name="T16" fmla="*/ 154 w 164"/>
                <a:gd name="T17" fmla="*/ 37 h 237"/>
                <a:gd name="T18" fmla="*/ 164 w 164"/>
                <a:gd name="T19" fmla="*/ 79 h 237"/>
                <a:gd name="T20" fmla="*/ 164 w 164"/>
                <a:gd name="T21" fmla="*/ 157 h 237"/>
                <a:gd name="T22" fmla="*/ 154 w 164"/>
                <a:gd name="T23" fmla="*/ 199 h 237"/>
                <a:gd name="T24" fmla="*/ 125 w 164"/>
                <a:gd name="T25" fmla="*/ 227 h 237"/>
                <a:gd name="T26" fmla="*/ 82 w 164"/>
                <a:gd name="T27" fmla="*/ 237 h 237"/>
                <a:gd name="T28" fmla="*/ 39 w 164"/>
                <a:gd name="T29" fmla="*/ 227 h 237"/>
                <a:gd name="T30" fmla="*/ 118 w 164"/>
                <a:gd name="T31" fmla="*/ 196 h 237"/>
                <a:gd name="T32" fmla="*/ 132 w 164"/>
                <a:gd name="T33" fmla="*/ 159 h 237"/>
                <a:gd name="T34" fmla="*/ 132 w 164"/>
                <a:gd name="T35" fmla="*/ 78 h 237"/>
                <a:gd name="T36" fmla="*/ 118 w 164"/>
                <a:gd name="T37" fmla="*/ 41 h 237"/>
                <a:gd name="T38" fmla="*/ 82 w 164"/>
                <a:gd name="T39" fmla="*/ 27 h 237"/>
                <a:gd name="T40" fmla="*/ 45 w 164"/>
                <a:gd name="T41" fmla="*/ 41 h 237"/>
                <a:gd name="T42" fmla="*/ 32 w 164"/>
                <a:gd name="T43" fmla="*/ 78 h 237"/>
                <a:gd name="T44" fmla="*/ 32 w 164"/>
                <a:gd name="T45" fmla="*/ 159 h 237"/>
                <a:gd name="T46" fmla="*/ 45 w 164"/>
                <a:gd name="T47" fmla="*/ 196 h 237"/>
                <a:gd name="T48" fmla="*/ 82 w 164"/>
                <a:gd name="T49" fmla="*/ 210 h 237"/>
                <a:gd name="T50" fmla="*/ 118 w 164"/>
                <a:gd name="T51" fmla="*/ 196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64" h="237">
                  <a:moveTo>
                    <a:pt x="39" y="227"/>
                  </a:moveTo>
                  <a:cubicBezTo>
                    <a:pt x="27" y="220"/>
                    <a:pt x="17" y="211"/>
                    <a:pt x="10" y="199"/>
                  </a:cubicBezTo>
                  <a:cubicBezTo>
                    <a:pt x="3" y="187"/>
                    <a:pt x="0" y="173"/>
                    <a:pt x="0" y="158"/>
                  </a:cubicBezTo>
                  <a:cubicBezTo>
                    <a:pt x="0" y="79"/>
                    <a:pt x="0" y="79"/>
                    <a:pt x="0" y="79"/>
                  </a:cubicBezTo>
                  <a:cubicBezTo>
                    <a:pt x="0" y="63"/>
                    <a:pt x="3" y="49"/>
                    <a:pt x="10" y="37"/>
                  </a:cubicBezTo>
                  <a:cubicBezTo>
                    <a:pt x="17" y="25"/>
                    <a:pt x="26" y="16"/>
                    <a:pt x="39" y="9"/>
                  </a:cubicBezTo>
                  <a:cubicBezTo>
                    <a:pt x="51" y="3"/>
                    <a:pt x="65" y="0"/>
                    <a:pt x="81" y="0"/>
                  </a:cubicBezTo>
                  <a:cubicBezTo>
                    <a:pt x="98" y="0"/>
                    <a:pt x="112" y="3"/>
                    <a:pt x="125" y="9"/>
                  </a:cubicBezTo>
                  <a:cubicBezTo>
                    <a:pt x="137" y="16"/>
                    <a:pt x="147" y="25"/>
                    <a:pt x="154" y="37"/>
                  </a:cubicBezTo>
                  <a:cubicBezTo>
                    <a:pt x="161" y="49"/>
                    <a:pt x="164" y="63"/>
                    <a:pt x="164" y="79"/>
                  </a:cubicBezTo>
                  <a:cubicBezTo>
                    <a:pt x="164" y="157"/>
                    <a:pt x="164" y="157"/>
                    <a:pt x="164" y="157"/>
                  </a:cubicBezTo>
                  <a:cubicBezTo>
                    <a:pt x="164" y="173"/>
                    <a:pt x="161" y="187"/>
                    <a:pt x="154" y="199"/>
                  </a:cubicBezTo>
                  <a:cubicBezTo>
                    <a:pt x="147" y="211"/>
                    <a:pt x="137" y="220"/>
                    <a:pt x="125" y="227"/>
                  </a:cubicBezTo>
                  <a:cubicBezTo>
                    <a:pt x="112" y="234"/>
                    <a:pt x="98" y="237"/>
                    <a:pt x="82" y="237"/>
                  </a:cubicBezTo>
                  <a:cubicBezTo>
                    <a:pt x="66" y="237"/>
                    <a:pt x="51" y="234"/>
                    <a:pt x="39" y="227"/>
                  </a:cubicBezTo>
                  <a:moveTo>
                    <a:pt x="118" y="196"/>
                  </a:moveTo>
                  <a:cubicBezTo>
                    <a:pt x="128" y="186"/>
                    <a:pt x="132" y="174"/>
                    <a:pt x="132" y="159"/>
                  </a:cubicBezTo>
                  <a:cubicBezTo>
                    <a:pt x="132" y="78"/>
                    <a:pt x="132" y="78"/>
                    <a:pt x="132" y="78"/>
                  </a:cubicBezTo>
                  <a:cubicBezTo>
                    <a:pt x="132" y="63"/>
                    <a:pt x="128" y="50"/>
                    <a:pt x="118" y="41"/>
                  </a:cubicBezTo>
                  <a:cubicBezTo>
                    <a:pt x="109" y="32"/>
                    <a:pt x="97" y="27"/>
                    <a:pt x="82" y="27"/>
                  </a:cubicBezTo>
                  <a:cubicBezTo>
                    <a:pt x="67" y="27"/>
                    <a:pt x="54" y="32"/>
                    <a:pt x="45" y="41"/>
                  </a:cubicBezTo>
                  <a:cubicBezTo>
                    <a:pt x="36" y="51"/>
                    <a:pt x="32" y="63"/>
                    <a:pt x="32" y="78"/>
                  </a:cubicBezTo>
                  <a:cubicBezTo>
                    <a:pt x="32" y="159"/>
                    <a:pt x="32" y="159"/>
                    <a:pt x="32" y="159"/>
                  </a:cubicBezTo>
                  <a:cubicBezTo>
                    <a:pt x="32" y="174"/>
                    <a:pt x="36" y="186"/>
                    <a:pt x="45" y="196"/>
                  </a:cubicBezTo>
                  <a:cubicBezTo>
                    <a:pt x="55" y="205"/>
                    <a:pt x="67" y="210"/>
                    <a:pt x="82" y="210"/>
                  </a:cubicBezTo>
                  <a:cubicBezTo>
                    <a:pt x="97" y="210"/>
                    <a:pt x="109" y="205"/>
                    <a:pt x="118" y="196"/>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5" name="Freeform 39">
              <a:extLst>
                <a:ext uri="{FF2B5EF4-FFF2-40B4-BE49-F238E27FC236}">
                  <a16:creationId xmlns:a16="http://schemas.microsoft.com/office/drawing/2014/main" id="{FA53FCBF-8A67-F7DE-3BDC-D7788FB881C3}"/>
                </a:ext>
              </a:extLst>
            </p:cNvPr>
            <p:cNvSpPr>
              <a:spLocks/>
            </p:cNvSpPr>
            <p:nvPr userDrawn="1"/>
          </p:nvSpPr>
          <p:spPr bwMode="auto">
            <a:xfrm>
              <a:off x="6559" y="2962"/>
              <a:ext cx="57" cy="72"/>
            </a:xfrm>
            <a:custGeom>
              <a:avLst/>
              <a:gdLst>
                <a:gd name="T0" fmla="*/ 154 w 183"/>
                <a:gd name="T1" fmla="*/ 0 h 232"/>
                <a:gd name="T2" fmla="*/ 180 w 183"/>
                <a:gd name="T3" fmla="*/ 0 h 232"/>
                <a:gd name="T4" fmla="*/ 183 w 183"/>
                <a:gd name="T5" fmla="*/ 3 h 232"/>
                <a:gd name="T6" fmla="*/ 183 w 183"/>
                <a:gd name="T7" fmla="*/ 229 h 232"/>
                <a:gd name="T8" fmla="*/ 180 w 183"/>
                <a:gd name="T9" fmla="*/ 232 h 232"/>
                <a:gd name="T10" fmla="*/ 155 w 183"/>
                <a:gd name="T11" fmla="*/ 232 h 232"/>
                <a:gd name="T12" fmla="*/ 151 w 183"/>
                <a:gd name="T13" fmla="*/ 229 h 232"/>
                <a:gd name="T14" fmla="*/ 151 w 183"/>
                <a:gd name="T15" fmla="*/ 59 h 232"/>
                <a:gd name="T16" fmla="*/ 150 w 183"/>
                <a:gd name="T17" fmla="*/ 58 h 232"/>
                <a:gd name="T18" fmla="*/ 149 w 183"/>
                <a:gd name="T19" fmla="*/ 58 h 232"/>
                <a:gd name="T20" fmla="*/ 102 w 183"/>
                <a:gd name="T21" fmla="*/ 131 h 232"/>
                <a:gd name="T22" fmla="*/ 98 w 183"/>
                <a:gd name="T23" fmla="*/ 133 h 232"/>
                <a:gd name="T24" fmla="*/ 86 w 183"/>
                <a:gd name="T25" fmla="*/ 133 h 232"/>
                <a:gd name="T26" fmla="*/ 82 w 183"/>
                <a:gd name="T27" fmla="*/ 131 h 232"/>
                <a:gd name="T28" fmla="*/ 34 w 183"/>
                <a:gd name="T29" fmla="*/ 59 h 232"/>
                <a:gd name="T30" fmla="*/ 33 w 183"/>
                <a:gd name="T31" fmla="*/ 58 h 232"/>
                <a:gd name="T32" fmla="*/ 32 w 183"/>
                <a:gd name="T33" fmla="*/ 60 h 232"/>
                <a:gd name="T34" fmla="*/ 32 w 183"/>
                <a:gd name="T35" fmla="*/ 229 h 232"/>
                <a:gd name="T36" fmla="*/ 29 w 183"/>
                <a:gd name="T37" fmla="*/ 232 h 232"/>
                <a:gd name="T38" fmla="*/ 4 w 183"/>
                <a:gd name="T39" fmla="*/ 232 h 232"/>
                <a:gd name="T40" fmla="*/ 1 w 183"/>
                <a:gd name="T41" fmla="*/ 229 h 232"/>
                <a:gd name="T42" fmla="*/ 0 w 183"/>
                <a:gd name="T43" fmla="*/ 3 h 232"/>
                <a:gd name="T44" fmla="*/ 4 w 183"/>
                <a:gd name="T45" fmla="*/ 0 h 232"/>
                <a:gd name="T46" fmla="*/ 29 w 183"/>
                <a:gd name="T47" fmla="*/ 0 h 232"/>
                <a:gd name="T48" fmla="*/ 33 w 183"/>
                <a:gd name="T49" fmla="*/ 2 h 232"/>
                <a:gd name="T50" fmla="*/ 91 w 183"/>
                <a:gd name="T51" fmla="*/ 89 h 232"/>
                <a:gd name="T52" fmla="*/ 92 w 183"/>
                <a:gd name="T53" fmla="*/ 89 h 232"/>
                <a:gd name="T54" fmla="*/ 93 w 183"/>
                <a:gd name="T55" fmla="*/ 89 h 232"/>
                <a:gd name="T56" fmla="*/ 150 w 183"/>
                <a:gd name="T57" fmla="*/ 2 h 232"/>
                <a:gd name="T58" fmla="*/ 154 w 183"/>
                <a:gd name="T59" fmla="*/ 0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83" h="232">
                  <a:moveTo>
                    <a:pt x="154" y="0"/>
                  </a:moveTo>
                  <a:cubicBezTo>
                    <a:pt x="180" y="0"/>
                    <a:pt x="180" y="0"/>
                    <a:pt x="180" y="0"/>
                  </a:cubicBezTo>
                  <a:cubicBezTo>
                    <a:pt x="182" y="0"/>
                    <a:pt x="183" y="1"/>
                    <a:pt x="183" y="3"/>
                  </a:cubicBezTo>
                  <a:cubicBezTo>
                    <a:pt x="183" y="229"/>
                    <a:pt x="183" y="229"/>
                    <a:pt x="183" y="229"/>
                  </a:cubicBezTo>
                  <a:cubicBezTo>
                    <a:pt x="183" y="231"/>
                    <a:pt x="182" y="232"/>
                    <a:pt x="180" y="232"/>
                  </a:cubicBezTo>
                  <a:cubicBezTo>
                    <a:pt x="155" y="232"/>
                    <a:pt x="155" y="232"/>
                    <a:pt x="155" y="232"/>
                  </a:cubicBezTo>
                  <a:cubicBezTo>
                    <a:pt x="152" y="232"/>
                    <a:pt x="151" y="231"/>
                    <a:pt x="151" y="229"/>
                  </a:cubicBezTo>
                  <a:cubicBezTo>
                    <a:pt x="151" y="59"/>
                    <a:pt x="151" y="59"/>
                    <a:pt x="151" y="59"/>
                  </a:cubicBezTo>
                  <a:cubicBezTo>
                    <a:pt x="151" y="58"/>
                    <a:pt x="151" y="58"/>
                    <a:pt x="150" y="58"/>
                  </a:cubicBezTo>
                  <a:cubicBezTo>
                    <a:pt x="150" y="57"/>
                    <a:pt x="150" y="58"/>
                    <a:pt x="149" y="58"/>
                  </a:cubicBezTo>
                  <a:cubicBezTo>
                    <a:pt x="102" y="131"/>
                    <a:pt x="102" y="131"/>
                    <a:pt x="102" y="131"/>
                  </a:cubicBezTo>
                  <a:cubicBezTo>
                    <a:pt x="101" y="132"/>
                    <a:pt x="100" y="133"/>
                    <a:pt x="98" y="133"/>
                  </a:cubicBezTo>
                  <a:cubicBezTo>
                    <a:pt x="86" y="133"/>
                    <a:pt x="86" y="133"/>
                    <a:pt x="86" y="133"/>
                  </a:cubicBezTo>
                  <a:cubicBezTo>
                    <a:pt x="84" y="133"/>
                    <a:pt x="83" y="132"/>
                    <a:pt x="82" y="131"/>
                  </a:cubicBezTo>
                  <a:cubicBezTo>
                    <a:pt x="34" y="59"/>
                    <a:pt x="34" y="59"/>
                    <a:pt x="34" y="59"/>
                  </a:cubicBezTo>
                  <a:cubicBezTo>
                    <a:pt x="34" y="58"/>
                    <a:pt x="33" y="58"/>
                    <a:pt x="33" y="58"/>
                  </a:cubicBezTo>
                  <a:cubicBezTo>
                    <a:pt x="32" y="59"/>
                    <a:pt x="32" y="59"/>
                    <a:pt x="32" y="60"/>
                  </a:cubicBezTo>
                  <a:cubicBezTo>
                    <a:pt x="32" y="229"/>
                    <a:pt x="32" y="229"/>
                    <a:pt x="32" y="229"/>
                  </a:cubicBezTo>
                  <a:cubicBezTo>
                    <a:pt x="32" y="231"/>
                    <a:pt x="31" y="232"/>
                    <a:pt x="29" y="232"/>
                  </a:cubicBezTo>
                  <a:cubicBezTo>
                    <a:pt x="4" y="232"/>
                    <a:pt x="4" y="232"/>
                    <a:pt x="4" y="232"/>
                  </a:cubicBezTo>
                  <a:cubicBezTo>
                    <a:pt x="2" y="232"/>
                    <a:pt x="1" y="231"/>
                    <a:pt x="1" y="229"/>
                  </a:cubicBezTo>
                  <a:cubicBezTo>
                    <a:pt x="0" y="3"/>
                    <a:pt x="0" y="3"/>
                    <a:pt x="0" y="3"/>
                  </a:cubicBezTo>
                  <a:cubicBezTo>
                    <a:pt x="0" y="1"/>
                    <a:pt x="1" y="0"/>
                    <a:pt x="4" y="0"/>
                  </a:cubicBezTo>
                  <a:cubicBezTo>
                    <a:pt x="29" y="0"/>
                    <a:pt x="29" y="0"/>
                    <a:pt x="29" y="0"/>
                  </a:cubicBezTo>
                  <a:cubicBezTo>
                    <a:pt x="31" y="0"/>
                    <a:pt x="32" y="1"/>
                    <a:pt x="33" y="2"/>
                  </a:cubicBezTo>
                  <a:cubicBezTo>
                    <a:pt x="91" y="89"/>
                    <a:pt x="91" y="89"/>
                    <a:pt x="91" y="89"/>
                  </a:cubicBezTo>
                  <a:cubicBezTo>
                    <a:pt x="91" y="89"/>
                    <a:pt x="91" y="89"/>
                    <a:pt x="92" y="89"/>
                  </a:cubicBezTo>
                  <a:cubicBezTo>
                    <a:pt x="92" y="89"/>
                    <a:pt x="93" y="89"/>
                    <a:pt x="93" y="89"/>
                  </a:cubicBezTo>
                  <a:cubicBezTo>
                    <a:pt x="150" y="2"/>
                    <a:pt x="150" y="2"/>
                    <a:pt x="150" y="2"/>
                  </a:cubicBezTo>
                  <a:cubicBezTo>
                    <a:pt x="152" y="1"/>
                    <a:pt x="153" y="0"/>
                    <a:pt x="154" y="0"/>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6" name="Freeform 40">
              <a:extLst>
                <a:ext uri="{FF2B5EF4-FFF2-40B4-BE49-F238E27FC236}">
                  <a16:creationId xmlns:a16="http://schemas.microsoft.com/office/drawing/2014/main" id="{6D3A3691-EF35-CB74-29A0-16EB446DA9A2}"/>
                </a:ext>
              </a:extLst>
            </p:cNvPr>
            <p:cNvSpPr>
              <a:spLocks noEditPoints="1"/>
            </p:cNvSpPr>
            <p:nvPr userDrawn="1"/>
          </p:nvSpPr>
          <p:spPr bwMode="auto">
            <a:xfrm>
              <a:off x="6632" y="2962"/>
              <a:ext cx="51" cy="72"/>
            </a:xfrm>
            <a:custGeom>
              <a:avLst/>
              <a:gdLst>
                <a:gd name="T0" fmla="*/ 129 w 161"/>
                <a:gd name="T1" fmla="*/ 8 h 232"/>
                <a:gd name="T2" fmla="*/ 152 w 161"/>
                <a:gd name="T3" fmla="*/ 32 h 232"/>
                <a:gd name="T4" fmla="*/ 161 w 161"/>
                <a:gd name="T5" fmla="*/ 67 h 232"/>
                <a:gd name="T6" fmla="*/ 152 w 161"/>
                <a:gd name="T7" fmla="*/ 102 h 232"/>
                <a:gd name="T8" fmla="*/ 128 w 161"/>
                <a:gd name="T9" fmla="*/ 125 h 232"/>
                <a:gd name="T10" fmla="*/ 92 w 161"/>
                <a:gd name="T11" fmla="*/ 133 h 232"/>
                <a:gd name="T12" fmla="*/ 33 w 161"/>
                <a:gd name="T13" fmla="*/ 133 h 232"/>
                <a:gd name="T14" fmla="*/ 32 w 161"/>
                <a:gd name="T15" fmla="*/ 134 h 232"/>
                <a:gd name="T16" fmla="*/ 32 w 161"/>
                <a:gd name="T17" fmla="*/ 229 h 232"/>
                <a:gd name="T18" fmla="*/ 29 w 161"/>
                <a:gd name="T19" fmla="*/ 232 h 232"/>
                <a:gd name="T20" fmla="*/ 4 w 161"/>
                <a:gd name="T21" fmla="*/ 232 h 232"/>
                <a:gd name="T22" fmla="*/ 0 w 161"/>
                <a:gd name="T23" fmla="*/ 229 h 232"/>
                <a:gd name="T24" fmla="*/ 0 w 161"/>
                <a:gd name="T25" fmla="*/ 3 h 232"/>
                <a:gd name="T26" fmla="*/ 4 w 161"/>
                <a:gd name="T27" fmla="*/ 0 h 232"/>
                <a:gd name="T28" fmla="*/ 93 w 161"/>
                <a:gd name="T29" fmla="*/ 0 h 232"/>
                <a:gd name="T30" fmla="*/ 129 w 161"/>
                <a:gd name="T31" fmla="*/ 8 h 232"/>
                <a:gd name="T32" fmla="*/ 118 w 161"/>
                <a:gd name="T33" fmla="*/ 96 h 232"/>
                <a:gd name="T34" fmla="*/ 129 w 161"/>
                <a:gd name="T35" fmla="*/ 67 h 232"/>
                <a:gd name="T36" fmla="*/ 118 w 161"/>
                <a:gd name="T37" fmla="*/ 38 h 232"/>
                <a:gd name="T38" fmla="*/ 89 w 161"/>
                <a:gd name="T39" fmla="*/ 27 h 232"/>
                <a:gd name="T40" fmla="*/ 33 w 161"/>
                <a:gd name="T41" fmla="*/ 27 h 232"/>
                <a:gd name="T42" fmla="*/ 32 w 161"/>
                <a:gd name="T43" fmla="*/ 28 h 232"/>
                <a:gd name="T44" fmla="*/ 32 w 161"/>
                <a:gd name="T45" fmla="*/ 106 h 232"/>
                <a:gd name="T46" fmla="*/ 33 w 161"/>
                <a:gd name="T47" fmla="*/ 107 h 232"/>
                <a:gd name="T48" fmla="*/ 89 w 161"/>
                <a:gd name="T49" fmla="*/ 107 h 232"/>
                <a:gd name="T50" fmla="*/ 118 w 161"/>
                <a:gd name="T51" fmla="*/ 96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61" h="232">
                  <a:moveTo>
                    <a:pt x="129" y="8"/>
                  </a:moveTo>
                  <a:cubicBezTo>
                    <a:pt x="139" y="14"/>
                    <a:pt x="147" y="22"/>
                    <a:pt x="152" y="32"/>
                  </a:cubicBezTo>
                  <a:cubicBezTo>
                    <a:pt x="158" y="42"/>
                    <a:pt x="161" y="54"/>
                    <a:pt x="161" y="67"/>
                  </a:cubicBezTo>
                  <a:cubicBezTo>
                    <a:pt x="161" y="80"/>
                    <a:pt x="158" y="92"/>
                    <a:pt x="152" y="102"/>
                  </a:cubicBezTo>
                  <a:cubicBezTo>
                    <a:pt x="147" y="112"/>
                    <a:pt x="138" y="119"/>
                    <a:pt x="128" y="125"/>
                  </a:cubicBezTo>
                  <a:cubicBezTo>
                    <a:pt x="118" y="130"/>
                    <a:pt x="105" y="133"/>
                    <a:pt x="92" y="133"/>
                  </a:cubicBezTo>
                  <a:cubicBezTo>
                    <a:pt x="33" y="133"/>
                    <a:pt x="33" y="133"/>
                    <a:pt x="33" y="133"/>
                  </a:cubicBezTo>
                  <a:cubicBezTo>
                    <a:pt x="33" y="133"/>
                    <a:pt x="32" y="134"/>
                    <a:pt x="32" y="134"/>
                  </a:cubicBezTo>
                  <a:cubicBezTo>
                    <a:pt x="32" y="229"/>
                    <a:pt x="32" y="229"/>
                    <a:pt x="32" y="229"/>
                  </a:cubicBezTo>
                  <a:cubicBezTo>
                    <a:pt x="32" y="231"/>
                    <a:pt x="31" y="232"/>
                    <a:pt x="29" y="232"/>
                  </a:cubicBezTo>
                  <a:cubicBezTo>
                    <a:pt x="4" y="232"/>
                    <a:pt x="4" y="232"/>
                    <a:pt x="4" y="232"/>
                  </a:cubicBezTo>
                  <a:cubicBezTo>
                    <a:pt x="1" y="232"/>
                    <a:pt x="0" y="231"/>
                    <a:pt x="0" y="229"/>
                  </a:cubicBezTo>
                  <a:cubicBezTo>
                    <a:pt x="0" y="3"/>
                    <a:pt x="0" y="3"/>
                    <a:pt x="0" y="3"/>
                  </a:cubicBezTo>
                  <a:cubicBezTo>
                    <a:pt x="0" y="1"/>
                    <a:pt x="1" y="0"/>
                    <a:pt x="4" y="0"/>
                  </a:cubicBezTo>
                  <a:cubicBezTo>
                    <a:pt x="93" y="0"/>
                    <a:pt x="93" y="0"/>
                    <a:pt x="93" y="0"/>
                  </a:cubicBezTo>
                  <a:cubicBezTo>
                    <a:pt x="106" y="0"/>
                    <a:pt x="118" y="2"/>
                    <a:pt x="129" y="8"/>
                  </a:cubicBezTo>
                  <a:moveTo>
                    <a:pt x="118" y="96"/>
                  </a:moveTo>
                  <a:cubicBezTo>
                    <a:pt x="125" y="89"/>
                    <a:pt x="129" y="79"/>
                    <a:pt x="129" y="67"/>
                  </a:cubicBezTo>
                  <a:cubicBezTo>
                    <a:pt x="129" y="55"/>
                    <a:pt x="125" y="46"/>
                    <a:pt x="118" y="38"/>
                  </a:cubicBezTo>
                  <a:cubicBezTo>
                    <a:pt x="111" y="31"/>
                    <a:pt x="101" y="27"/>
                    <a:pt x="89" y="27"/>
                  </a:cubicBezTo>
                  <a:cubicBezTo>
                    <a:pt x="33" y="27"/>
                    <a:pt x="33" y="27"/>
                    <a:pt x="33" y="27"/>
                  </a:cubicBezTo>
                  <a:cubicBezTo>
                    <a:pt x="32" y="27"/>
                    <a:pt x="32" y="28"/>
                    <a:pt x="32" y="28"/>
                  </a:cubicBezTo>
                  <a:cubicBezTo>
                    <a:pt x="32" y="106"/>
                    <a:pt x="32" y="106"/>
                    <a:pt x="32" y="106"/>
                  </a:cubicBezTo>
                  <a:cubicBezTo>
                    <a:pt x="32" y="107"/>
                    <a:pt x="33" y="107"/>
                    <a:pt x="33" y="107"/>
                  </a:cubicBezTo>
                  <a:cubicBezTo>
                    <a:pt x="89" y="107"/>
                    <a:pt x="89" y="107"/>
                    <a:pt x="89" y="107"/>
                  </a:cubicBezTo>
                  <a:cubicBezTo>
                    <a:pt x="101" y="107"/>
                    <a:pt x="111" y="104"/>
                    <a:pt x="118" y="96"/>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7" name="Freeform 41">
              <a:extLst>
                <a:ext uri="{FF2B5EF4-FFF2-40B4-BE49-F238E27FC236}">
                  <a16:creationId xmlns:a16="http://schemas.microsoft.com/office/drawing/2014/main" id="{04A5BAAD-0CCF-6036-407C-FDFABC47BBC7}"/>
                </a:ext>
              </a:extLst>
            </p:cNvPr>
            <p:cNvSpPr>
              <a:spLocks noEditPoints="1"/>
            </p:cNvSpPr>
            <p:nvPr userDrawn="1"/>
          </p:nvSpPr>
          <p:spPr bwMode="auto">
            <a:xfrm>
              <a:off x="6681" y="2962"/>
              <a:ext cx="59" cy="72"/>
            </a:xfrm>
            <a:custGeom>
              <a:avLst/>
              <a:gdLst>
                <a:gd name="T0" fmla="*/ 154 w 188"/>
                <a:gd name="T1" fmla="*/ 229 h 232"/>
                <a:gd name="T2" fmla="*/ 142 w 188"/>
                <a:gd name="T3" fmla="*/ 190 h 232"/>
                <a:gd name="T4" fmla="*/ 140 w 188"/>
                <a:gd name="T5" fmla="*/ 189 h 232"/>
                <a:gd name="T6" fmla="*/ 47 w 188"/>
                <a:gd name="T7" fmla="*/ 189 h 232"/>
                <a:gd name="T8" fmla="*/ 46 w 188"/>
                <a:gd name="T9" fmla="*/ 190 h 232"/>
                <a:gd name="T10" fmla="*/ 34 w 188"/>
                <a:gd name="T11" fmla="*/ 229 h 232"/>
                <a:gd name="T12" fmla="*/ 30 w 188"/>
                <a:gd name="T13" fmla="*/ 232 h 232"/>
                <a:gd name="T14" fmla="*/ 3 w 188"/>
                <a:gd name="T15" fmla="*/ 232 h 232"/>
                <a:gd name="T16" fmla="*/ 0 w 188"/>
                <a:gd name="T17" fmla="*/ 228 h 232"/>
                <a:gd name="T18" fmla="*/ 73 w 188"/>
                <a:gd name="T19" fmla="*/ 2 h 232"/>
                <a:gd name="T20" fmla="*/ 77 w 188"/>
                <a:gd name="T21" fmla="*/ 0 h 232"/>
                <a:gd name="T22" fmla="*/ 110 w 188"/>
                <a:gd name="T23" fmla="*/ 0 h 232"/>
                <a:gd name="T24" fmla="*/ 114 w 188"/>
                <a:gd name="T25" fmla="*/ 2 h 232"/>
                <a:gd name="T26" fmla="*/ 187 w 188"/>
                <a:gd name="T27" fmla="*/ 228 h 232"/>
                <a:gd name="T28" fmla="*/ 188 w 188"/>
                <a:gd name="T29" fmla="*/ 229 h 232"/>
                <a:gd name="T30" fmla="*/ 185 w 188"/>
                <a:gd name="T31" fmla="*/ 232 h 232"/>
                <a:gd name="T32" fmla="*/ 158 w 188"/>
                <a:gd name="T33" fmla="*/ 232 h 232"/>
                <a:gd name="T34" fmla="*/ 154 w 188"/>
                <a:gd name="T35" fmla="*/ 229 h 232"/>
                <a:gd name="T36" fmla="*/ 55 w 188"/>
                <a:gd name="T37" fmla="*/ 164 h 232"/>
                <a:gd name="T38" fmla="*/ 56 w 188"/>
                <a:gd name="T39" fmla="*/ 164 h 232"/>
                <a:gd name="T40" fmla="*/ 132 w 188"/>
                <a:gd name="T41" fmla="*/ 164 h 232"/>
                <a:gd name="T42" fmla="*/ 133 w 188"/>
                <a:gd name="T43" fmla="*/ 164 h 232"/>
                <a:gd name="T44" fmla="*/ 133 w 188"/>
                <a:gd name="T45" fmla="*/ 162 h 232"/>
                <a:gd name="T46" fmla="*/ 94 w 188"/>
                <a:gd name="T47" fmla="*/ 40 h 232"/>
                <a:gd name="T48" fmla="*/ 93 w 188"/>
                <a:gd name="T49" fmla="*/ 39 h 232"/>
                <a:gd name="T50" fmla="*/ 92 w 188"/>
                <a:gd name="T51" fmla="*/ 40 h 232"/>
                <a:gd name="T52" fmla="*/ 54 w 188"/>
                <a:gd name="T53" fmla="*/ 163 h 232"/>
                <a:gd name="T54" fmla="*/ 55 w 188"/>
                <a:gd name="T55" fmla="*/ 164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88" h="232">
                  <a:moveTo>
                    <a:pt x="154" y="229"/>
                  </a:moveTo>
                  <a:cubicBezTo>
                    <a:pt x="142" y="190"/>
                    <a:pt x="142" y="190"/>
                    <a:pt x="142" y="190"/>
                  </a:cubicBezTo>
                  <a:cubicBezTo>
                    <a:pt x="142" y="190"/>
                    <a:pt x="141" y="189"/>
                    <a:pt x="140" y="189"/>
                  </a:cubicBezTo>
                  <a:cubicBezTo>
                    <a:pt x="47" y="189"/>
                    <a:pt x="47" y="189"/>
                    <a:pt x="47" y="189"/>
                  </a:cubicBezTo>
                  <a:cubicBezTo>
                    <a:pt x="46" y="189"/>
                    <a:pt x="46" y="190"/>
                    <a:pt x="46" y="190"/>
                  </a:cubicBezTo>
                  <a:cubicBezTo>
                    <a:pt x="34" y="229"/>
                    <a:pt x="34" y="229"/>
                    <a:pt x="34" y="229"/>
                  </a:cubicBezTo>
                  <a:cubicBezTo>
                    <a:pt x="33" y="231"/>
                    <a:pt x="32" y="232"/>
                    <a:pt x="30" y="232"/>
                  </a:cubicBezTo>
                  <a:cubicBezTo>
                    <a:pt x="3" y="232"/>
                    <a:pt x="3" y="232"/>
                    <a:pt x="3" y="232"/>
                  </a:cubicBezTo>
                  <a:cubicBezTo>
                    <a:pt x="1" y="232"/>
                    <a:pt x="0" y="231"/>
                    <a:pt x="0" y="228"/>
                  </a:cubicBezTo>
                  <a:cubicBezTo>
                    <a:pt x="73" y="2"/>
                    <a:pt x="73" y="2"/>
                    <a:pt x="73" y="2"/>
                  </a:cubicBezTo>
                  <a:cubicBezTo>
                    <a:pt x="73" y="1"/>
                    <a:pt x="75" y="0"/>
                    <a:pt x="77" y="0"/>
                  </a:cubicBezTo>
                  <a:cubicBezTo>
                    <a:pt x="110" y="0"/>
                    <a:pt x="110" y="0"/>
                    <a:pt x="110" y="0"/>
                  </a:cubicBezTo>
                  <a:cubicBezTo>
                    <a:pt x="112" y="0"/>
                    <a:pt x="114" y="1"/>
                    <a:pt x="114" y="2"/>
                  </a:cubicBezTo>
                  <a:cubicBezTo>
                    <a:pt x="187" y="228"/>
                    <a:pt x="187" y="228"/>
                    <a:pt x="187" y="228"/>
                  </a:cubicBezTo>
                  <a:cubicBezTo>
                    <a:pt x="188" y="229"/>
                    <a:pt x="188" y="229"/>
                    <a:pt x="188" y="229"/>
                  </a:cubicBezTo>
                  <a:cubicBezTo>
                    <a:pt x="188" y="231"/>
                    <a:pt x="187" y="232"/>
                    <a:pt x="185" y="232"/>
                  </a:cubicBezTo>
                  <a:cubicBezTo>
                    <a:pt x="158" y="232"/>
                    <a:pt x="158" y="232"/>
                    <a:pt x="158" y="232"/>
                  </a:cubicBezTo>
                  <a:cubicBezTo>
                    <a:pt x="156" y="232"/>
                    <a:pt x="154" y="231"/>
                    <a:pt x="154" y="229"/>
                  </a:cubicBezTo>
                  <a:moveTo>
                    <a:pt x="55" y="164"/>
                  </a:moveTo>
                  <a:cubicBezTo>
                    <a:pt x="55" y="164"/>
                    <a:pt x="55" y="164"/>
                    <a:pt x="56" y="164"/>
                  </a:cubicBezTo>
                  <a:cubicBezTo>
                    <a:pt x="132" y="164"/>
                    <a:pt x="132" y="164"/>
                    <a:pt x="132" y="164"/>
                  </a:cubicBezTo>
                  <a:cubicBezTo>
                    <a:pt x="132" y="164"/>
                    <a:pt x="133" y="164"/>
                    <a:pt x="133" y="164"/>
                  </a:cubicBezTo>
                  <a:cubicBezTo>
                    <a:pt x="133" y="163"/>
                    <a:pt x="133" y="163"/>
                    <a:pt x="133" y="162"/>
                  </a:cubicBezTo>
                  <a:cubicBezTo>
                    <a:pt x="94" y="40"/>
                    <a:pt x="94" y="40"/>
                    <a:pt x="94" y="40"/>
                  </a:cubicBezTo>
                  <a:cubicBezTo>
                    <a:pt x="94" y="39"/>
                    <a:pt x="94" y="39"/>
                    <a:pt x="93" y="39"/>
                  </a:cubicBezTo>
                  <a:cubicBezTo>
                    <a:pt x="93" y="39"/>
                    <a:pt x="93" y="39"/>
                    <a:pt x="92" y="40"/>
                  </a:cubicBezTo>
                  <a:cubicBezTo>
                    <a:pt x="54" y="163"/>
                    <a:pt x="54" y="163"/>
                    <a:pt x="54" y="163"/>
                  </a:cubicBezTo>
                  <a:cubicBezTo>
                    <a:pt x="54" y="163"/>
                    <a:pt x="54" y="163"/>
                    <a:pt x="55" y="164"/>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8" name="Freeform 42">
              <a:extLst>
                <a:ext uri="{FF2B5EF4-FFF2-40B4-BE49-F238E27FC236}">
                  <a16:creationId xmlns:a16="http://schemas.microsoft.com/office/drawing/2014/main" id="{365FD4B8-6E0D-D9F7-7802-D0B09F6FD1E1}"/>
                </a:ext>
              </a:extLst>
            </p:cNvPr>
            <p:cNvSpPr>
              <a:spLocks/>
            </p:cNvSpPr>
            <p:nvPr userDrawn="1"/>
          </p:nvSpPr>
          <p:spPr bwMode="auto">
            <a:xfrm>
              <a:off x="6750" y="2962"/>
              <a:ext cx="52" cy="72"/>
            </a:xfrm>
            <a:custGeom>
              <a:avLst/>
              <a:gdLst>
                <a:gd name="T0" fmla="*/ 140 w 168"/>
                <a:gd name="T1" fmla="*/ 0 h 232"/>
                <a:gd name="T2" fmla="*/ 165 w 168"/>
                <a:gd name="T3" fmla="*/ 0 h 232"/>
                <a:gd name="T4" fmla="*/ 168 w 168"/>
                <a:gd name="T5" fmla="*/ 3 h 232"/>
                <a:gd name="T6" fmla="*/ 168 w 168"/>
                <a:gd name="T7" fmla="*/ 228 h 232"/>
                <a:gd name="T8" fmla="*/ 165 w 168"/>
                <a:gd name="T9" fmla="*/ 232 h 232"/>
                <a:gd name="T10" fmla="*/ 141 w 168"/>
                <a:gd name="T11" fmla="*/ 232 h 232"/>
                <a:gd name="T12" fmla="*/ 137 w 168"/>
                <a:gd name="T13" fmla="*/ 229 h 232"/>
                <a:gd name="T14" fmla="*/ 33 w 168"/>
                <a:gd name="T15" fmla="*/ 60 h 232"/>
                <a:gd name="T16" fmla="*/ 32 w 168"/>
                <a:gd name="T17" fmla="*/ 59 h 232"/>
                <a:gd name="T18" fmla="*/ 31 w 168"/>
                <a:gd name="T19" fmla="*/ 60 h 232"/>
                <a:gd name="T20" fmla="*/ 32 w 168"/>
                <a:gd name="T21" fmla="*/ 228 h 232"/>
                <a:gd name="T22" fmla="*/ 28 w 168"/>
                <a:gd name="T23" fmla="*/ 232 h 232"/>
                <a:gd name="T24" fmla="*/ 3 w 168"/>
                <a:gd name="T25" fmla="*/ 232 h 232"/>
                <a:gd name="T26" fmla="*/ 0 w 168"/>
                <a:gd name="T27" fmla="*/ 228 h 232"/>
                <a:gd name="T28" fmla="*/ 0 w 168"/>
                <a:gd name="T29" fmla="*/ 3 h 232"/>
                <a:gd name="T30" fmla="*/ 3 w 168"/>
                <a:gd name="T31" fmla="*/ 0 h 232"/>
                <a:gd name="T32" fmla="*/ 28 w 168"/>
                <a:gd name="T33" fmla="*/ 0 h 232"/>
                <a:gd name="T34" fmla="*/ 32 w 168"/>
                <a:gd name="T35" fmla="*/ 2 h 232"/>
                <a:gd name="T36" fmla="*/ 135 w 168"/>
                <a:gd name="T37" fmla="*/ 171 h 232"/>
                <a:gd name="T38" fmla="*/ 136 w 168"/>
                <a:gd name="T39" fmla="*/ 172 h 232"/>
                <a:gd name="T40" fmla="*/ 137 w 168"/>
                <a:gd name="T41" fmla="*/ 171 h 232"/>
                <a:gd name="T42" fmla="*/ 136 w 168"/>
                <a:gd name="T43" fmla="*/ 3 h 232"/>
                <a:gd name="T44" fmla="*/ 140 w 168"/>
                <a:gd name="T45" fmla="*/ 0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8" h="232">
                  <a:moveTo>
                    <a:pt x="140" y="0"/>
                  </a:moveTo>
                  <a:cubicBezTo>
                    <a:pt x="165" y="0"/>
                    <a:pt x="165" y="0"/>
                    <a:pt x="165" y="0"/>
                  </a:cubicBezTo>
                  <a:cubicBezTo>
                    <a:pt x="167" y="0"/>
                    <a:pt x="168" y="1"/>
                    <a:pt x="168" y="3"/>
                  </a:cubicBezTo>
                  <a:cubicBezTo>
                    <a:pt x="168" y="228"/>
                    <a:pt x="168" y="228"/>
                    <a:pt x="168" y="228"/>
                  </a:cubicBezTo>
                  <a:cubicBezTo>
                    <a:pt x="168" y="230"/>
                    <a:pt x="167" y="232"/>
                    <a:pt x="165" y="232"/>
                  </a:cubicBezTo>
                  <a:cubicBezTo>
                    <a:pt x="141" y="232"/>
                    <a:pt x="141" y="232"/>
                    <a:pt x="141" y="232"/>
                  </a:cubicBezTo>
                  <a:cubicBezTo>
                    <a:pt x="139" y="232"/>
                    <a:pt x="138" y="231"/>
                    <a:pt x="137" y="229"/>
                  </a:cubicBezTo>
                  <a:cubicBezTo>
                    <a:pt x="33" y="60"/>
                    <a:pt x="33" y="60"/>
                    <a:pt x="33" y="60"/>
                  </a:cubicBezTo>
                  <a:cubicBezTo>
                    <a:pt x="33" y="59"/>
                    <a:pt x="32" y="59"/>
                    <a:pt x="32" y="59"/>
                  </a:cubicBezTo>
                  <a:cubicBezTo>
                    <a:pt x="32" y="59"/>
                    <a:pt x="31" y="60"/>
                    <a:pt x="31" y="60"/>
                  </a:cubicBezTo>
                  <a:cubicBezTo>
                    <a:pt x="32" y="228"/>
                    <a:pt x="32" y="228"/>
                    <a:pt x="32" y="228"/>
                  </a:cubicBezTo>
                  <a:cubicBezTo>
                    <a:pt x="32" y="231"/>
                    <a:pt x="31" y="232"/>
                    <a:pt x="28" y="232"/>
                  </a:cubicBezTo>
                  <a:cubicBezTo>
                    <a:pt x="3" y="232"/>
                    <a:pt x="3" y="232"/>
                    <a:pt x="3" y="232"/>
                  </a:cubicBezTo>
                  <a:cubicBezTo>
                    <a:pt x="1" y="232"/>
                    <a:pt x="0" y="231"/>
                    <a:pt x="0" y="228"/>
                  </a:cubicBezTo>
                  <a:cubicBezTo>
                    <a:pt x="0" y="3"/>
                    <a:pt x="0" y="3"/>
                    <a:pt x="0" y="3"/>
                  </a:cubicBezTo>
                  <a:cubicBezTo>
                    <a:pt x="0" y="1"/>
                    <a:pt x="1" y="0"/>
                    <a:pt x="3" y="0"/>
                  </a:cubicBezTo>
                  <a:cubicBezTo>
                    <a:pt x="28" y="0"/>
                    <a:pt x="28" y="0"/>
                    <a:pt x="28" y="0"/>
                  </a:cubicBezTo>
                  <a:cubicBezTo>
                    <a:pt x="29" y="0"/>
                    <a:pt x="31" y="1"/>
                    <a:pt x="32" y="2"/>
                  </a:cubicBezTo>
                  <a:cubicBezTo>
                    <a:pt x="135" y="171"/>
                    <a:pt x="135" y="171"/>
                    <a:pt x="135" y="171"/>
                  </a:cubicBezTo>
                  <a:cubicBezTo>
                    <a:pt x="135" y="172"/>
                    <a:pt x="136" y="172"/>
                    <a:pt x="136" y="172"/>
                  </a:cubicBezTo>
                  <a:cubicBezTo>
                    <a:pt x="137" y="172"/>
                    <a:pt x="137" y="172"/>
                    <a:pt x="137" y="171"/>
                  </a:cubicBezTo>
                  <a:cubicBezTo>
                    <a:pt x="136" y="3"/>
                    <a:pt x="136" y="3"/>
                    <a:pt x="136" y="3"/>
                  </a:cubicBezTo>
                  <a:cubicBezTo>
                    <a:pt x="136" y="1"/>
                    <a:pt x="137" y="0"/>
                    <a:pt x="140" y="0"/>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9" name="Freeform 43">
              <a:extLst>
                <a:ext uri="{FF2B5EF4-FFF2-40B4-BE49-F238E27FC236}">
                  <a16:creationId xmlns:a16="http://schemas.microsoft.com/office/drawing/2014/main" id="{06B980F3-2E43-9A83-6CF9-014F1C83E01D}"/>
                </a:ext>
              </a:extLst>
            </p:cNvPr>
            <p:cNvSpPr>
              <a:spLocks/>
            </p:cNvSpPr>
            <p:nvPr userDrawn="1"/>
          </p:nvSpPr>
          <p:spPr bwMode="auto">
            <a:xfrm>
              <a:off x="6819" y="2962"/>
              <a:ext cx="9" cy="72"/>
            </a:xfrm>
            <a:custGeom>
              <a:avLst/>
              <a:gdLst>
                <a:gd name="T0" fmla="*/ 3 w 32"/>
                <a:gd name="T1" fmla="*/ 0 h 232"/>
                <a:gd name="T2" fmla="*/ 29 w 32"/>
                <a:gd name="T3" fmla="*/ 0 h 232"/>
                <a:gd name="T4" fmla="*/ 32 w 32"/>
                <a:gd name="T5" fmla="*/ 3 h 232"/>
                <a:gd name="T6" fmla="*/ 32 w 32"/>
                <a:gd name="T7" fmla="*/ 228 h 232"/>
                <a:gd name="T8" fmla="*/ 29 w 32"/>
                <a:gd name="T9" fmla="*/ 232 h 232"/>
                <a:gd name="T10" fmla="*/ 4 w 32"/>
                <a:gd name="T11" fmla="*/ 232 h 232"/>
                <a:gd name="T12" fmla="*/ 0 w 32"/>
                <a:gd name="T13" fmla="*/ 228 h 232"/>
                <a:gd name="T14" fmla="*/ 0 w 32"/>
                <a:gd name="T15" fmla="*/ 3 h 232"/>
                <a:gd name="T16" fmla="*/ 3 w 32"/>
                <a:gd name="T17" fmla="*/ 0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232">
                  <a:moveTo>
                    <a:pt x="3" y="0"/>
                  </a:moveTo>
                  <a:cubicBezTo>
                    <a:pt x="29" y="0"/>
                    <a:pt x="29" y="0"/>
                    <a:pt x="29" y="0"/>
                  </a:cubicBezTo>
                  <a:cubicBezTo>
                    <a:pt x="31" y="0"/>
                    <a:pt x="32" y="1"/>
                    <a:pt x="32" y="3"/>
                  </a:cubicBezTo>
                  <a:cubicBezTo>
                    <a:pt x="32" y="228"/>
                    <a:pt x="32" y="228"/>
                    <a:pt x="32" y="228"/>
                  </a:cubicBezTo>
                  <a:cubicBezTo>
                    <a:pt x="32" y="230"/>
                    <a:pt x="31" y="232"/>
                    <a:pt x="29" y="232"/>
                  </a:cubicBezTo>
                  <a:cubicBezTo>
                    <a:pt x="4" y="232"/>
                    <a:pt x="4" y="232"/>
                    <a:pt x="4" y="232"/>
                  </a:cubicBezTo>
                  <a:cubicBezTo>
                    <a:pt x="1" y="232"/>
                    <a:pt x="0" y="230"/>
                    <a:pt x="0" y="228"/>
                  </a:cubicBezTo>
                  <a:cubicBezTo>
                    <a:pt x="0" y="3"/>
                    <a:pt x="0" y="3"/>
                    <a:pt x="0" y="3"/>
                  </a:cubicBezTo>
                  <a:cubicBezTo>
                    <a:pt x="0" y="1"/>
                    <a:pt x="1" y="0"/>
                    <a:pt x="3" y="0"/>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0" name="Freeform 44">
              <a:extLst>
                <a:ext uri="{FF2B5EF4-FFF2-40B4-BE49-F238E27FC236}">
                  <a16:creationId xmlns:a16="http://schemas.microsoft.com/office/drawing/2014/main" id="{28156AC5-AD36-0DD7-DCEB-312B3602B1B3}"/>
                </a:ext>
              </a:extLst>
            </p:cNvPr>
            <p:cNvSpPr>
              <a:spLocks/>
            </p:cNvSpPr>
            <p:nvPr userDrawn="1"/>
          </p:nvSpPr>
          <p:spPr bwMode="auto">
            <a:xfrm>
              <a:off x="6845" y="2962"/>
              <a:ext cx="48" cy="72"/>
            </a:xfrm>
            <a:custGeom>
              <a:avLst/>
              <a:gdLst>
                <a:gd name="T0" fmla="*/ 150 w 154"/>
                <a:gd name="T1" fmla="*/ 27 h 231"/>
                <a:gd name="T2" fmla="*/ 33 w 154"/>
                <a:gd name="T3" fmla="*/ 27 h 231"/>
                <a:gd name="T4" fmla="*/ 32 w 154"/>
                <a:gd name="T5" fmla="*/ 28 h 231"/>
                <a:gd name="T6" fmla="*/ 32 w 154"/>
                <a:gd name="T7" fmla="*/ 100 h 231"/>
                <a:gd name="T8" fmla="*/ 33 w 154"/>
                <a:gd name="T9" fmla="*/ 101 h 231"/>
                <a:gd name="T10" fmla="*/ 114 w 154"/>
                <a:gd name="T11" fmla="*/ 101 h 231"/>
                <a:gd name="T12" fmla="*/ 117 w 154"/>
                <a:gd name="T13" fmla="*/ 104 h 231"/>
                <a:gd name="T14" fmla="*/ 117 w 154"/>
                <a:gd name="T15" fmla="*/ 125 h 231"/>
                <a:gd name="T16" fmla="*/ 114 w 154"/>
                <a:gd name="T17" fmla="*/ 128 h 231"/>
                <a:gd name="T18" fmla="*/ 33 w 154"/>
                <a:gd name="T19" fmla="*/ 128 h 231"/>
                <a:gd name="T20" fmla="*/ 32 w 154"/>
                <a:gd name="T21" fmla="*/ 130 h 231"/>
                <a:gd name="T22" fmla="*/ 32 w 154"/>
                <a:gd name="T23" fmla="*/ 203 h 231"/>
                <a:gd name="T24" fmla="*/ 33 w 154"/>
                <a:gd name="T25" fmla="*/ 204 h 231"/>
                <a:gd name="T26" fmla="*/ 150 w 154"/>
                <a:gd name="T27" fmla="*/ 204 h 231"/>
                <a:gd name="T28" fmla="*/ 154 w 154"/>
                <a:gd name="T29" fmla="*/ 207 h 231"/>
                <a:gd name="T30" fmla="*/ 154 w 154"/>
                <a:gd name="T31" fmla="*/ 228 h 231"/>
                <a:gd name="T32" fmla="*/ 150 w 154"/>
                <a:gd name="T33" fmla="*/ 231 h 231"/>
                <a:gd name="T34" fmla="*/ 3 w 154"/>
                <a:gd name="T35" fmla="*/ 231 h 231"/>
                <a:gd name="T36" fmla="*/ 0 w 154"/>
                <a:gd name="T37" fmla="*/ 228 h 231"/>
                <a:gd name="T38" fmla="*/ 0 w 154"/>
                <a:gd name="T39" fmla="*/ 3 h 231"/>
                <a:gd name="T40" fmla="*/ 3 w 154"/>
                <a:gd name="T41" fmla="*/ 0 h 231"/>
                <a:gd name="T42" fmla="*/ 150 w 154"/>
                <a:gd name="T43" fmla="*/ 0 h 231"/>
                <a:gd name="T44" fmla="*/ 154 w 154"/>
                <a:gd name="T45" fmla="*/ 3 h 231"/>
                <a:gd name="T46" fmla="*/ 154 w 154"/>
                <a:gd name="T47" fmla="*/ 24 h 231"/>
                <a:gd name="T48" fmla="*/ 150 w 154"/>
                <a:gd name="T49" fmla="*/ 27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231">
                  <a:moveTo>
                    <a:pt x="150" y="27"/>
                  </a:moveTo>
                  <a:cubicBezTo>
                    <a:pt x="33" y="27"/>
                    <a:pt x="33" y="27"/>
                    <a:pt x="33" y="27"/>
                  </a:cubicBezTo>
                  <a:cubicBezTo>
                    <a:pt x="32" y="27"/>
                    <a:pt x="32" y="28"/>
                    <a:pt x="32" y="28"/>
                  </a:cubicBezTo>
                  <a:cubicBezTo>
                    <a:pt x="32" y="100"/>
                    <a:pt x="32" y="100"/>
                    <a:pt x="32" y="100"/>
                  </a:cubicBezTo>
                  <a:cubicBezTo>
                    <a:pt x="32" y="101"/>
                    <a:pt x="32" y="101"/>
                    <a:pt x="33" y="101"/>
                  </a:cubicBezTo>
                  <a:cubicBezTo>
                    <a:pt x="114" y="101"/>
                    <a:pt x="114" y="101"/>
                    <a:pt x="114" y="101"/>
                  </a:cubicBezTo>
                  <a:cubicBezTo>
                    <a:pt x="116" y="101"/>
                    <a:pt x="117" y="102"/>
                    <a:pt x="117" y="104"/>
                  </a:cubicBezTo>
                  <a:cubicBezTo>
                    <a:pt x="117" y="125"/>
                    <a:pt x="117" y="125"/>
                    <a:pt x="117" y="125"/>
                  </a:cubicBezTo>
                  <a:cubicBezTo>
                    <a:pt x="117" y="127"/>
                    <a:pt x="116" y="128"/>
                    <a:pt x="114" y="128"/>
                  </a:cubicBezTo>
                  <a:cubicBezTo>
                    <a:pt x="33" y="128"/>
                    <a:pt x="33" y="128"/>
                    <a:pt x="33" y="128"/>
                  </a:cubicBezTo>
                  <a:cubicBezTo>
                    <a:pt x="32" y="128"/>
                    <a:pt x="32" y="129"/>
                    <a:pt x="32" y="130"/>
                  </a:cubicBezTo>
                  <a:cubicBezTo>
                    <a:pt x="32" y="203"/>
                    <a:pt x="32" y="203"/>
                    <a:pt x="32" y="203"/>
                  </a:cubicBezTo>
                  <a:cubicBezTo>
                    <a:pt x="32" y="204"/>
                    <a:pt x="32" y="204"/>
                    <a:pt x="33" y="204"/>
                  </a:cubicBezTo>
                  <a:cubicBezTo>
                    <a:pt x="150" y="204"/>
                    <a:pt x="150" y="204"/>
                    <a:pt x="150" y="204"/>
                  </a:cubicBezTo>
                  <a:cubicBezTo>
                    <a:pt x="153" y="204"/>
                    <a:pt x="154" y="205"/>
                    <a:pt x="154" y="207"/>
                  </a:cubicBezTo>
                  <a:cubicBezTo>
                    <a:pt x="154" y="228"/>
                    <a:pt x="154" y="228"/>
                    <a:pt x="154" y="228"/>
                  </a:cubicBezTo>
                  <a:cubicBezTo>
                    <a:pt x="154" y="230"/>
                    <a:pt x="153" y="231"/>
                    <a:pt x="150" y="231"/>
                  </a:cubicBezTo>
                  <a:cubicBezTo>
                    <a:pt x="3" y="231"/>
                    <a:pt x="3" y="231"/>
                    <a:pt x="3" y="231"/>
                  </a:cubicBezTo>
                  <a:cubicBezTo>
                    <a:pt x="1" y="231"/>
                    <a:pt x="0" y="230"/>
                    <a:pt x="0" y="228"/>
                  </a:cubicBezTo>
                  <a:cubicBezTo>
                    <a:pt x="0" y="3"/>
                    <a:pt x="0" y="3"/>
                    <a:pt x="0" y="3"/>
                  </a:cubicBezTo>
                  <a:cubicBezTo>
                    <a:pt x="0" y="1"/>
                    <a:pt x="1" y="0"/>
                    <a:pt x="3" y="0"/>
                  </a:cubicBezTo>
                  <a:cubicBezTo>
                    <a:pt x="150" y="0"/>
                    <a:pt x="150" y="0"/>
                    <a:pt x="150" y="0"/>
                  </a:cubicBezTo>
                  <a:cubicBezTo>
                    <a:pt x="153" y="0"/>
                    <a:pt x="154" y="1"/>
                    <a:pt x="154" y="3"/>
                  </a:cubicBezTo>
                  <a:cubicBezTo>
                    <a:pt x="154" y="24"/>
                    <a:pt x="154" y="24"/>
                    <a:pt x="154" y="24"/>
                  </a:cubicBezTo>
                  <a:cubicBezTo>
                    <a:pt x="154" y="26"/>
                    <a:pt x="153" y="27"/>
                    <a:pt x="150" y="27"/>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1" name="Freeform 45">
              <a:extLst>
                <a:ext uri="{FF2B5EF4-FFF2-40B4-BE49-F238E27FC236}">
                  <a16:creationId xmlns:a16="http://schemas.microsoft.com/office/drawing/2014/main" id="{4E72C3D8-4509-B248-CFF1-CA236A47AFE5}"/>
                </a:ext>
              </a:extLst>
            </p:cNvPr>
            <p:cNvSpPr>
              <a:spLocks/>
            </p:cNvSpPr>
            <p:nvPr userDrawn="1"/>
          </p:nvSpPr>
          <p:spPr bwMode="auto">
            <a:xfrm>
              <a:off x="6900" y="2961"/>
              <a:ext cx="51" cy="74"/>
            </a:xfrm>
            <a:custGeom>
              <a:avLst/>
              <a:gdLst>
                <a:gd name="T0" fmla="*/ 39 w 164"/>
                <a:gd name="T1" fmla="*/ 229 h 237"/>
                <a:gd name="T2" fmla="*/ 10 w 164"/>
                <a:gd name="T3" fmla="*/ 207 h 237"/>
                <a:gd name="T4" fmla="*/ 0 w 164"/>
                <a:gd name="T5" fmla="*/ 172 h 237"/>
                <a:gd name="T6" fmla="*/ 0 w 164"/>
                <a:gd name="T7" fmla="*/ 163 h 237"/>
                <a:gd name="T8" fmla="*/ 4 w 164"/>
                <a:gd name="T9" fmla="*/ 160 h 237"/>
                <a:gd name="T10" fmla="*/ 28 w 164"/>
                <a:gd name="T11" fmla="*/ 160 h 237"/>
                <a:gd name="T12" fmla="*/ 31 w 164"/>
                <a:gd name="T13" fmla="*/ 163 h 237"/>
                <a:gd name="T14" fmla="*/ 31 w 164"/>
                <a:gd name="T15" fmla="*/ 171 h 237"/>
                <a:gd name="T16" fmla="*/ 46 w 164"/>
                <a:gd name="T17" fmla="*/ 199 h 237"/>
                <a:gd name="T18" fmla="*/ 86 w 164"/>
                <a:gd name="T19" fmla="*/ 210 h 237"/>
                <a:gd name="T20" fmla="*/ 120 w 164"/>
                <a:gd name="T21" fmla="*/ 200 h 237"/>
                <a:gd name="T22" fmla="*/ 132 w 164"/>
                <a:gd name="T23" fmla="*/ 175 h 237"/>
                <a:gd name="T24" fmla="*/ 126 w 164"/>
                <a:gd name="T25" fmla="*/ 157 h 237"/>
                <a:gd name="T26" fmla="*/ 108 w 164"/>
                <a:gd name="T27" fmla="*/ 144 h 237"/>
                <a:gd name="T28" fmla="*/ 75 w 164"/>
                <a:gd name="T29" fmla="*/ 129 h 237"/>
                <a:gd name="T30" fmla="*/ 37 w 164"/>
                <a:gd name="T31" fmla="*/ 112 h 237"/>
                <a:gd name="T32" fmla="*/ 13 w 164"/>
                <a:gd name="T33" fmla="*/ 92 h 237"/>
                <a:gd name="T34" fmla="*/ 4 w 164"/>
                <a:gd name="T35" fmla="*/ 61 h 237"/>
                <a:gd name="T36" fmla="*/ 25 w 164"/>
                <a:gd name="T37" fmla="*/ 16 h 237"/>
                <a:gd name="T38" fmla="*/ 80 w 164"/>
                <a:gd name="T39" fmla="*/ 0 h 237"/>
                <a:gd name="T40" fmla="*/ 123 w 164"/>
                <a:gd name="T41" fmla="*/ 8 h 237"/>
                <a:gd name="T42" fmla="*/ 151 w 164"/>
                <a:gd name="T43" fmla="*/ 31 h 237"/>
                <a:gd name="T44" fmla="*/ 162 w 164"/>
                <a:gd name="T45" fmla="*/ 66 h 237"/>
                <a:gd name="T46" fmla="*/ 162 w 164"/>
                <a:gd name="T47" fmla="*/ 72 h 237"/>
                <a:gd name="T48" fmla="*/ 158 w 164"/>
                <a:gd name="T49" fmla="*/ 76 h 237"/>
                <a:gd name="T50" fmla="*/ 133 w 164"/>
                <a:gd name="T51" fmla="*/ 76 h 237"/>
                <a:gd name="T52" fmla="*/ 130 w 164"/>
                <a:gd name="T53" fmla="*/ 72 h 237"/>
                <a:gd name="T54" fmla="*/ 130 w 164"/>
                <a:gd name="T55" fmla="*/ 67 h 237"/>
                <a:gd name="T56" fmla="*/ 116 w 164"/>
                <a:gd name="T57" fmla="*/ 39 h 237"/>
                <a:gd name="T58" fmla="*/ 78 w 164"/>
                <a:gd name="T59" fmla="*/ 27 h 237"/>
                <a:gd name="T60" fmla="*/ 47 w 164"/>
                <a:gd name="T61" fmla="*/ 36 h 237"/>
                <a:gd name="T62" fmla="*/ 35 w 164"/>
                <a:gd name="T63" fmla="*/ 60 h 237"/>
                <a:gd name="T64" fmla="*/ 41 w 164"/>
                <a:gd name="T65" fmla="*/ 78 h 237"/>
                <a:gd name="T66" fmla="*/ 58 w 164"/>
                <a:gd name="T67" fmla="*/ 90 h 237"/>
                <a:gd name="T68" fmla="*/ 92 w 164"/>
                <a:gd name="T69" fmla="*/ 104 h 237"/>
                <a:gd name="T70" fmla="*/ 130 w 164"/>
                <a:gd name="T71" fmla="*/ 122 h 237"/>
                <a:gd name="T72" fmla="*/ 154 w 164"/>
                <a:gd name="T73" fmla="*/ 142 h 237"/>
                <a:gd name="T74" fmla="*/ 164 w 164"/>
                <a:gd name="T75" fmla="*/ 174 h 237"/>
                <a:gd name="T76" fmla="*/ 142 w 164"/>
                <a:gd name="T77" fmla="*/ 220 h 237"/>
                <a:gd name="T78" fmla="*/ 83 w 164"/>
                <a:gd name="T79" fmla="*/ 237 h 237"/>
                <a:gd name="T80" fmla="*/ 39 w 164"/>
                <a:gd name="T81" fmla="*/ 229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64" h="237">
                  <a:moveTo>
                    <a:pt x="39" y="229"/>
                  </a:moveTo>
                  <a:cubicBezTo>
                    <a:pt x="27" y="224"/>
                    <a:pt x="17" y="216"/>
                    <a:pt x="10" y="207"/>
                  </a:cubicBezTo>
                  <a:cubicBezTo>
                    <a:pt x="4" y="197"/>
                    <a:pt x="0" y="185"/>
                    <a:pt x="0" y="172"/>
                  </a:cubicBezTo>
                  <a:cubicBezTo>
                    <a:pt x="0" y="163"/>
                    <a:pt x="0" y="163"/>
                    <a:pt x="0" y="163"/>
                  </a:cubicBezTo>
                  <a:cubicBezTo>
                    <a:pt x="0" y="161"/>
                    <a:pt x="1" y="160"/>
                    <a:pt x="4" y="160"/>
                  </a:cubicBezTo>
                  <a:cubicBezTo>
                    <a:pt x="28" y="160"/>
                    <a:pt x="28" y="160"/>
                    <a:pt x="28" y="160"/>
                  </a:cubicBezTo>
                  <a:cubicBezTo>
                    <a:pt x="30" y="160"/>
                    <a:pt x="31" y="161"/>
                    <a:pt x="31" y="163"/>
                  </a:cubicBezTo>
                  <a:cubicBezTo>
                    <a:pt x="31" y="171"/>
                    <a:pt x="31" y="171"/>
                    <a:pt x="31" y="171"/>
                  </a:cubicBezTo>
                  <a:cubicBezTo>
                    <a:pt x="31" y="182"/>
                    <a:pt x="36" y="191"/>
                    <a:pt x="46" y="199"/>
                  </a:cubicBezTo>
                  <a:cubicBezTo>
                    <a:pt x="55" y="206"/>
                    <a:pt x="69" y="210"/>
                    <a:pt x="86" y="210"/>
                  </a:cubicBezTo>
                  <a:cubicBezTo>
                    <a:pt x="101" y="210"/>
                    <a:pt x="112" y="206"/>
                    <a:pt x="120" y="200"/>
                  </a:cubicBezTo>
                  <a:cubicBezTo>
                    <a:pt x="128" y="193"/>
                    <a:pt x="132" y="185"/>
                    <a:pt x="132" y="175"/>
                  </a:cubicBezTo>
                  <a:cubicBezTo>
                    <a:pt x="132" y="168"/>
                    <a:pt x="130" y="162"/>
                    <a:pt x="126" y="157"/>
                  </a:cubicBezTo>
                  <a:cubicBezTo>
                    <a:pt x="122" y="152"/>
                    <a:pt x="116" y="148"/>
                    <a:pt x="108" y="144"/>
                  </a:cubicBezTo>
                  <a:cubicBezTo>
                    <a:pt x="101" y="140"/>
                    <a:pt x="90" y="135"/>
                    <a:pt x="75" y="129"/>
                  </a:cubicBezTo>
                  <a:cubicBezTo>
                    <a:pt x="59" y="123"/>
                    <a:pt x="46" y="117"/>
                    <a:pt x="37" y="112"/>
                  </a:cubicBezTo>
                  <a:cubicBezTo>
                    <a:pt x="27" y="107"/>
                    <a:pt x="20" y="100"/>
                    <a:pt x="13" y="92"/>
                  </a:cubicBezTo>
                  <a:cubicBezTo>
                    <a:pt x="7" y="84"/>
                    <a:pt x="4" y="73"/>
                    <a:pt x="4" y="61"/>
                  </a:cubicBezTo>
                  <a:cubicBezTo>
                    <a:pt x="4" y="42"/>
                    <a:pt x="11" y="27"/>
                    <a:pt x="25" y="16"/>
                  </a:cubicBezTo>
                  <a:cubicBezTo>
                    <a:pt x="38" y="5"/>
                    <a:pt x="56" y="0"/>
                    <a:pt x="80" y="0"/>
                  </a:cubicBezTo>
                  <a:cubicBezTo>
                    <a:pt x="96" y="0"/>
                    <a:pt x="110" y="3"/>
                    <a:pt x="123" y="8"/>
                  </a:cubicBezTo>
                  <a:cubicBezTo>
                    <a:pt x="135" y="14"/>
                    <a:pt x="145" y="21"/>
                    <a:pt x="151" y="31"/>
                  </a:cubicBezTo>
                  <a:cubicBezTo>
                    <a:pt x="158" y="41"/>
                    <a:pt x="162" y="53"/>
                    <a:pt x="162" y="66"/>
                  </a:cubicBezTo>
                  <a:cubicBezTo>
                    <a:pt x="162" y="72"/>
                    <a:pt x="162" y="72"/>
                    <a:pt x="162" y="72"/>
                  </a:cubicBezTo>
                  <a:cubicBezTo>
                    <a:pt x="162" y="75"/>
                    <a:pt x="160" y="76"/>
                    <a:pt x="158" y="76"/>
                  </a:cubicBezTo>
                  <a:cubicBezTo>
                    <a:pt x="133" y="76"/>
                    <a:pt x="133" y="76"/>
                    <a:pt x="133" y="76"/>
                  </a:cubicBezTo>
                  <a:cubicBezTo>
                    <a:pt x="131" y="76"/>
                    <a:pt x="130" y="75"/>
                    <a:pt x="130" y="72"/>
                  </a:cubicBezTo>
                  <a:cubicBezTo>
                    <a:pt x="130" y="67"/>
                    <a:pt x="130" y="67"/>
                    <a:pt x="130" y="67"/>
                  </a:cubicBezTo>
                  <a:cubicBezTo>
                    <a:pt x="130" y="56"/>
                    <a:pt x="125" y="46"/>
                    <a:pt x="116" y="39"/>
                  </a:cubicBezTo>
                  <a:cubicBezTo>
                    <a:pt x="107" y="31"/>
                    <a:pt x="94" y="27"/>
                    <a:pt x="78" y="27"/>
                  </a:cubicBezTo>
                  <a:cubicBezTo>
                    <a:pt x="65" y="27"/>
                    <a:pt x="54" y="30"/>
                    <a:pt x="47" y="36"/>
                  </a:cubicBezTo>
                  <a:cubicBezTo>
                    <a:pt x="39" y="41"/>
                    <a:pt x="35" y="50"/>
                    <a:pt x="35" y="60"/>
                  </a:cubicBezTo>
                  <a:cubicBezTo>
                    <a:pt x="35" y="67"/>
                    <a:pt x="37" y="73"/>
                    <a:pt x="41" y="78"/>
                  </a:cubicBezTo>
                  <a:cubicBezTo>
                    <a:pt x="45" y="83"/>
                    <a:pt x="50" y="87"/>
                    <a:pt x="58" y="90"/>
                  </a:cubicBezTo>
                  <a:cubicBezTo>
                    <a:pt x="65" y="94"/>
                    <a:pt x="76" y="99"/>
                    <a:pt x="92" y="104"/>
                  </a:cubicBezTo>
                  <a:cubicBezTo>
                    <a:pt x="107" y="111"/>
                    <a:pt x="120" y="116"/>
                    <a:pt x="130" y="122"/>
                  </a:cubicBezTo>
                  <a:cubicBezTo>
                    <a:pt x="139" y="127"/>
                    <a:pt x="148" y="134"/>
                    <a:pt x="154" y="142"/>
                  </a:cubicBezTo>
                  <a:cubicBezTo>
                    <a:pt x="160" y="151"/>
                    <a:pt x="164" y="161"/>
                    <a:pt x="164" y="174"/>
                  </a:cubicBezTo>
                  <a:cubicBezTo>
                    <a:pt x="164" y="193"/>
                    <a:pt x="156" y="209"/>
                    <a:pt x="142" y="220"/>
                  </a:cubicBezTo>
                  <a:cubicBezTo>
                    <a:pt x="128" y="231"/>
                    <a:pt x="108" y="237"/>
                    <a:pt x="83" y="237"/>
                  </a:cubicBezTo>
                  <a:cubicBezTo>
                    <a:pt x="66" y="237"/>
                    <a:pt x="52" y="234"/>
                    <a:pt x="39" y="229"/>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2" name="Freeform 46">
              <a:extLst>
                <a:ext uri="{FF2B5EF4-FFF2-40B4-BE49-F238E27FC236}">
                  <a16:creationId xmlns:a16="http://schemas.microsoft.com/office/drawing/2014/main" id="{EDE29D08-4761-AC82-B5DF-D485C58093F5}"/>
                </a:ext>
              </a:extLst>
            </p:cNvPr>
            <p:cNvSpPr>
              <a:spLocks/>
            </p:cNvSpPr>
            <p:nvPr userDrawn="1"/>
          </p:nvSpPr>
          <p:spPr bwMode="auto">
            <a:xfrm>
              <a:off x="6980" y="2962"/>
              <a:ext cx="47" cy="72"/>
            </a:xfrm>
            <a:custGeom>
              <a:avLst/>
              <a:gdLst>
                <a:gd name="T0" fmla="*/ 51 w 150"/>
                <a:gd name="T1" fmla="*/ 113 h 230"/>
                <a:gd name="T2" fmla="*/ 1 w 150"/>
                <a:gd name="T3" fmla="*/ 12 h 230"/>
                <a:gd name="T4" fmla="*/ 0 w 150"/>
                <a:gd name="T5" fmla="*/ 7 h 230"/>
                <a:gd name="T6" fmla="*/ 8 w 150"/>
                <a:gd name="T7" fmla="*/ 0 h 230"/>
                <a:gd name="T8" fmla="*/ 89 w 150"/>
                <a:gd name="T9" fmla="*/ 0 h 230"/>
                <a:gd name="T10" fmla="*/ 100 w 150"/>
                <a:gd name="T11" fmla="*/ 7 h 230"/>
                <a:gd name="T12" fmla="*/ 149 w 150"/>
                <a:gd name="T13" fmla="*/ 108 h 230"/>
                <a:gd name="T14" fmla="*/ 150 w 150"/>
                <a:gd name="T15" fmla="*/ 115 h 230"/>
                <a:gd name="T16" fmla="*/ 149 w 150"/>
                <a:gd name="T17" fmla="*/ 121 h 230"/>
                <a:gd name="T18" fmla="*/ 100 w 150"/>
                <a:gd name="T19" fmla="*/ 222 h 230"/>
                <a:gd name="T20" fmla="*/ 89 w 150"/>
                <a:gd name="T21" fmla="*/ 230 h 230"/>
                <a:gd name="T22" fmla="*/ 8 w 150"/>
                <a:gd name="T23" fmla="*/ 230 h 230"/>
                <a:gd name="T24" fmla="*/ 0 w 150"/>
                <a:gd name="T25" fmla="*/ 223 h 230"/>
                <a:gd name="T26" fmla="*/ 1 w 150"/>
                <a:gd name="T27" fmla="*/ 218 h 230"/>
                <a:gd name="T28" fmla="*/ 51 w 150"/>
                <a:gd name="T29" fmla="*/ 117 h 230"/>
                <a:gd name="T30" fmla="*/ 51 w 150"/>
                <a:gd name="T31" fmla="*/ 113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50" h="230">
                  <a:moveTo>
                    <a:pt x="51" y="113"/>
                  </a:moveTo>
                  <a:cubicBezTo>
                    <a:pt x="1" y="12"/>
                    <a:pt x="1" y="12"/>
                    <a:pt x="1" y="12"/>
                  </a:cubicBezTo>
                  <a:cubicBezTo>
                    <a:pt x="0" y="7"/>
                    <a:pt x="0" y="7"/>
                    <a:pt x="0" y="7"/>
                  </a:cubicBezTo>
                  <a:cubicBezTo>
                    <a:pt x="0" y="2"/>
                    <a:pt x="3" y="0"/>
                    <a:pt x="8" y="0"/>
                  </a:cubicBezTo>
                  <a:cubicBezTo>
                    <a:pt x="89" y="0"/>
                    <a:pt x="89" y="0"/>
                    <a:pt x="89" y="0"/>
                  </a:cubicBezTo>
                  <a:cubicBezTo>
                    <a:pt x="94" y="0"/>
                    <a:pt x="98" y="2"/>
                    <a:pt x="100" y="7"/>
                  </a:cubicBezTo>
                  <a:cubicBezTo>
                    <a:pt x="149" y="108"/>
                    <a:pt x="149" y="108"/>
                    <a:pt x="149" y="108"/>
                  </a:cubicBezTo>
                  <a:cubicBezTo>
                    <a:pt x="150" y="110"/>
                    <a:pt x="150" y="112"/>
                    <a:pt x="150" y="115"/>
                  </a:cubicBezTo>
                  <a:cubicBezTo>
                    <a:pt x="150" y="117"/>
                    <a:pt x="150" y="120"/>
                    <a:pt x="149" y="121"/>
                  </a:cubicBezTo>
                  <a:cubicBezTo>
                    <a:pt x="100" y="222"/>
                    <a:pt x="100" y="222"/>
                    <a:pt x="100" y="222"/>
                  </a:cubicBezTo>
                  <a:cubicBezTo>
                    <a:pt x="98" y="227"/>
                    <a:pt x="94" y="230"/>
                    <a:pt x="89" y="230"/>
                  </a:cubicBezTo>
                  <a:cubicBezTo>
                    <a:pt x="8" y="230"/>
                    <a:pt x="8" y="230"/>
                    <a:pt x="8" y="230"/>
                  </a:cubicBezTo>
                  <a:cubicBezTo>
                    <a:pt x="3" y="230"/>
                    <a:pt x="0" y="227"/>
                    <a:pt x="0" y="223"/>
                  </a:cubicBezTo>
                  <a:cubicBezTo>
                    <a:pt x="1" y="218"/>
                    <a:pt x="1" y="218"/>
                    <a:pt x="1" y="218"/>
                  </a:cubicBezTo>
                  <a:cubicBezTo>
                    <a:pt x="51" y="117"/>
                    <a:pt x="51" y="117"/>
                    <a:pt x="51" y="117"/>
                  </a:cubicBezTo>
                  <a:cubicBezTo>
                    <a:pt x="52" y="116"/>
                    <a:pt x="52" y="114"/>
                    <a:pt x="51" y="113"/>
                  </a:cubicBezTo>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3" name="Freeform 47">
              <a:extLst>
                <a:ext uri="{FF2B5EF4-FFF2-40B4-BE49-F238E27FC236}">
                  <a16:creationId xmlns:a16="http://schemas.microsoft.com/office/drawing/2014/main" id="{AFE1DB54-E5D8-FD0A-0183-70E733775C40}"/>
                </a:ext>
              </a:extLst>
            </p:cNvPr>
            <p:cNvSpPr>
              <a:spLocks/>
            </p:cNvSpPr>
            <p:nvPr userDrawn="1"/>
          </p:nvSpPr>
          <p:spPr bwMode="auto">
            <a:xfrm>
              <a:off x="7027" y="2962"/>
              <a:ext cx="46" cy="72"/>
            </a:xfrm>
            <a:custGeom>
              <a:avLst/>
              <a:gdLst>
                <a:gd name="T0" fmla="*/ 51 w 150"/>
                <a:gd name="T1" fmla="*/ 113 h 230"/>
                <a:gd name="T2" fmla="*/ 1 w 150"/>
                <a:gd name="T3" fmla="*/ 12 h 230"/>
                <a:gd name="T4" fmla="*/ 0 w 150"/>
                <a:gd name="T5" fmla="*/ 7 h 230"/>
                <a:gd name="T6" fmla="*/ 8 w 150"/>
                <a:gd name="T7" fmla="*/ 0 h 230"/>
                <a:gd name="T8" fmla="*/ 89 w 150"/>
                <a:gd name="T9" fmla="*/ 0 h 230"/>
                <a:gd name="T10" fmla="*/ 100 w 150"/>
                <a:gd name="T11" fmla="*/ 7 h 230"/>
                <a:gd name="T12" fmla="*/ 149 w 150"/>
                <a:gd name="T13" fmla="*/ 108 h 230"/>
                <a:gd name="T14" fmla="*/ 150 w 150"/>
                <a:gd name="T15" fmla="*/ 115 h 230"/>
                <a:gd name="T16" fmla="*/ 149 w 150"/>
                <a:gd name="T17" fmla="*/ 121 h 230"/>
                <a:gd name="T18" fmla="*/ 100 w 150"/>
                <a:gd name="T19" fmla="*/ 222 h 230"/>
                <a:gd name="T20" fmla="*/ 89 w 150"/>
                <a:gd name="T21" fmla="*/ 230 h 230"/>
                <a:gd name="T22" fmla="*/ 8 w 150"/>
                <a:gd name="T23" fmla="*/ 230 h 230"/>
                <a:gd name="T24" fmla="*/ 0 w 150"/>
                <a:gd name="T25" fmla="*/ 223 h 230"/>
                <a:gd name="T26" fmla="*/ 1 w 150"/>
                <a:gd name="T27" fmla="*/ 218 h 230"/>
                <a:gd name="T28" fmla="*/ 51 w 150"/>
                <a:gd name="T29" fmla="*/ 117 h 230"/>
                <a:gd name="T30" fmla="*/ 51 w 150"/>
                <a:gd name="T31" fmla="*/ 113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50" h="230">
                  <a:moveTo>
                    <a:pt x="51" y="113"/>
                  </a:moveTo>
                  <a:cubicBezTo>
                    <a:pt x="1" y="12"/>
                    <a:pt x="1" y="12"/>
                    <a:pt x="1" y="12"/>
                  </a:cubicBezTo>
                  <a:cubicBezTo>
                    <a:pt x="0" y="7"/>
                    <a:pt x="0" y="7"/>
                    <a:pt x="0" y="7"/>
                  </a:cubicBezTo>
                  <a:cubicBezTo>
                    <a:pt x="0" y="2"/>
                    <a:pt x="3" y="0"/>
                    <a:pt x="8" y="0"/>
                  </a:cubicBezTo>
                  <a:cubicBezTo>
                    <a:pt x="89" y="0"/>
                    <a:pt x="89" y="0"/>
                    <a:pt x="89" y="0"/>
                  </a:cubicBezTo>
                  <a:cubicBezTo>
                    <a:pt x="94" y="0"/>
                    <a:pt x="98" y="2"/>
                    <a:pt x="100" y="7"/>
                  </a:cubicBezTo>
                  <a:cubicBezTo>
                    <a:pt x="149" y="108"/>
                    <a:pt x="149" y="108"/>
                    <a:pt x="149" y="108"/>
                  </a:cubicBezTo>
                  <a:cubicBezTo>
                    <a:pt x="150" y="110"/>
                    <a:pt x="150" y="112"/>
                    <a:pt x="150" y="115"/>
                  </a:cubicBezTo>
                  <a:cubicBezTo>
                    <a:pt x="150" y="117"/>
                    <a:pt x="150" y="120"/>
                    <a:pt x="149" y="121"/>
                  </a:cubicBezTo>
                  <a:cubicBezTo>
                    <a:pt x="100" y="222"/>
                    <a:pt x="100" y="222"/>
                    <a:pt x="100" y="222"/>
                  </a:cubicBezTo>
                  <a:cubicBezTo>
                    <a:pt x="98" y="227"/>
                    <a:pt x="94" y="230"/>
                    <a:pt x="89" y="230"/>
                  </a:cubicBezTo>
                  <a:cubicBezTo>
                    <a:pt x="8" y="230"/>
                    <a:pt x="8" y="230"/>
                    <a:pt x="8" y="230"/>
                  </a:cubicBezTo>
                  <a:cubicBezTo>
                    <a:pt x="3" y="230"/>
                    <a:pt x="0" y="227"/>
                    <a:pt x="0" y="223"/>
                  </a:cubicBezTo>
                  <a:cubicBezTo>
                    <a:pt x="1" y="218"/>
                    <a:pt x="1" y="218"/>
                    <a:pt x="1" y="218"/>
                  </a:cubicBezTo>
                  <a:cubicBezTo>
                    <a:pt x="51" y="117"/>
                    <a:pt x="51" y="117"/>
                    <a:pt x="51" y="117"/>
                  </a:cubicBezTo>
                  <a:cubicBezTo>
                    <a:pt x="52" y="116"/>
                    <a:pt x="52" y="114"/>
                    <a:pt x="51" y="113"/>
                  </a:cubicBezTo>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4" name="Freeform 48">
              <a:extLst>
                <a:ext uri="{FF2B5EF4-FFF2-40B4-BE49-F238E27FC236}">
                  <a16:creationId xmlns:a16="http://schemas.microsoft.com/office/drawing/2014/main" id="{CD8A175B-C4CB-3142-F490-8DDA88906630}"/>
                </a:ext>
              </a:extLst>
            </p:cNvPr>
            <p:cNvSpPr>
              <a:spLocks/>
            </p:cNvSpPr>
            <p:nvPr userDrawn="1"/>
          </p:nvSpPr>
          <p:spPr bwMode="auto">
            <a:xfrm>
              <a:off x="6291" y="2858"/>
              <a:ext cx="111" cy="176"/>
            </a:xfrm>
            <a:custGeom>
              <a:avLst/>
              <a:gdLst>
                <a:gd name="T0" fmla="*/ 174 w 355"/>
                <a:gd name="T1" fmla="*/ 141 h 564"/>
                <a:gd name="T2" fmla="*/ 161 w 355"/>
                <a:gd name="T3" fmla="*/ 179 h 564"/>
                <a:gd name="T4" fmla="*/ 284 w 355"/>
                <a:gd name="T5" fmla="*/ 277 h 564"/>
                <a:gd name="T6" fmla="*/ 355 w 355"/>
                <a:gd name="T7" fmla="*/ 422 h 564"/>
                <a:gd name="T8" fmla="*/ 314 w 355"/>
                <a:gd name="T9" fmla="*/ 522 h 564"/>
                <a:gd name="T10" fmla="*/ 214 w 355"/>
                <a:gd name="T11" fmla="*/ 564 h 564"/>
                <a:gd name="T12" fmla="*/ 7 w 355"/>
                <a:gd name="T13" fmla="*/ 564 h 564"/>
                <a:gd name="T14" fmla="*/ 0 w 355"/>
                <a:gd name="T15" fmla="*/ 557 h 564"/>
                <a:gd name="T16" fmla="*/ 0 w 355"/>
                <a:gd name="T17" fmla="*/ 429 h 564"/>
                <a:gd name="T18" fmla="*/ 7 w 355"/>
                <a:gd name="T19" fmla="*/ 422 h 564"/>
                <a:gd name="T20" fmla="*/ 181 w 355"/>
                <a:gd name="T21" fmla="*/ 422 h 564"/>
                <a:gd name="T22" fmla="*/ 194 w 355"/>
                <a:gd name="T23" fmla="*/ 385 h 564"/>
                <a:gd name="T24" fmla="*/ 70 w 355"/>
                <a:gd name="T25" fmla="*/ 287 h 564"/>
                <a:gd name="T26" fmla="*/ 0 w 355"/>
                <a:gd name="T27" fmla="*/ 141 h 564"/>
                <a:gd name="T28" fmla="*/ 141 w 355"/>
                <a:gd name="T29" fmla="*/ 0 h 564"/>
                <a:gd name="T30" fmla="*/ 320 w 355"/>
                <a:gd name="T31" fmla="*/ 0 h 564"/>
                <a:gd name="T32" fmla="*/ 334 w 355"/>
                <a:gd name="T33" fmla="*/ 14 h 564"/>
                <a:gd name="T34" fmla="*/ 334 w 355"/>
                <a:gd name="T35" fmla="*/ 127 h 564"/>
                <a:gd name="T36" fmla="*/ 320 w 355"/>
                <a:gd name="T37" fmla="*/ 141 h 564"/>
                <a:gd name="T38" fmla="*/ 174 w 355"/>
                <a:gd name="T39" fmla="*/ 141 h 5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55" h="564">
                  <a:moveTo>
                    <a:pt x="174" y="141"/>
                  </a:moveTo>
                  <a:cubicBezTo>
                    <a:pt x="154" y="141"/>
                    <a:pt x="145" y="166"/>
                    <a:pt x="161" y="179"/>
                  </a:cubicBezTo>
                  <a:cubicBezTo>
                    <a:pt x="284" y="277"/>
                    <a:pt x="284" y="277"/>
                    <a:pt x="284" y="277"/>
                  </a:cubicBezTo>
                  <a:cubicBezTo>
                    <a:pt x="329" y="312"/>
                    <a:pt x="355" y="366"/>
                    <a:pt x="355" y="422"/>
                  </a:cubicBezTo>
                  <a:cubicBezTo>
                    <a:pt x="355" y="461"/>
                    <a:pt x="339" y="497"/>
                    <a:pt x="314" y="522"/>
                  </a:cubicBezTo>
                  <a:cubicBezTo>
                    <a:pt x="288" y="548"/>
                    <a:pt x="253" y="564"/>
                    <a:pt x="214" y="564"/>
                  </a:cubicBezTo>
                  <a:cubicBezTo>
                    <a:pt x="7" y="564"/>
                    <a:pt x="7" y="564"/>
                    <a:pt x="7" y="564"/>
                  </a:cubicBezTo>
                  <a:cubicBezTo>
                    <a:pt x="3" y="564"/>
                    <a:pt x="0" y="560"/>
                    <a:pt x="0" y="557"/>
                  </a:cubicBezTo>
                  <a:cubicBezTo>
                    <a:pt x="0" y="429"/>
                    <a:pt x="0" y="429"/>
                    <a:pt x="0" y="429"/>
                  </a:cubicBezTo>
                  <a:cubicBezTo>
                    <a:pt x="0" y="426"/>
                    <a:pt x="3" y="422"/>
                    <a:pt x="7" y="422"/>
                  </a:cubicBezTo>
                  <a:cubicBezTo>
                    <a:pt x="181" y="422"/>
                    <a:pt x="181" y="422"/>
                    <a:pt x="181" y="422"/>
                  </a:cubicBezTo>
                  <a:cubicBezTo>
                    <a:pt x="201" y="422"/>
                    <a:pt x="210" y="397"/>
                    <a:pt x="194" y="385"/>
                  </a:cubicBezTo>
                  <a:cubicBezTo>
                    <a:pt x="70" y="287"/>
                    <a:pt x="70" y="287"/>
                    <a:pt x="70" y="287"/>
                  </a:cubicBezTo>
                  <a:cubicBezTo>
                    <a:pt x="25" y="251"/>
                    <a:pt x="0" y="198"/>
                    <a:pt x="0" y="141"/>
                  </a:cubicBezTo>
                  <a:cubicBezTo>
                    <a:pt x="0" y="63"/>
                    <a:pt x="63" y="0"/>
                    <a:pt x="141" y="0"/>
                  </a:cubicBezTo>
                  <a:cubicBezTo>
                    <a:pt x="320" y="0"/>
                    <a:pt x="320" y="0"/>
                    <a:pt x="320" y="0"/>
                  </a:cubicBezTo>
                  <a:cubicBezTo>
                    <a:pt x="327" y="0"/>
                    <a:pt x="334" y="6"/>
                    <a:pt x="334" y="14"/>
                  </a:cubicBezTo>
                  <a:cubicBezTo>
                    <a:pt x="334" y="127"/>
                    <a:pt x="334" y="127"/>
                    <a:pt x="334" y="127"/>
                  </a:cubicBezTo>
                  <a:cubicBezTo>
                    <a:pt x="334" y="135"/>
                    <a:pt x="327" y="141"/>
                    <a:pt x="320" y="141"/>
                  </a:cubicBezTo>
                  <a:lnTo>
                    <a:pt x="174" y="141"/>
                  </a:lnTo>
                  <a:close/>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5" name="Freeform 49">
              <a:extLst>
                <a:ext uri="{FF2B5EF4-FFF2-40B4-BE49-F238E27FC236}">
                  <a16:creationId xmlns:a16="http://schemas.microsoft.com/office/drawing/2014/main" id="{E2710406-8CA5-24F5-C60B-A72850DBE20E}"/>
                </a:ext>
              </a:extLst>
            </p:cNvPr>
            <p:cNvSpPr>
              <a:spLocks/>
            </p:cNvSpPr>
            <p:nvPr userDrawn="1"/>
          </p:nvSpPr>
          <p:spPr bwMode="auto">
            <a:xfrm>
              <a:off x="6017" y="2858"/>
              <a:ext cx="263" cy="209"/>
            </a:xfrm>
            <a:custGeom>
              <a:avLst/>
              <a:gdLst>
                <a:gd name="T0" fmla="*/ 704 w 845"/>
                <a:gd name="T1" fmla="*/ 0 h 669"/>
                <a:gd name="T2" fmla="*/ 528 w 845"/>
                <a:gd name="T3" fmla="*/ 0 h 669"/>
                <a:gd name="T4" fmla="*/ 387 w 845"/>
                <a:gd name="T5" fmla="*/ 141 h 669"/>
                <a:gd name="T6" fmla="*/ 387 w 845"/>
                <a:gd name="T7" fmla="*/ 422 h 669"/>
                <a:gd name="T8" fmla="*/ 387 w 845"/>
                <a:gd name="T9" fmla="*/ 423 h 669"/>
                <a:gd name="T10" fmla="*/ 197 w 845"/>
                <a:gd name="T11" fmla="*/ 423 h 669"/>
                <a:gd name="T12" fmla="*/ 140 w 845"/>
                <a:gd name="T13" fmla="*/ 366 h 669"/>
                <a:gd name="T14" fmla="*/ 140 w 845"/>
                <a:gd name="T15" fmla="*/ 344 h 669"/>
                <a:gd name="T16" fmla="*/ 147 w 845"/>
                <a:gd name="T17" fmla="*/ 337 h 669"/>
                <a:gd name="T18" fmla="*/ 239 w 845"/>
                <a:gd name="T19" fmla="*/ 337 h 669"/>
                <a:gd name="T20" fmla="*/ 253 w 845"/>
                <a:gd name="T21" fmla="*/ 323 h 669"/>
                <a:gd name="T22" fmla="*/ 253 w 845"/>
                <a:gd name="T23" fmla="*/ 238 h 669"/>
                <a:gd name="T24" fmla="*/ 239 w 845"/>
                <a:gd name="T25" fmla="*/ 224 h 669"/>
                <a:gd name="T26" fmla="*/ 147 w 845"/>
                <a:gd name="T27" fmla="*/ 224 h 669"/>
                <a:gd name="T28" fmla="*/ 140 w 845"/>
                <a:gd name="T29" fmla="*/ 217 h 669"/>
                <a:gd name="T30" fmla="*/ 140 w 845"/>
                <a:gd name="T31" fmla="*/ 197 h 669"/>
                <a:gd name="T32" fmla="*/ 197 w 845"/>
                <a:gd name="T33" fmla="*/ 141 h 669"/>
                <a:gd name="T34" fmla="*/ 338 w 845"/>
                <a:gd name="T35" fmla="*/ 141 h 669"/>
                <a:gd name="T36" fmla="*/ 352 w 845"/>
                <a:gd name="T37" fmla="*/ 127 h 669"/>
                <a:gd name="T38" fmla="*/ 352 w 845"/>
                <a:gd name="T39" fmla="*/ 14 h 669"/>
                <a:gd name="T40" fmla="*/ 338 w 845"/>
                <a:gd name="T41" fmla="*/ 0 h 669"/>
                <a:gd name="T42" fmla="*/ 141 w 845"/>
                <a:gd name="T43" fmla="*/ 0 h 669"/>
                <a:gd name="T44" fmla="*/ 0 w 845"/>
                <a:gd name="T45" fmla="*/ 141 h 669"/>
                <a:gd name="T46" fmla="*/ 0 w 845"/>
                <a:gd name="T47" fmla="*/ 423 h 669"/>
                <a:gd name="T48" fmla="*/ 141 w 845"/>
                <a:gd name="T49" fmla="*/ 564 h 669"/>
                <a:gd name="T50" fmla="*/ 662 w 845"/>
                <a:gd name="T51" fmla="*/ 564 h 669"/>
                <a:gd name="T52" fmla="*/ 670 w 845"/>
                <a:gd name="T53" fmla="*/ 557 h 669"/>
                <a:gd name="T54" fmla="*/ 670 w 845"/>
                <a:gd name="T55" fmla="*/ 430 h 669"/>
                <a:gd name="T56" fmla="*/ 662 w 845"/>
                <a:gd name="T57" fmla="*/ 423 h 669"/>
                <a:gd name="T58" fmla="*/ 584 w 845"/>
                <a:gd name="T59" fmla="*/ 423 h 669"/>
                <a:gd name="T60" fmla="*/ 528 w 845"/>
                <a:gd name="T61" fmla="*/ 366 h 669"/>
                <a:gd name="T62" fmla="*/ 528 w 845"/>
                <a:gd name="T63" fmla="*/ 197 h 669"/>
                <a:gd name="T64" fmla="*/ 584 w 845"/>
                <a:gd name="T65" fmla="*/ 141 h 669"/>
                <a:gd name="T66" fmla="*/ 648 w 845"/>
                <a:gd name="T67" fmla="*/ 141 h 669"/>
                <a:gd name="T68" fmla="*/ 705 w 845"/>
                <a:gd name="T69" fmla="*/ 197 h 669"/>
                <a:gd name="T70" fmla="*/ 705 w 845"/>
                <a:gd name="T71" fmla="*/ 562 h 669"/>
                <a:gd name="T72" fmla="*/ 705 w 845"/>
                <a:gd name="T73" fmla="*/ 655 h 669"/>
                <a:gd name="T74" fmla="*/ 719 w 845"/>
                <a:gd name="T75" fmla="*/ 669 h 669"/>
                <a:gd name="T76" fmla="*/ 831 w 845"/>
                <a:gd name="T77" fmla="*/ 669 h 669"/>
                <a:gd name="T78" fmla="*/ 845 w 845"/>
                <a:gd name="T79" fmla="*/ 655 h 669"/>
                <a:gd name="T80" fmla="*/ 845 w 845"/>
                <a:gd name="T81" fmla="*/ 422 h 669"/>
                <a:gd name="T82" fmla="*/ 845 w 845"/>
                <a:gd name="T83" fmla="*/ 141 h 669"/>
                <a:gd name="T84" fmla="*/ 704 w 845"/>
                <a:gd name="T85" fmla="*/ 0 h 6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45" h="669">
                  <a:moveTo>
                    <a:pt x="704" y="0"/>
                  </a:moveTo>
                  <a:cubicBezTo>
                    <a:pt x="528" y="0"/>
                    <a:pt x="528" y="0"/>
                    <a:pt x="528" y="0"/>
                  </a:cubicBezTo>
                  <a:cubicBezTo>
                    <a:pt x="450" y="0"/>
                    <a:pt x="387" y="63"/>
                    <a:pt x="387" y="141"/>
                  </a:cubicBezTo>
                  <a:cubicBezTo>
                    <a:pt x="387" y="422"/>
                    <a:pt x="387" y="422"/>
                    <a:pt x="387" y="422"/>
                  </a:cubicBezTo>
                  <a:cubicBezTo>
                    <a:pt x="387" y="422"/>
                    <a:pt x="387" y="422"/>
                    <a:pt x="387" y="423"/>
                  </a:cubicBezTo>
                  <a:cubicBezTo>
                    <a:pt x="197" y="423"/>
                    <a:pt x="197" y="423"/>
                    <a:pt x="197" y="423"/>
                  </a:cubicBezTo>
                  <a:cubicBezTo>
                    <a:pt x="166" y="423"/>
                    <a:pt x="140" y="397"/>
                    <a:pt x="140" y="366"/>
                  </a:cubicBezTo>
                  <a:cubicBezTo>
                    <a:pt x="140" y="344"/>
                    <a:pt x="140" y="344"/>
                    <a:pt x="140" y="344"/>
                  </a:cubicBezTo>
                  <a:cubicBezTo>
                    <a:pt x="140" y="340"/>
                    <a:pt x="144" y="337"/>
                    <a:pt x="147" y="337"/>
                  </a:cubicBezTo>
                  <a:cubicBezTo>
                    <a:pt x="239" y="337"/>
                    <a:pt x="239" y="337"/>
                    <a:pt x="239" y="337"/>
                  </a:cubicBezTo>
                  <a:cubicBezTo>
                    <a:pt x="247" y="337"/>
                    <a:pt x="253" y="330"/>
                    <a:pt x="253" y="323"/>
                  </a:cubicBezTo>
                  <a:cubicBezTo>
                    <a:pt x="253" y="238"/>
                    <a:pt x="253" y="238"/>
                    <a:pt x="253" y="238"/>
                  </a:cubicBezTo>
                  <a:cubicBezTo>
                    <a:pt x="253" y="231"/>
                    <a:pt x="247" y="224"/>
                    <a:pt x="239" y="224"/>
                  </a:cubicBezTo>
                  <a:cubicBezTo>
                    <a:pt x="147" y="224"/>
                    <a:pt x="147" y="224"/>
                    <a:pt x="147" y="224"/>
                  </a:cubicBezTo>
                  <a:cubicBezTo>
                    <a:pt x="144" y="224"/>
                    <a:pt x="140" y="221"/>
                    <a:pt x="140" y="217"/>
                  </a:cubicBezTo>
                  <a:cubicBezTo>
                    <a:pt x="140" y="197"/>
                    <a:pt x="140" y="197"/>
                    <a:pt x="140" y="197"/>
                  </a:cubicBezTo>
                  <a:cubicBezTo>
                    <a:pt x="140" y="166"/>
                    <a:pt x="166" y="141"/>
                    <a:pt x="197" y="141"/>
                  </a:cubicBezTo>
                  <a:cubicBezTo>
                    <a:pt x="338" y="141"/>
                    <a:pt x="338" y="141"/>
                    <a:pt x="338" y="141"/>
                  </a:cubicBezTo>
                  <a:cubicBezTo>
                    <a:pt x="346" y="141"/>
                    <a:pt x="352" y="135"/>
                    <a:pt x="352" y="127"/>
                  </a:cubicBezTo>
                  <a:cubicBezTo>
                    <a:pt x="352" y="14"/>
                    <a:pt x="352" y="14"/>
                    <a:pt x="352" y="14"/>
                  </a:cubicBezTo>
                  <a:cubicBezTo>
                    <a:pt x="352" y="6"/>
                    <a:pt x="346" y="0"/>
                    <a:pt x="338" y="0"/>
                  </a:cubicBezTo>
                  <a:cubicBezTo>
                    <a:pt x="141" y="0"/>
                    <a:pt x="141" y="0"/>
                    <a:pt x="141" y="0"/>
                  </a:cubicBezTo>
                  <a:cubicBezTo>
                    <a:pt x="63" y="0"/>
                    <a:pt x="0" y="63"/>
                    <a:pt x="0" y="141"/>
                  </a:cubicBezTo>
                  <a:cubicBezTo>
                    <a:pt x="0" y="423"/>
                    <a:pt x="0" y="423"/>
                    <a:pt x="0" y="423"/>
                  </a:cubicBezTo>
                  <a:cubicBezTo>
                    <a:pt x="0" y="501"/>
                    <a:pt x="63" y="564"/>
                    <a:pt x="141" y="564"/>
                  </a:cubicBezTo>
                  <a:cubicBezTo>
                    <a:pt x="662" y="564"/>
                    <a:pt x="662" y="564"/>
                    <a:pt x="662" y="564"/>
                  </a:cubicBezTo>
                  <a:cubicBezTo>
                    <a:pt x="666" y="564"/>
                    <a:pt x="670" y="560"/>
                    <a:pt x="670" y="557"/>
                  </a:cubicBezTo>
                  <a:cubicBezTo>
                    <a:pt x="670" y="430"/>
                    <a:pt x="670" y="430"/>
                    <a:pt x="670" y="430"/>
                  </a:cubicBezTo>
                  <a:cubicBezTo>
                    <a:pt x="670" y="426"/>
                    <a:pt x="666" y="423"/>
                    <a:pt x="662" y="423"/>
                  </a:cubicBezTo>
                  <a:cubicBezTo>
                    <a:pt x="584" y="423"/>
                    <a:pt x="584" y="423"/>
                    <a:pt x="584" y="423"/>
                  </a:cubicBezTo>
                  <a:cubicBezTo>
                    <a:pt x="553" y="423"/>
                    <a:pt x="528" y="397"/>
                    <a:pt x="528" y="366"/>
                  </a:cubicBezTo>
                  <a:cubicBezTo>
                    <a:pt x="528" y="197"/>
                    <a:pt x="528" y="197"/>
                    <a:pt x="528" y="197"/>
                  </a:cubicBezTo>
                  <a:cubicBezTo>
                    <a:pt x="528" y="166"/>
                    <a:pt x="553" y="141"/>
                    <a:pt x="584" y="141"/>
                  </a:cubicBezTo>
                  <a:cubicBezTo>
                    <a:pt x="648" y="141"/>
                    <a:pt x="648" y="141"/>
                    <a:pt x="648" y="141"/>
                  </a:cubicBezTo>
                  <a:cubicBezTo>
                    <a:pt x="679" y="141"/>
                    <a:pt x="705" y="166"/>
                    <a:pt x="705" y="197"/>
                  </a:cubicBezTo>
                  <a:cubicBezTo>
                    <a:pt x="705" y="562"/>
                    <a:pt x="705" y="562"/>
                    <a:pt x="705" y="562"/>
                  </a:cubicBezTo>
                  <a:cubicBezTo>
                    <a:pt x="705" y="655"/>
                    <a:pt x="705" y="655"/>
                    <a:pt x="705" y="655"/>
                  </a:cubicBezTo>
                  <a:cubicBezTo>
                    <a:pt x="705" y="663"/>
                    <a:pt x="711" y="669"/>
                    <a:pt x="719" y="669"/>
                  </a:cubicBezTo>
                  <a:cubicBezTo>
                    <a:pt x="831" y="669"/>
                    <a:pt x="831" y="669"/>
                    <a:pt x="831" y="669"/>
                  </a:cubicBezTo>
                  <a:cubicBezTo>
                    <a:pt x="839" y="669"/>
                    <a:pt x="845" y="663"/>
                    <a:pt x="845" y="655"/>
                  </a:cubicBezTo>
                  <a:cubicBezTo>
                    <a:pt x="845" y="422"/>
                    <a:pt x="845" y="422"/>
                    <a:pt x="845" y="422"/>
                  </a:cubicBezTo>
                  <a:cubicBezTo>
                    <a:pt x="845" y="141"/>
                    <a:pt x="845" y="141"/>
                    <a:pt x="845" y="141"/>
                  </a:cubicBezTo>
                  <a:cubicBezTo>
                    <a:pt x="845" y="63"/>
                    <a:pt x="782" y="0"/>
                    <a:pt x="704" y="0"/>
                  </a:cubicBezTo>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grpSp>
    </p:spTree>
    <p:extLst>
      <p:ext uri="{BB962C8B-B14F-4D97-AF65-F5344CB8AC3E}">
        <p14:creationId xmlns:p14="http://schemas.microsoft.com/office/powerpoint/2010/main" val="230840506"/>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2 Contacts">
    <p:bg>
      <p:bgPr>
        <a:solidFill>
          <a:schemeClr val="accent1"/>
        </a:solidFill>
        <a:effectLst/>
      </p:bgPr>
    </p:bg>
    <p:spTree>
      <p:nvGrpSpPr>
        <p:cNvPr id="1" name=""/>
        <p:cNvGrpSpPr/>
        <p:nvPr/>
      </p:nvGrpSpPr>
      <p:grpSpPr>
        <a:xfrm>
          <a:off x="0" y="0"/>
          <a:ext cx="0" cy="0"/>
          <a:chOff x="0" y="0"/>
          <a:chExt cx="0" cy="0"/>
        </a:xfrm>
      </p:grpSpPr>
      <p:sp>
        <p:nvSpPr>
          <p:cNvPr id="11" name="Grafik 9">
            <a:extLst>
              <a:ext uri="{FF2B5EF4-FFF2-40B4-BE49-F238E27FC236}">
                <a16:creationId xmlns:a16="http://schemas.microsoft.com/office/drawing/2014/main" id="{4A5F9761-A523-642D-A9E9-409901F2EB24}"/>
              </a:ext>
            </a:extLst>
          </p:cNvPr>
          <p:cNvSpPr/>
          <p:nvPr/>
        </p:nvSpPr>
        <p:spPr bwMode="gray">
          <a:xfrm>
            <a:off x="0" y="0"/>
            <a:ext cx="8301010" cy="6758435"/>
          </a:xfrm>
          <a:custGeom>
            <a:avLst/>
            <a:gdLst>
              <a:gd name="connsiteX0" fmla="*/ 109389 w 8301010"/>
              <a:gd name="connsiteY0" fmla="*/ 6745114 h 6758435"/>
              <a:gd name="connsiteX1" fmla="*/ 187270 w 8301010"/>
              <a:gd name="connsiteY1" fmla="*/ 6736359 h 6758435"/>
              <a:gd name="connsiteX2" fmla="*/ 265023 w 8301010"/>
              <a:gd name="connsiteY2" fmla="*/ 6727604 h 6758435"/>
              <a:gd name="connsiteX3" fmla="*/ 342904 w 8301010"/>
              <a:gd name="connsiteY3" fmla="*/ 6718849 h 6758435"/>
              <a:gd name="connsiteX4" fmla="*/ 420785 w 8301010"/>
              <a:gd name="connsiteY4" fmla="*/ 6710094 h 6758435"/>
              <a:gd name="connsiteX5" fmla="*/ 498539 w 8301010"/>
              <a:gd name="connsiteY5" fmla="*/ 6701340 h 6758435"/>
              <a:gd name="connsiteX6" fmla="*/ 576420 w 8301010"/>
              <a:gd name="connsiteY6" fmla="*/ 6692585 h 6758435"/>
              <a:gd name="connsiteX7" fmla="*/ 654173 w 8301010"/>
              <a:gd name="connsiteY7" fmla="*/ 6683831 h 6758435"/>
              <a:gd name="connsiteX8" fmla="*/ 732054 w 8301010"/>
              <a:gd name="connsiteY8" fmla="*/ 6675076 h 6758435"/>
              <a:gd name="connsiteX9" fmla="*/ 809808 w 8301010"/>
              <a:gd name="connsiteY9" fmla="*/ 6666321 h 6758435"/>
              <a:gd name="connsiteX10" fmla="*/ 887562 w 8301010"/>
              <a:gd name="connsiteY10" fmla="*/ 6657566 h 6758435"/>
              <a:gd name="connsiteX11" fmla="*/ 965442 w 8301010"/>
              <a:gd name="connsiteY11" fmla="*/ 6648811 h 6758435"/>
              <a:gd name="connsiteX12" fmla="*/ 1043196 w 8301010"/>
              <a:gd name="connsiteY12" fmla="*/ 6640057 h 6758435"/>
              <a:gd name="connsiteX13" fmla="*/ 1121077 w 8301010"/>
              <a:gd name="connsiteY13" fmla="*/ 6631302 h 6758435"/>
              <a:gd name="connsiteX14" fmla="*/ 1198831 w 8301010"/>
              <a:gd name="connsiteY14" fmla="*/ 6622547 h 6758435"/>
              <a:gd name="connsiteX15" fmla="*/ 1276712 w 8301010"/>
              <a:gd name="connsiteY15" fmla="*/ 6613792 h 6758435"/>
              <a:gd name="connsiteX16" fmla="*/ 1354593 w 8301010"/>
              <a:gd name="connsiteY16" fmla="*/ 6605037 h 6758435"/>
              <a:gd name="connsiteX17" fmla="*/ 1432346 w 8301010"/>
              <a:gd name="connsiteY17" fmla="*/ 6596283 h 6758435"/>
              <a:gd name="connsiteX18" fmla="*/ 1510227 w 8301010"/>
              <a:gd name="connsiteY18" fmla="*/ 6587528 h 6758435"/>
              <a:gd name="connsiteX19" fmla="*/ 1587981 w 8301010"/>
              <a:gd name="connsiteY19" fmla="*/ 6578773 h 6758435"/>
              <a:gd name="connsiteX20" fmla="*/ 1665862 w 8301010"/>
              <a:gd name="connsiteY20" fmla="*/ 6570018 h 6758435"/>
              <a:gd name="connsiteX21" fmla="*/ 1743615 w 8301010"/>
              <a:gd name="connsiteY21" fmla="*/ 6561263 h 6758435"/>
              <a:gd name="connsiteX22" fmla="*/ 1821496 w 8301010"/>
              <a:gd name="connsiteY22" fmla="*/ 6552509 h 6758435"/>
              <a:gd name="connsiteX23" fmla="*/ 1899250 w 8301010"/>
              <a:gd name="connsiteY23" fmla="*/ 6543754 h 6758435"/>
              <a:gd name="connsiteX24" fmla="*/ 1977131 w 8301010"/>
              <a:gd name="connsiteY24" fmla="*/ 6534999 h 6758435"/>
              <a:gd name="connsiteX25" fmla="*/ 2055012 w 8301010"/>
              <a:gd name="connsiteY25" fmla="*/ 6526244 h 6758435"/>
              <a:gd name="connsiteX26" fmla="*/ 2132765 w 8301010"/>
              <a:gd name="connsiteY26" fmla="*/ 6517489 h 6758435"/>
              <a:gd name="connsiteX27" fmla="*/ 2210646 w 8301010"/>
              <a:gd name="connsiteY27" fmla="*/ 6508735 h 6758435"/>
              <a:gd name="connsiteX28" fmla="*/ 2288400 w 8301010"/>
              <a:gd name="connsiteY28" fmla="*/ 6499980 h 6758435"/>
              <a:gd name="connsiteX29" fmla="*/ 2366154 w 8301010"/>
              <a:gd name="connsiteY29" fmla="*/ 6491225 h 6758435"/>
              <a:gd name="connsiteX30" fmla="*/ 2444034 w 8301010"/>
              <a:gd name="connsiteY30" fmla="*/ 6482470 h 6758435"/>
              <a:gd name="connsiteX31" fmla="*/ 2521788 w 8301010"/>
              <a:gd name="connsiteY31" fmla="*/ 6473716 h 6758435"/>
              <a:gd name="connsiteX32" fmla="*/ 2599669 w 8301010"/>
              <a:gd name="connsiteY32" fmla="*/ 6464961 h 6758435"/>
              <a:gd name="connsiteX33" fmla="*/ 2677423 w 8301010"/>
              <a:gd name="connsiteY33" fmla="*/ 6456206 h 6758435"/>
              <a:gd name="connsiteX34" fmla="*/ 2755304 w 8301010"/>
              <a:gd name="connsiteY34" fmla="*/ 6447451 h 6758435"/>
              <a:gd name="connsiteX35" fmla="*/ 2833057 w 8301010"/>
              <a:gd name="connsiteY35" fmla="*/ 6438696 h 6758435"/>
              <a:gd name="connsiteX36" fmla="*/ 2910811 w 8301010"/>
              <a:gd name="connsiteY36" fmla="*/ 6429942 h 6758435"/>
              <a:gd name="connsiteX37" fmla="*/ 2988692 w 8301010"/>
              <a:gd name="connsiteY37" fmla="*/ 6421187 h 6758435"/>
              <a:gd name="connsiteX38" fmla="*/ 3066446 w 8301010"/>
              <a:gd name="connsiteY38" fmla="*/ 6412432 h 6758435"/>
              <a:gd name="connsiteX39" fmla="*/ 3144327 w 8301010"/>
              <a:gd name="connsiteY39" fmla="*/ 6403678 h 6758435"/>
              <a:gd name="connsiteX40" fmla="*/ 3222080 w 8301010"/>
              <a:gd name="connsiteY40" fmla="*/ 6394923 h 6758435"/>
              <a:gd name="connsiteX41" fmla="*/ 3299834 w 8301010"/>
              <a:gd name="connsiteY41" fmla="*/ 6386168 h 6758435"/>
              <a:gd name="connsiteX42" fmla="*/ 3377715 w 8301010"/>
              <a:gd name="connsiteY42" fmla="*/ 6377413 h 6758435"/>
              <a:gd name="connsiteX43" fmla="*/ 3455469 w 8301010"/>
              <a:gd name="connsiteY43" fmla="*/ 6368658 h 6758435"/>
              <a:gd name="connsiteX44" fmla="*/ 3533349 w 8301010"/>
              <a:gd name="connsiteY44" fmla="*/ 6359904 h 6758435"/>
              <a:gd name="connsiteX45" fmla="*/ 3611103 w 8301010"/>
              <a:gd name="connsiteY45" fmla="*/ 6351149 h 6758435"/>
              <a:gd name="connsiteX46" fmla="*/ 3688984 w 8301010"/>
              <a:gd name="connsiteY46" fmla="*/ 6342394 h 6758435"/>
              <a:gd name="connsiteX47" fmla="*/ 3766738 w 8301010"/>
              <a:gd name="connsiteY47" fmla="*/ 6333639 h 6758435"/>
              <a:gd name="connsiteX48" fmla="*/ 3844618 w 8301010"/>
              <a:gd name="connsiteY48" fmla="*/ 6324884 h 6758435"/>
              <a:gd name="connsiteX49" fmla="*/ 3922372 w 8301010"/>
              <a:gd name="connsiteY49" fmla="*/ 6316129 h 6758435"/>
              <a:gd name="connsiteX50" fmla="*/ 4000126 w 8301010"/>
              <a:gd name="connsiteY50" fmla="*/ 6307375 h 6758435"/>
              <a:gd name="connsiteX51" fmla="*/ 4078007 w 8301010"/>
              <a:gd name="connsiteY51" fmla="*/ 6298620 h 6758435"/>
              <a:gd name="connsiteX52" fmla="*/ 4155761 w 8301010"/>
              <a:gd name="connsiteY52" fmla="*/ 6289865 h 6758435"/>
              <a:gd name="connsiteX53" fmla="*/ 4233642 w 8301010"/>
              <a:gd name="connsiteY53" fmla="*/ 6281111 h 6758435"/>
              <a:gd name="connsiteX54" fmla="*/ 4311522 w 8301010"/>
              <a:gd name="connsiteY54" fmla="*/ 6272356 h 6758435"/>
              <a:gd name="connsiteX55" fmla="*/ 4389276 w 8301010"/>
              <a:gd name="connsiteY55" fmla="*/ 6263601 h 6758435"/>
              <a:gd name="connsiteX56" fmla="*/ 4467030 w 8301010"/>
              <a:gd name="connsiteY56" fmla="*/ 6254846 h 6758435"/>
              <a:gd name="connsiteX57" fmla="*/ 4544911 w 8301010"/>
              <a:gd name="connsiteY57" fmla="*/ 6246091 h 6758435"/>
              <a:gd name="connsiteX58" fmla="*/ 4622791 w 8301010"/>
              <a:gd name="connsiteY58" fmla="*/ 6237337 h 6758435"/>
              <a:gd name="connsiteX59" fmla="*/ 4700545 w 8301010"/>
              <a:gd name="connsiteY59" fmla="*/ 6228582 h 6758435"/>
              <a:gd name="connsiteX60" fmla="*/ 4778426 w 8301010"/>
              <a:gd name="connsiteY60" fmla="*/ 6219827 h 6758435"/>
              <a:gd name="connsiteX61" fmla="*/ 4856180 w 8301010"/>
              <a:gd name="connsiteY61" fmla="*/ 6211072 h 6758435"/>
              <a:gd name="connsiteX62" fmla="*/ 4933934 w 8301010"/>
              <a:gd name="connsiteY62" fmla="*/ 6202317 h 6758435"/>
              <a:gd name="connsiteX63" fmla="*/ 5011814 w 8301010"/>
              <a:gd name="connsiteY63" fmla="*/ 6193563 h 6758435"/>
              <a:gd name="connsiteX64" fmla="*/ 5089568 w 8301010"/>
              <a:gd name="connsiteY64" fmla="*/ 6184808 h 6758435"/>
              <a:gd name="connsiteX65" fmla="*/ 5167322 w 8301010"/>
              <a:gd name="connsiteY65" fmla="*/ 6176053 h 6758435"/>
              <a:gd name="connsiteX66" fmla="*/ 5245203 w 8301010"/>
              <a:gd name="connsiteY66" fmla="*/ 6167298 h 6758435"/>
              <a:gd name="connsiteX67" fmla="*/ 5322956 w 8301010"/>
              <a:gd name="connsiteY67" fmla="*/ 6158544 h 6758435"/>
              <a:gd name="connsiteX68" fmla="*/ 5400710 w 8301010"/>
              <a:gd name="connsiteY68" fmla="*/ 6149789 h 6758435"/>
              <a:gd name="connsiteX69" fmla="*/ 5478464 w 8301010"/>
              <a:gd name="connsiteY69" fmla="*/ 6141034 h 6758435"/>
              <a:gd name="connsiteX70" fmla="*/ 5556345 w 8301010"/>
              <a:gd name="connsiteY70" fmla="*/ 6132279 h 6758435"/>
              <a:gd name="connsiteX71" fmla="*/ 5634098 w 8301010"/>
              <a:gd name="connsiteY71" fmla="*/ 6123524 h 6758435"/>
              <a:gd name="connsiteX72" fmla="*/ 6252571 w 8301010"/>
              <a:gd name="connsiteY72" fmla="*/ 5697078 h 6758435"/>
              <a:gd name="connsiteX73" fmla="*/ 8237579 w 8301010"/>
              <a:gd name="connsiteY73" fmla="*/ 1270712 h 6758435"/>
              <a:gd name="connsiteX74" fmla="*/ 7872441 w 8301010"/>
              <a:gd name="connsiteY74" fmla="*/ 314665 h 6758435"/>
              <a:gd name="connsiteX75" fmla="*/ 7174182 w 8301010"/>
              <a:gd name="connsiteY75" fmla="*/ 0 h 6758435"/>
              <a:gd name="connsiteX76" fmla="*/ 0 w 8301010"/>
              <a:gd name="connsiteY76" fmla="*/ 0 h 6758435"/>
              <a:gd name="connsiteX77" fmla="*/ 0 w 8301010"/>
              <a:gd name="connsiteY77" fmla="*/ 6758436 h 6758435"/>
              <a:gd name="connsiteX78" fmla="*/ 31635 w 8301010"/>
              <a:gd name="connsiteY78" fmla="*/ 6753995 h 6758435"/>
              <a:gd name="connsiteX79" fmla="*/ 109389 w 8301010"/>
              <a:gd name="connsiteY79" fmla="*/ 6745241 h 67584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Lst>
            <a:rect l="l" t="t" r="r" b="b"/>
            <a:pathLst>
              <a:path w="8301010" h="6758435">
                <a:moveTo>
                  <a:pt x="109389" y="6745114"/>
                </a:moveTo>
                <a:cubicBezTo>
                  <a:pt x="135561" y="6743591"/>
                  <a:pt x="161479" y="6740673"/>
                  <a:pt x="187270" y="6736359"/>
                </a:cubicBezTo>
                <a:cubicBezTo>
                  <a:pt x="213442" y="6734836"/>
                  <a:pt x="239360" y="6731918"/>
                  <a:pt x="265023" y="6727604"/>
                </a:cubicBezTo>
                <a:cubicBezTo>
                  <a:pt x="291195" y="6726081"/>
                  <a:pt x="317113" y="6723163"/>
                  <a:pt x="342904" y="6718849"/>
                </a:cubicBezTo>
                <a:cubicBezTo>
                  <a:pt x="369076" y="6717327"/>
                  <a:pt x="394994" y="6714409"/>
                  <a:pt x="420785" y="6710094"/>
                </a:cubicBezTo>
                <a:cubicBezTo>
                  <a:pt x="446957" y="6708572"/>
                  <a:pt x="472875" y="6705654"/>
                  <a:pt x="498539" y="6701340"/>
                </a:cubicBezTo>
                <a:cubicBezTo>
                  <a:pt x="524711" y="6699817"/>
                  <a:pt x="550629" y="6696899"/>
                  <a:pt x="576420" y="6692585"/>
                </a:cubicBezTo>
                <a:cubicBezTo>
                  <a:pt x="602592" y="6691062"/>
                  <a:pt x="628510" y="6688144"/>
                  <a:pt x="654173" y="6683831"/>
                </a:cubicBezTo>
                <a:cubicBezTo>
                  <a:pt x="680345" y="6682307"/>
                  <a:pt x="706263" y="6679389"/>
                  <a:pt x="732054" y="6675076"/>
                </a:cubicBezTo>
                <a:cubicBezTo>
                  <a:pt x="758226" y="6673553"/>
                  <a:pt x="784144" y="6670635"/>
                  <a:pt x="809808" y="6666321"/>
                </a:cubicBezTo>
                <a:cubicBezTo>
                  <a:pt x="835980" y="6664799"/>
                  <a:pt x="861898" y="6661880"/>
                  <a:pt x="887562" y="6657566"/>
                </a:cubicBezTo>
                <a:cubicBezTo>
                  <a:pt x="913734" y="6656044"/>
                  <a:pt x="939652" y="6653125"/>
                  <a:pt x="965442" y="6648811"/>
                </a:cubicBezTo>
                <a:cubicBezTo>
                  <a:pt x="991615" y="6647289"/>
                  <a:pt x="1017532" y="6644370"/>
                  <a:pt x="1043196" y="6640057"/>
                </a:cubicBezTo>
                <a:cubicBezTo>
                  <a:pt x="1069368" y="6638534"/>
                  <a:pt x="1095286" y="6635615"/>
                  <a:pt x="1121077" y="6631302"/>
                </a:cubicBezTo>
                <a:cubicBezTo>
                  <a:pt x="1147249" y="6629779"/>
                  <a:pt x="1173167" y="6626861"/>
                  <a:pt x="1198831" y="6622547"/>
                </a:cubicBezTo>
                <a:cubicBezTo>
                  <a:pt x="1225003" y="6621025"/>
                  <a:pt x="1250921" y="6618106"/>
                  <a:pt x="1276712" y="6613792"/>
                </a:cubicBezTo>
                <a:cubicBezTo>
                  <a:pt x="1302884" y="6612270"/>
                  <a:pt x="1328929" y="6609351"/>
                  <a:pt x="1354593" y="6605037"/>
                </a:cubicBezTo>
                <a:cubicBezTo>
                  <a:pt x="1380764" y="6603515"/>
                  <a:pt x="1406682" y="6600596"/>
                  <a:pt x="1432346" y="6596283"/>
                </a:cubicBezTo>
                <a:cubicBezTo>
                  <a:pt x="1458518" y="6594760"/>
                  <a:pt x="1484436" y="6591842"/>
                  <a:pt x="1510227" y="6587528"/>
                </a:cubicBezTo>
                <a:cubicBezTo>
                  <a:pt x="1536399" y="6586005"/>
                  <a:pt x="1562317" y="6583087"/>
                  <a:pt x="1587981" y="6578773"/>
                </a:cubicBezTo>
                <a:cubicBezTo>
                  <a:pt x="1614153" y="6577250"/>
                  <a:pt x="1640198" y="6574332"/>
                  <a:pt x="1665862" y="6570018"/>
                </a:cubicBezTo>
                <a:cubicBezTo>
                  <a:pt x="1692034" y="6568496"/>
                  <a:pt x="1717952" y="6565578"/>
                  <a:pt x="1743615" y="6561263"/>
                </a:cubicBezTo>
                <a:cubicBezTo>
                  <a:pt x="1769787" y="6559741"/>
                  <a:pt x="1795705" y="6556823"/>
                  <a:pt x="1821496" y="6552509"/>
                </a:cubicBezTo>
                <a:cubicBezTo>
                  <a:pt x="1847668" y="6550986"/>
                  <a:pt x="1873586" y="6548068"/>
                  <a:pt x="1899250" y="6543754"/>
                </a:cubicBezTo>
                <a:cubicBezTo>
                  <a:pt x="1925422" y="6542231"/>
                  <a:pt x="1951340" y="6539313"/>
                  <a:pt x="1977131" y="6534999"/>
                </a:cubicBezTo>
                <a:cubicBezTo>
                  <a:pt x="2003303" y="6533476"/>
                  <a:pt x="2029221" y="6530558"/>
                  <a:pt x="2055012" y="6526244"/>
                </a:cubicBezTo>
                <a:cubicBezTo>
                  <a:pt x="2081184" y="6524722"/>
                  <a:pt x="2107102" y="6521804"/>
                  <a:pt x="2132765" y="6517489"/>
                </a:cubicBezTo>
                <a:cubicBezTo>
                  <a:pt x="2158937" y="6515967"/>
                  <a:pt x="2184855" y="6513049"/>
                  <a:pt x="2210646" y="6508735"/>
                </a:cubicBezTo>
                <a:cubicBezTo>
                  <a:pt x="2236818" y="6507212"/>
                  <a:pt x="2262736" y="6504294"/>
                  <a:pt x="2288400" y="6499980"/>
                </a:cubicBezTo>
                <a:cubicBezTo>
                  <a:pt x="2314572" y="6498457"/>
                  <a:pt x="2340490" y="6495539"/>
                  <a:pt x="2366154" y="6491225"/>
                </a:cubicBezTo>
                <a:cubicBezTo>
                  <a:pt x="2392326" y="6489703"/>
                  <a:pt x="2418244" y="6486784"/>
                  <a:pt x="2444034" y="6482470"/>
                </a:cubicBezTo>
                <a:cubicBezTo>
                  <a:pt x="2470206" y="6480948"/>
                  <a:pt x="2496124" y="6478030"/>
                  <a:pt x="2521788" y="6473716"/>
                </a:cubicBezTo>
                <a:cubicBezTo>
                  <a:pt x="2547960" y="6472193"/>
                  <a:pt x="2573878" y="6469275"/>
                  <a:pt x="2599669" y="6464961"/>
                </a:cubicBezTo>
                <a:cubicBezTo>
                  <a:pt x="2625841" y="6463438"/>
                  <a:pt x="2651759" y="6460520"/>
                  <a:pt x="2677423" y="6456206"/>
                </a:cubicBezTo>
                <a:cubicBezTo>
                  <a:pt x="2703595" y="6454684"/>
                  <a:pt x="2729640" y="6451765"/>
                  <a:pt x="2755304" y="6447451"/>
                </a:cubicBezTo>
                <a:cubicBezTo>
                  <a:pt x="2781476" y="6445929"/>
                  <a:pt x="2807394" y="6443010"/>
                  <a:pt x="2833057" y="6438696"/>
                </a:cubicBezTo>
                <a:cubicBezTo>
                  <a:pt x="2859229" y="6437174"/>
                  <a:pt x="2885147" y="6434256"/>
                  <a:pt x="2910811" y="6429942"/>
                </a:cubicBezTo>
                <a:cubicBezTo>
                  <a:pt x="2936983" y="6428419"/>
                  <a:pt x="2962901" y="6425501"/>
                  <a:pt x="2988692" y="6421187"/>
                </a:cubicBezTo>
                <a:cubicBezTo>
                  <a:pt x="3014864" y="6419664"/>
                  <a:pt x="3040782" y="6416746"/>
                  <a:pt x="3066446" y="6412432"/>
                </a:cubicBezTo>
                <a:cubicBezTo>
                  <a:pt x="3092618" y="6410909"/>
                  <a:pt x="3118536" y="6407991"/>
                  <a:pt x="3144327" y="6403678"/>
                </a:cubicBezTo>
                <a:cubicBezTo>
                  <a:pt x="3170499" y="6402155"/>
                  <a:pt x="3196416" y="6399237"/>
                  <a:pt x="3222080" y="6394923"/>
                </a:cubicBezTo>
                <a:cubicBezTo>
                  <a:pt x="3248252" y="6393400"/>
                  <a:pt x="3274170" y="6390482"/>
                  <a:pt x="3299834" y="6386168"/>
                </a:cubicBezTo>
                <a:cubicBezTo>
                  <a:pt x="3326006" y="6384645"/>
                  <a:pt x="3352051" y="6381727"/>
                  <a:pt x="3377715" y="6377413"/>
                </a:cubicBezTo>
                <a:cubicBezTo>
                  <a:pt x="3403887" y="6375891"/>
                  <a:pt x="3429805" y="6372972"/>
                  <a:pt x="3455469" y="6368658"/>
                </a:cubicBezTo>
                <a:cubicBezTo>
                  <a:pt x="3481641" y="6367136"/>
                  <a:pt x="3507685" y="6364217"/>
                  <a:pt x="3533349" y="6359904"/>
                </a:cubicBezTo>
                <a:cubicBezTo>
                  <a:pt x="3559522" y="6358381"/>
                  <a:pt x="3585439" y="6355463"/>
                  <a:pt x="3611103" y="6351149"/>
                </a:cubicBezTo>
                <a:cubicBezTo>
                  <a:pt x="3637275" y="6349626"/>
                  <a:pt x="3663193" y="6346708"/>
                  <a:pt x="3688984" y="6342394"/>
                </a:cubicBezTo>
                <a:cubicBezTo>
                  <a:pt x="3715156" y="6340871"/>
                  <a:pt x="3741074" y="6337953"/>
                  <a:pt x="3766738" y="6333639"/>
                </a:cubicBezTo>
                <a:cubicBezTo>
                  <a:pt x="3792910" y="6332117"/>
                  <a:pt x="3818955" y="6329198"/>
                  <a:pt x="3844618" y="6324884"/>
                </a:cubicBezTo>
                <a:cubicBezTo>
                  <a:pt x="3870791" y="6323362"/>
                  <a:pt x="3896708" y="6320444"/>
                  <a:pt x="3922372" y="6316129"/>
                </a:cubicBezTo>
                <a:cubicBezTo>
                  <a:pt x="3948544" y="6314607"/>
                  <a:pt x="3974462" y="6311689"/>
                  <a:pt x="4000126" y="6307375"/>
                </a:cubicBezTo>
                <a:cubicBezTo>
                  <a:pt x="4026298" y="6305852"/>
                  <a:pt x="4052343" y="6302934"/>
                  <a:pt x="4078007" y="6298620"/>
                </a:cubicBezTo>
                <a:cubicBezTo>
                  <a:pt x="4104179" y="6297097"/>
                  <a:pt x="4130097" y="6294179"/>
                  <a:pt x="4155761" y="6289865"/>
                </a:cubicBezTo>
                <a:cubicBezTo>
                  <a:pt x="4181933" y="6288343"/>
                  <a:pt x="4207851" y="6285425"/>
                  <a:pt x="4233642" y="6281111"/>
                </a:cubicBezTo>
                <a:cubicBezTo>
                  <a:pt x="4259814" y="6279588"/>
                  <a:pt x="4285731" y="6276670"/>
                  <a:pt x="4311522" y="6272356"/>
                </a:cubicBezTo>
                <a:cubicBezTo>
                  <a:pt x="4337694" y="6270833"/>
                  <a:pt x="4363612" y="6267915"/>
                  <a:pt x="4389276" y="6263601"/>
                </a:cubicBezTo>
                <a:cubicBezTo>
                  <a:pt x="4415448" y="6262078"/>
                  <a:pt x="4441366" y="6259160"/>
                  <a:pt x="4467030" y="6254846"/>
                </a:cubicBezTo>
                <a:cubicBezTo>
                  <a:pt x="4493202" y="6253324"/>
                  <a:pt x="4519120" y="6250405"/>
                  <a:pt x="4544911" y="6246091"/>
                </a:cubicBezTo>
                <a:cubicBezTo>
                  <a:pt x="4571083" y="6244569"/>
                  <a:pt x="4597128" y="6241650"/>
                  <a:pt x="4622791" y="6237337"/>
                </a:cubicBezTo>
                <a:cubicBezTo>
                  <a:pt x="4648964" y="6235814"/>
                  <a:pt x="4674881" y="6232896"/>
                  <a:pt x="4700545" y="6228582"/>
                </a:cubicBezTo>
                <a:cubicBezTo>
                  <a:pt x="4726717" y="6227059"/>
                  <a:pt x="4752762" y="6224141"/>
                  <a:pt x="4778426" y="6219827"/>
                </a:cubicBezTo>
                <a:cubicBezTo>
                  <a:pt x="4804598" y="6218304"/>
                  <a:pt x="4830516" y="6215386"/>
                  <a:pt x="4856180" y="6211072"/>
                </a:cubicBezTo>
                <a:cubicBezTo>
                  <a:pt x="4882352" y="6209550"/>
                  <a:pt x="4908269" y="6206632"/>
                  <a:pt x="4933934" y="6202317"/>
                </a:cubicBezTo>
                <a:cubicBezTo>
                  <a:pt x="4960106" y="6200795"/>
                  <a:pt x="4986024" y="6197877"/>
                  <a:pt x="5011814" y="6193563"/>
                </a:cubicBezTo>
                <a:cubicBezTo>
                  <a:pt x="5037986" y="6192040"/>
                  <a:pt x="5063904" y="6189122"/>
                  <a:pt x="5089568" y="6184808"/>
                </a:cubicBezTo>
                <a:cubicBezTo>
                  <a:pt x="5115740" y="6183285"/>
                  <a:pt x="5141658" y="6180367"/>
                  <a:pt x="5167322" y="6176053"/>
                </a:cubicBezTo>
                <a:cubicBezTo>
                  <a:pt x="5193494" y="6174531"/>
                  <a:pt x="5219539" y="6171612"/>
                  <a:pt x="5245203" y="6167298"/>
                </a:cubicBezTo>
                <a:cubicBezTo>
                  <a:pt x="5271375" y="6165776"/>
                  <a:pt x="5297293" y="6162858"/>
                  <a:pt x="5322956" y="6158544"/>
                </a:cubicBezTo>
                <a:cubicBezTo>
                  <a:pt x="5349128" y="6157021"/>
                  <a:pt x="5375046" y="6154103"/>
                  <a:pt x="5400710" y="6149789"/>
                </a:cubicBezTo>
                <a:cubicBezTo>
                  <a:pt x="5426882" y="6148266"/>
                  <a:pt x="5452800" y="6145348"/>
                  <a:pt x="5478464" y="6141034"/>
                </a:cubicBezTo>
                <a:cubicBezTo>
                  <a:pt x="5504636" y="6139512"/>
                  <a:pt x="5530681" y="6136593"/>
                  <a:pt x="5556345" y="6132279"/>
                </a:cubicBezTo>
                <a:cubicBezTo>
                  <a:pt x="5582517" y="6130757"/>
                  <a:pt x="5608435" y="6127838"/>
                  <a:pt x="5634098" y="6123524"/>
                </a:cubicBezTo>
                <a:cubicBezTo>
                  <a:pt x="5894929" y="6107918"/>
                  <a:pt x="6138354" y="5951728"/>
                  <a:pt x="6252571" y="5697078"/>
                </a:cubicBezTo>
                <a:lnTo>
                  <a:pt x="8237579" y="1270712"/>
                </a:lnTo>
                <a:cubicBezTo>
                  <a:pt x="8401090" y="906056"/>
                  <a:pt x="8237579" y="477960"/>
                  <a:pt x="7872441" y="314665"/>
                </a:cubicBezTo>
                <a:lnTo>
                  <a:pt x="7174182" y="0"/>
                </a:lnTo>
                <a:lnTo>
                  <a:pt x="0" y="0"/>
                </a:lnTo>
                <a:lnTo>
                  <a:pt x="0" y="6758436"/>
                </a:lnTo>
                <a:cubicBezTo>
                  <a:pt x="10545" y="6757167"/>
                  <a:pt x="21217" y="6755772"/>
                  <a:pt x="31635" y="6753995"/>
                </a:cubicBezTo>
                <a:cubicBezTo>
                  <a:pt x="57807" y="6752473"/>
                  <a:pt x="83725" y="6749555"/>
                  <a:pt x="109389" y="6745241"/>
                </a:cubicBezTo>
                <a:close/>
              </a:path>
            </a:pathLst>
          </a:custGeom>
          <a:solidFill>
            <a:srgbClr val="FFFFFF"/>
          </a:solidFill>
          <a:ln w="0" cap="flat">
            <a:noFill/>
            <a:prstDash val="solid"/>
            <a:miter/>
          </a:ln>
        </p:spPr>
        <p:txBody>
          <a:bodyPr rtlCol="0" anchor="ctr"/>
          <a:lstStyle/>
          <a:p>
            <a:endParaRPr lang="de-DE"/>
          </a:p>
        </p:txBody>
      </p:sp>
      <p:sp>
        <p:nvSpPr>
          <p:cNvPr id="12" name="Grafik 5">
            <a:extLst>
              <a:ext uri="{FF2B5EF4-FFF2-40B4-BE49-F238E27FC236}">
                <a16:creationId xmlns:a16="http://schemas.microsoft.com/office/drawing/2014/main" id="{1ED5DE0F-2D02-56EB-BAC9-1332051464BB}"/>
              </a:ext>
            </a:extLst>
          </p:cNvPr>
          <p:cNvSpPr/>
          <p:nvPr userDrawn="1"/>
        </p:nvSpPr>
        <p:spPr bwMode="gray">
          <a:xfrm>
            <a:off x="8791597" y="3448037"/>
            <a:ext cx="3397103" cy="3415179"/>
          </a:xfrm>
          <a:custGeom>
            <a:avLst/>
            <a:gdLst>
              <a:gd name="connsiteX0" fmla="*/ 3396216 w 3397103"/>
              <a:gd name="connsiteY0" fmla="*/ 789518 h 3415179"/>
              <a:gd name="connsiteX1" fmla="*/ 3217820 w 3397103"/>
              <a:gd name="connsiteY1" fmla="*/ 678694 h 3415179"/>
              <a:gd name="connsiteX2" fmla="*/ 1250014 w 3397103"/>
              <a:gd name="connsiteY2" fmla="*/ 23297 h 3415179"/>
              <a:gd name="connsiteX3" fmla="*/ 676763 w 3397103"/>
              <a:gd name="connsiteY3" fmla="*/ 311488 h 3415179"/>
              <a:gd name="connsiteX4" fmla="*/ 23197 w 3397103"/>
              <a:gd name="connsiteY4" fmla="*/ 2284679 h 3415179"/>
              <a:gd name="connsiteX5" fmla="*/ 16218 w 3397103"/>
              <a:gd name="connsiteY5" fmla="*/ 2548187 h 3415179"/>
              <a:gd name="connsiteX6" fmla="*/ 26622 w 3397103"/>
              <a:gd name="connsiteY6" fmla="*/ 2596155 h 3415179"/>
              <a:gd name="connsiteX7" fmla="*/ 37027 w 3397103"/>
              <a:gd name="connsiteY7" fmla="*/ 2644251 h 3415179"/>
              <a:gd name="connsiteX8" fmla="*/ 47431 w 3397103"/>
              <a:gd name="connsiteY8" fmla="*/ 2692219 h 3415179"/>
              <a:gd name="connsiteX9" fmla="*/ 57835 w 3397103"/>
              <a:gd name="connsiteY9" fmla="*/ 2740314 h 3415179"/>
              <a:gd name="connsiteX10" fmla="*/ 68240 w 3397103"/>
              <a:gd name="connsiteY10" fmla="*/ 2788283 h 3415179"/>
              <a:gd name="connsiteX11" fmla="*/ 78644 w 3397103"/>
              <a:gd name="connsiteY11" fmla="*/ 2836378 h 3415179"/>
              <a:gd name="connsiteX12" fmla="*/ 89048 w 3397103"/>
              <a:gd name="connsiteY12" fmla="*/ 2884474 h 3415179"/>
              <a:gd name="connsiteX13" fmla="*/ 99452 w 3397103"/>
              <a:gd name="connsiteY13" fmla="*/ 2932442 h 3415179"/>
              <a:gd name="connsiteX14" fmla="*/ 109857 w 3397103"/>
              <a:gd name="connsiteY14" fmla="*/ 2980538 h 3415179"/>
              <a:gd name="connsiteX15" fmla="*/ 120261 w 3397103"/>
              <a:gd name="connsiteY15" fmla="*/ 3028506 h 3415179"/>
              <a:gd name="connsiteX16" fmla="*/ 130665 w 3397103"/>
              <a:gd name="connsiteY16" fmla="*/ 3076602 h 3415179"/>
              <a:gd name="connsiteX17" fmla="*/ 141070 w 3397103"/>
              <a:gd name="connsiteY17" fmla="*/ 3124570 h 3415179"/>
              <a:gd name="connsiteX18" fmla="*/ 151474 w 3397103"/>
              <a:gd name="connsiteY18" fmla="*/ 3172666 h 3415179"/>
              <a:gd name="connsiteX19" fmla="*/ 161878 w 3397103"/>
              <a:gd name="connsiteY19" fmla="*/ 3220761 h 3415179"/>
              <a:gd name="connsiteX20" fmla="*/ 172282 w 3397103"/>
              <a:gd name="connsiteY20" fmla="*/ 3268729 h 3415179"/>
              <a:gd name="connsiteX21" fmla="*/ 182687 w 3397103"/>
              <a:gd name="connsiteY21" fmla="*/ 3316825 h 3415179"/>
              <a:gd name="connsiteX22" fmla="*/ 193091 w 3397103"/>
              <a:gd name="connsiteY22" fmla="*/ 3364793 h 3415179"/>
              <a:gd name="connsiteX23" fmla="*/ 203495 w 3397103"/>
              <a:gd name="connsiteY23" fmla="*/ 3412889 h 3415179"/>
              <a:gd name="connsiteX24" fmla="*/ 204003 w 3397103"/>
              <a:gd name="connsiteY24" fmla="*/ 3415179 h 3415179"/>
              <a:gd name="connsiteX25" fmla="*/ 3397103 w 3397103"/>
              <a:gd name="connsiteY25" fmla="*/ 3415179 h 3415179"/>
              <a:gd name="connsiteX26" fmla="*/ 3397103 w 3397103"/>
              <a:gd name="connsiteY26" fmla="*/ 789518 h 34151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397103" h="3415179">
                <a:moveTo>
                  <a:pt x="3396216" y="789518"/>
                </a:moveTo>
                <a:cubicBezTo>
                  <a:pt x="3347747" y="740531"/>
                  <a:pt x="3287478" y="701979"/>
                  <a:pt x="3217820" y="678694"/>
                </a:cubicBezTo>
                <a:lnTo>
                  <a:pt x="1250014" y="23297"/>
                </a:lnTo>
                <a:cubicBezTo>
                  <a:pt x="1012365" y="-55845"/>
                  <a:pt x="755684" y="73174"/>
                  <a:pt x="676763" y="311488"/>
                </a:cubicBezTo>
                <a:lnTo>
                  <a:pt x="23197" y="2284679"/>
                </a:lnTo>
                <a:cubicBezTo>
                  <a:pt x="-6113" y="2373236"/>
                  <a:pt x="-6747" y="2464465"/>
                  <a:pt x="16218" y="2548187"/>
                </a:cubicBezTo>
                <a:cubicBezTo>
                  <a:pt x="18883" y="2564473"/>
                  <a:pt x="22308" y="2580505"/>
                  <a:pt x="26622" y="2596155"/>
                </a:cubicBezTo>
                <a:cubicBezTo>
                  <a:pt x="29287" y="2612441"/>
                  <a:pt x="32713" y="2628473"/>
                  <a:pt x="37027" y="2644251"/>
                </a:cubicBezTo>
                <a:cubicBezTo>
                  <a:pt x="39691" y="2660537"/>
                  <a:pt x="42990" y="2676569"/>
                  <a:pt x="47431" y="2692219"/>
                </a:cubicBezTo>
                <a:cubicBezTo>
                  <a:pt x="50096" y="2708505"/>
                  <a:pt x="53521" y="2724537"/>
                  <a:pt x="57835" y="2740314"/>
                </a:cubicBezTo>
                <a:cubicBezTo>
                  <a:pt x="60500" y="2756601"/>
                  <a:pt x="63926" y="2772633"/>
                  <a:pt x="68240" y="2788283"/>
                </a:cubicBezTo>
                <a:cubicBezTo>
                  <a:pt x="70904" y="2804569"/>
                  <a:pt x="74330" y="2820601"/>
                  <a:pt x="78644" y="2836378"/>
                </a:cubicBezTo>
                <a:cubicBezTo>
                  <a:pt x="81308" y="2852665"/>
                  <a:pt x="84734" y="2868697"/>
                  <a:pt x="89048" y="2884474"/>
                </a:cubicBezTo>
                <a:cubicBezTo>
                  <a:pt x="91713" y="2900760"/>
                  <a:pt x="95138" y="2916792"/>
                  <a:pt x="99452" y="2932442"/>
                </a:cubicBezTo>
                <a:cubicBezTo>
                  <a:pt x="102117" y="2948729"/>
                  <a:pt x="105416" y="2964760"/>
                  <a:pt x="109857" y="2980538"/>
                </a:cubicBezTo>
                <a:cubicBezTo>
                  <a:pt x="112521" y="2996824"/>
                  <a:pt x="115820" y="3012856"/>
                  <a:pt x="120261" y="3028506"/>
                </a:cubicBezTo>
                <a:cubicBezTo>
                  <a:pt x="122926" y="3044792"/>
                  <a:pt x="126351" y="3060824"/>
                  <a:pt x="130665" y="3076602"/>
                </a:cubicBezTo>
                <a:cubicBezTo>
                  <a:pt x="133330" y="3092888"/>
                  <a:pt x="136756" y="3108920"/>
                  <a:pt x="141070" y="3124570"/>
                </a:cubicBezTo>
                <a:cubicBezTo>
                  <a:pt x="143734" y="3140856"/>
                  <a:pt x="147160" y="3156888"/>
                  <a:pt x="151474" y="3172666"/>
                </a:cubicBezTo>
                <a:cubicBezTo>
                  <a:pt x="154138" y="3188952"/>
                  <a:pt x="157564" y="3204984"/>
                  <a:pt x="161878" y="3220761"/>
                </a:cubicBezTo>
                <a:cubicBezTo>
                  <a:pt x="164543" y="3237047"/>
                  <a:pt x="167968" y="3253079"/>
                  <a:pt x="172282" y="3268729"/>
                </a:cubicBezTo>
                <a:cubicBezTo>
                  <a:pt x="174947" y="3285016"/>
                  <a:pt x="178373" y="3301048"/>
                  <a:pt x="182687" y="3316825"/>
                </a:cubicBezTo>
                <a:cubicBezTo>
                  <a:pt x="185351" y="3333111"/>
                  <a:pt x="188777" y="3349143"/>
                  <a:pt x="193091" y="3364793"/>
                </a:cubicBezTo>
                <a:cubicBezTo>
                  <a:pt x="195756" y="3381080"/>
                  <a:pt x="199181" y="3397111"/>
                  <a:pt x="203495" y="3412889"/>
                </a:cubicBezTo>
                <a:cubicBezTo>
                  <a:pt x="203495" y="3413652"/>
                  <a:pt x="203749" y="3414416"/>
                  <a:pt x="204003" y="3415179"/>
                </a:cubicBezTo>
                <a:lnTo>
                  <a:pt x="3397103" y="3415179"/>
                </a:lnTo>
                <a:lnTo>
                  <a:pt x="3397103" y="789518"/>
                </a:lnTo>
                <a:close/>
              </a:path>
            </a:pathLst>
          </a:custGeom>
          <a:solidFill>
            <a:srgbClr val="FFFFFF"/>
          </a:solidFill>
          <a:ln w="0" cap="flat">
            <a:noFill/>
            <a:prstDash val="solid"/>
            <a:miter/>
          </a:ln>
        </p:spPr>
        <p:txBody>
          <a:bodyPr rtlCol="0" anchor="ctr"/>
          <a:lstStyle/>
          <a:p>
            <a:endParaRPr lang="de-DE"/>
          </a:p>
        </p:txBody>
      </p:sp>
      <p:sp>
        <p:nvSpPr>
          <p:cNvPr id="17" name="Titel 1">
            <a:extLst>
              <a:ext uri="{FF2B5EF4-FFF2-40B4-BE49-F238E27FC236}">
                <a16:creationId xmlns:a16="http://schemas.microsoft.com/office/drawing/2014/main" id="{B3E4315A-3188-DEAA-978C-6BEF8BA38BD8}"/>
              </a:ext>
            </a:extLst>
          </p:cNvPr>
          <p:cNvSpPr txBox="1">
            <a:spLocks/>
          </p:cNvSpPr>
          <p:nvPr userDrawn="1"/>
        </p:nvSpPr>
        <p:spPr bwMode="gray">
          <a:xfrm>
            <a:off x="9552384" y="5913276"/>
            <a:ext cx="1979464" cy="252028"/>
          </a:xfrm>
          <a:prstGeom prst="rect">
            <a:avLst/>
          </a:prstGeom>
        </p:spPr>
        <p:txBody>
          <a:bodyPr vert="horz" lIns="0" tIns="0" rIns="0" bIns="0" rtlCol="0" anchor="t">
            <a:noAutofit/>
          </a:bodyPr>
          <a:lstStyle>
            <a:lvl1pPr marL="0" indent="0" algn="l" defTabSz="914400" rtl="0" eaLnBrk="1" latinLnBrk="0" hangingPunct="1">
              <a:lnSpc>
                <a:spcPct val="100000"/>
              </a:lnSpc>
              <a:spcBef>
                <a:spcPct val="0"/>
              </a:spcBef>
              <a:buFont typeface="Yanone Kaffeesatz" panose="00000500000000000000" pitchFamily="50" charset="0"/>
              <a:buNone/>
              <a:defRPr sz="4700" kern="1200" cap="all" baseline="0">
                <a:solidFill>
                  <a:schemeClr val="bg1"/>
                </a:solidFill>
                <a:latin typeface="Barlow Black" panose="00000A00000000000000" pitchFamily="2" charset="0"/>
                <a:ea typeface="+mj-ea"/>
                <a:cs typeface="+mj-cs"/>
              </a:defRPr>
            </a:lvl1pPr>
          </a:lstStyle>
          <a:p>
            <a:r>
              <a:rPr lang="de-DE" sz="1200" cap="none" baseline="0">
                <a:solidFill>
                  <a:schemeClr val="tx1"/>
                </a:solidFill>
                <a:latin typeface="+mn-lt"/>
              </a:rPr>
              <a:t>www.eqs.com</a:t>
            </a:r>
          </a:p>
        </p:txBody>
      </p:sp>
      <p:sp>
        <p:nvSpPr>
          <p:cNvPr id="3" name="Titel 2">
            <a:extLst>
              <a:ext uri="{FF2B5EF4-FFF2-40B4-BE49-F238E27FC236}">
                <a16:creationId xmlns:a16="http://schemas.microsoft.com/office/drawing/2014/main" id="{1793D331-ACA0-31E5-4452-A4AFF995CAD1}"/>
              </a:ext>
            </a:extLst>
          </p:cNvPr>
          <p:cNvSpPr>
            <a:spLocks noGrp="1"/>
          </p:cNvSpPr>
          <p:nvPr>
            <p:ph type="title" hasCustomPrompt="1"/>
          </p:nvPr>
        </p:nvSpPr>
        <p:spPr bwMode="gray">
          <a:xfrm>
            <a:off x="1092200" y="788400"/>
            <a:ext cx="6119924" cy="1224136"/>
          </a:xfrm>
        </p:spPr>
        <p:txBody>
          <a:bodyPr/>
          <a:lstStyle/>
          <a:p>
            <a:r>
              <a:rPr lang="de-DE"/>
              <a:t>Closing </a:t>
            </a:r>
            <a:br>
              <a:rPr lang="de-DE"/>
            </a:br>
            <a:r>
              <a:rPr lang="de-DE"/>
              <a:t>Words</a:t>
            </a:r>
          </a:p>
        </p:txBody>
      </p:sp>
      <p:sp>
        <p:nvSpPr>
          <p:cNvPr id="6" name="Textplatzhalter 8">
            <a:extLst>
              <a:ext uri="{FF2B5EF4-FFF2-40B4-BE49-F238E27FC236}">
                <a16:creationId xmlns:a16="http://schemas.microsoft.com/office/drawing/2014/main" id="{4B0F7301-64C3-C97D-9ABC-91CB555449C2}"/>
              </a:ext>
            </a:extLst>
          </p:cNvPr>
          <p:cNvSpPr>
            <a:spLocks noGrp="1"/>
          </p:cNvSpPr>
          <p:nvPr>
            <p:ph type="body" sz="quarter" idx="11" hasCustomPrompt="1"/>
          </p:nvPr>
        </p:nvSpPr>
        <p:spPr bwMode="gray">
          <a:xfrm>
            <a:off x="1091444" y="3933056"/>
            <a:ext cx="2124000" cy="1836204"/>
          </a:xfrm>
          <a:prstGeom prst="rect">
            <a:avLst/>
          </a:prstGeom>
        </p:spPr>
        <p:txBody>
          <a:bodyPr/>
          <a:lstStyle>
            <a:lvl1pPr>
              <a:lnSpc>
                <a:spcPct val="118000"/>
              </a:lnSpc>
              <a:spcBef>
                <a:spcPts val="0"/>
              </a:spcBef>
              <a:spcAft>
                <a:spcPts val="0"/>
              </a:spcAft>
              <a:defRPr sz="1200" b="1">
                <a:solidFill>
                  <a:schemeClr val="tx1"/>
                </a:solidFill>
                <a:latin typeface="+mn-lt"/>
              </a:defRPr>
            </a:lvl1pPr>
            <a:lvl2pPr>
              <a:lnSpc>
                <a:spcPct val="118000"/>
              </a:lnSpc>
              <a:spcBef>
                <a:spcPts val="0"/>
              </a:spcBef>
              <a:spcAft>
                <a:spcPts val="0"/>
              </a:spcAft>
              <a:defRPr sz="1200">
                <a:solidFill>
                  <a:schemeClr val="tx1"/>
                </a:solidFill>
              </a:defRPr>
            </a:lvl2pPr>
            <a:lvl3pPr marL="0" indent="0">
              <a:lnSpc>
                <a:spcPct val="118000"/>
              </a:lnSpc>
              <a:spcBef>
                <a:spcPts val="0"/>
              </a:spcBef>
              <a:spcAft>
                <a:spcPts val="0"/>
              </a:spcAft>
              <a:buNone/>
              <a:defRPr sz="1200">
                <a:solidFill>
                  <a:schemeClr val="tx1"/>
                </a:solidFill>
              </a:defRPr>
            </a:lvl3pPr>
            <a:lvl4pPr marL="0" indent="0">
              <a:lnSpc>
                <a:spcPct val="118000"/>
              </a:lnSpc>
              <a:spcBef>
                <a:spcPts val="0"/>
              </a:spcBef>
              <a:spcAft>
                <a:spcPts val="0"/>
              </a:spcAft>
              <a:buNone/>
              <a:defRPr sz="1200">
                <a:solidFill>
                  <a:schemeClr val="tx1"/>
                </a:solidFill>
              </a:defRPr>
            </a:lvl4pPr>
            <a:lvl5pPr marL="0" indent="0">
              <a:lnSpc>
                <a:spcPct val="118000"/>
              </a:lnSpc>
              <a:spcBef>
                <a:spcPts val="0"/>
              </a:spcBef>
              <a:spcAft>
                <a:spcPts val="0"/>
              </a:spcAft>
              <a:buNone/>
              <a:defRPr sz="1200">
                <a:solidFill>
                  <a:schemeClr val="accent1"/>
                </a:solidFill>
              </a:defRPr>
            </a:lvl5pPr>
            <a:lvl6pPr marL="0" indent="0">
              <a:lnSpc>
                <a:spcPct val="118000"/>
              </a:lnSpc>
              <a:spcBef>
                <a:spcPts val="0"/>
              </a:spcBef>
              <a:spcAft>
                <a:spcPts val="0"/>
              </a:spcAft>
              <a:buNone/>
              <a:defRPr sz="1200">
                <a:solidFill>
                  <a:schemeClr val="accent1"/>
                </a:solidFill>
              </a:defRPr>
            </a:lvl6pPr>
            <a:lvl7pPr marL="0" indent="0">
              <a:lnSpc>
                <a:spcPct val="118000"/>
              </a:lnSpc>
              <a:spcBef>
                <a:spcPts val="0"/>
              </a:spcBef>
              <a:spcAft>
                <a:spcPts val="0"/>
              </a:spcAft>
              <a:buFont typeface="Arial" panose="020B0604020202020204" pitchFamily="34" charset="0"/>
              <a:buNone/>
              <a:defRPr sz="1200">
                <a:solidFill>
                  <a:schemeClr val="accent1"/>
                </a:solidFill>
              </a:defRPr>
            </a:lvl7pPr>
            <a:lvl8pPr marL="0" indent="0">
              <a:lnSpc>
                <a:spcPct val="118000"/>
              </a:lnSpc>
              <a:spcBef>
                <a:spcPts val="0"/>
              </a:spcBef>
              <a:spcAft>
                <a:spcPts val="0"/>
              </a:spcAft>
              <a:buNone/>
              <a:defRPr sz="1200">
                <a:solidFill>
                  <a:schemeClr val="accent1"/>
                </a:solidFill>
              </a:defRPr>
            </a:lvl8pPr>
            <a:lvl9pPr marL="0" indent="0">
              <a:lnSpc>
                <a:spcPct val="118000"/>
              </a:lnSpc>
              <a:spcBef>
                <a:spcPts val="0"/>
              </a:spcBef>
              <a:spcAft>
                <a:spcPts val="0"/>
              </a:spcAft>
              <a:buNone/>
              <a:defRPr sz="1200">
                <a:solidFill>
                  <a:schemeClr val="accent1"/>
                </a:solidFill>
              </a:defRPr>
            </a:lvl9pPr>
          </a:lstStyle>
          <a:p>
            <a:pPr lvl="0"/>
            <a:r>
              <a:rPr lang="de-DE" noProof="0"/>
              <a:t>First name, Surname </a:t>
            </a:r>
          </a:p>
          <a:p>
            <a:pPr lvl="1"/>
            <a:r>
              <a:rPr lang="de-DE" noProof="0"/>
              <a:t>2. level</a:t>
            </a:r>
          </a:p>
          <a:p>
            <a:pPr lvl="2"/>
            <a:r>
              <a:rPr lang="de-DE" noProof="0"/>
              <a:t>3. level</a:t>
            </a:r>
          </a:p>
          <a:p>
            <a:pPr lvl="3"/>
            <a:r>
              <a:rPr lang="de-DE" noProof="0"/>
              <a:t>4. level</a:t>
            </a:r>
          </a:p>
        </p:txBody>
      </p:sp>
      <p:sp>
        <p:nvSpPr>
          <p:cNvPr id="7" name="Bildplatzhalter 5">
            <a:extLst>
              <a:ext uri="{FF2B5EF4-FFF2-40B4-BE49-F238E27FC236}">
                <a16:creationId xmlns:a16="http://schemas.microsoft.com/office/drawing/2014/main" id="{9611786E-4E97-4635-6374-F487FDE8B443}"/>
              </a:ext>
            </a:extLst>
          </p:cNvPr>
          <p:cNvSpPr>
            <a:spLocks noGrp="1"/>
          </p:cNvSpPr>
          <p:nvPr>
            <p:ph type="pic" sz="quarter" idx="13" hasCustomPrompt="1"/>
          </p:nvPr>
        </p:nvSpPr>
        <p:spPr bwMode="gray">
          <a:xfrm>
            <a:off x="1091444" y="2312876"/>
            <a:ext cx="1548172" cy="1404156"/>
          </a:xfrm>
          <a:prstGeom prst="roundRect">
            <a:avLst>
              <a:gd name="adj" fmla="val 7509"/>
            </a:avLst>
          </a:prstGeom>
          <a:solidFill>
            <a:schemeClr val="bg1">
              <a:lumMod val="95000"/>
            </a:schemeClr>
          </a:solidFill>
          <a:ln w="38100" cap="sq">
            <a:noFill/>
            <a:miter lim="800000"/>
          </a:ln>
        </p:spPr>
        <p:txBody>
          <a:bodyPr tIns="864000" anchor="ctr"/>
          <a:lstStyle>
            <a:lvl1pPr algn="ctr">
              <a:spcBef>
                <a:spcPts val="0"/>
              </a:spcBef>
              <a:spcAft>
                <a:spcPts val="0"/>
              </a:spcAft>
              <a:defRPr sz="1200"/>
            </a:lvl1pPr>
          </a:lstStyle>
          <a:p>
            <a:r>
              <a:rPr lang="de-DE" noProof="0"/>
              <a:t> </a:t>
            </a:r>
          </a:p>
        </p:txBody>
      </p:sp>
      <p:sp>
        <p:nvSpPr>
          <p:cNvPr id="13" name="Textplatzhalter 8">
            <a:extLst>
              <a:ext uri="{FF2B5EF4-FFF2-40B4-BE49-F238E27FC236}">
                <a16:creationId xmlns:a16="http://schemas.microsoft.com/office/drawing/2014/main" id="{3773FDFC-3272-D0DF-0C47-559E3B27B9BA}"/>
              </a:ext>
            </a:extLst>
          </p:cNvPr>
          <p:cNvSpPr>
            <a:spLocks noGrp="1"/>
          </p:cNvSpPr>
          <p:nvPr>
            <p:ph type="body" sz="quarter" idx="14" hasCustomPrompt="1"/>
          </p:nvPr>
        </p:nvSpPr>
        <p:spPr bwMode="gray">
          <a:xfrm>
            <a:off x="3683968" y="3933056"/>
            <a:ext cx="2124000" cy="1836204"/>
          </a:xfrm>
          <a:prstGeom prst="rect">
            <a:avLst/>
          </a:prstGeom>
        </p:spPr>
        <p:txBody>
          <a:bodyPr/>
          <a:lstStyle>
            <a:lvl1pPr>
              <a:lnSpc>
                <a:spcPct val="118000"/>
              </a:lnSpc>
              <a:spcBef>
                <a:spcPts val="0"/>
              </a:spcBef>
              <a:spcAft>
                <a:spcPts val="0"/>
              </a:spcAft>
              <a:defRPr sz="1200" b="1">
                <a:solidFill>
                  <a:schemeClr val="tx1"/>
                </a:solidFill>
                <a:latin typeface="+mn-lt"/>
              </a:defRPr>
            </a:lvl1pPr>
            <a:lvl2pPr>
              <a:lnSpc>
                <a:spcPct val="118000"/>
              </a:lnSpc>
              <a:spcBef>
                <a:spcPts val="0"/>
              </a:spcBef>
              <a:spcAft>
                <a:spcPts val="0"/>
              </a:spcAft>
              <a:defRPr sz="1200">
                <a:solidFill>
                  <a:schemeClr val="tx1"/>
                </a:solidFill>
              </a:defRPr>
            </a:lvl2pPr>
            <a:lvl3pPr marL="0" indent="0">
              <a:lnSpc>
                <a:spcPct val="118000"/>
              </a:lnSpc>
              <a:spcBef>
                <a:spcPts val="0"/>
              </a:spcBef>
              <a:spcAft>
                <a:spcPts val="0"/>
              </a:spcAft>
              <a:buNone/>
              <a:defRPr sz="1200">
                <a:solidFill>
                  <a:schemeClr val="tx1"/>
                </a:solidFill>
              </a:defRPr>
            </a:lvl3pPr>
            <a:lvl4pPr marL="0" indent="0">
              <a:lnSpc>
                <a:spcPct val="118000"/>
              </a:lnSpc>
              <a:spcBef>
                <a:spcPts val="0"/>
              </a:spcBef>
              <a:spcAft>
                <a:spcPts val="0"/>
              </a:spcAft>
              <a:buNone/>
              <a:defRPr sz="1200">
                <a:solidFill>
                  <a:schemeClr val="tx1"/>
                </a:solidFill>
              </a:defRPr>
            </a:lvl4pPr>
            <a:lvl5pPr marL="0" indent="0">
              <a:lnSpc>
                <a:spcPct val="118000"/>
              </a:lnSpc>
              <a:spcBef>
                <a:spcPts val="0"/>
              </a:spcBef>
              <a:spcAft>
                <a:spcPts val="0"/>
              </a:spcAft>
              <a:buNone/>
              <a:defRPr sz="1200">
                <a:solidFill>
                  <a:schemeClr val="accent1"/>
                </a:solidFill>
              </a:defRPr>
            </a:lvl5pPr>
            <a:lvl6pPr marL="0" indent="0">
              <a:lnSpc>
                <a:spcPct val="118000"/>
              </a:lnSpc>
              <a:spcBef>
                <a:spcPts val="0"/>
              </a:spcBef>
              <a:spcAft>
                <a:spcPts val="0"/>
              </a:spcAft>
              <a:buNone/>
              <a:defRPr sz="1200">
                <a:solidFill>
                  <a:schemeClr val="accent1"/>
                </a:solidFill>
              </a:defRPr>
            </a:lvl6pPr>
            <a:lvl7pPr marL="0" indent="0">
              <a:lnSpc>
                <a:spcPct val="118000"/>
              </a:lnSpc>
              <a:spcBef>
                <a:spcPts val="0"/>
              </a:spcBef>
              <a:spcAft>
                <a:spcPts val="0"/>
              </a:spcAft>
              <a:buFont typeface="Arial" panose="020B0604020202020204" pitchFamily="34" charset="0"/>
              <a:buNone/>
              <a:defRPr sz="1200">
                <a:solidFill>
                  <a:schemeClr val="accent1"/>
                </a:solidFill>
              </a:defRPr>
            </a:lvl7pPr>
            <a:lvl8pPr marL="0" indent="0">
              <a:lnSpc>
                <a:spcPct val="118000"/>
              </a:lnSpc>
              <a:spcBef>
                <a:spcPts val="0"/>
              </a:spcBef>
              <a:spcAft>
                <a:spcPts val="0"/>
              </a:spcAft>
              <a:buNone/>
              <a:defRPr sz="1200">
                <a:solidFill>
                  <a:schemeClr val="accent1"/>
                </a:solidFill>
              </a:defRPr>
            </a:lvl8pPr>
            <a:lvl9pPr marL="0" indent="0">
              <a:lnSpc>
                <a:spcPct val="118000"/>
              </a:lnSpc>
              <a:spcBef>
                <a:spcPts val="0"/>
              </a:spcBef>
              <a:spcAft>
                <a:spcPts val="0"/>
              </a:spcAft>
              <a:buNone/>
              <a:defRPr sz="1200">
                <a:solidFill>
                  <a:schemeClr val="accent1"/>
                </a:solidFill>
              </a:defRPr>
            </a:lvl9pPr>
          </a:lstStyle>
          <a:p>
            <a:pPr lvl="0"/>
            <a:r>
              <a:rPr lang="de-DE" noProof="0"/>
              <a:t>First name, Surname </a:t>
            </a:r>
          </a:p>
          <a:p>
            <a:pPr lvl="1"/>
            <a:r>
              <a:rPr lang="de-DE" noProof="0"/>
              <a:t>2. level</a:t>
            </a:r>
          </a:p>
          <a:p>
            <a:pPr lvl="2"/>
            <a:r>
              <a:rPr lang="de-DE" noProof="0"/>
              <a:t>3. level</a:t>
            </a:r>
          </a:p>
          <a:p>
            <a:pPr lvl="3"/>
            <a:r>
              <a:rPr lang="de-DE" noProof="0"/>
              <a:t>4. level</a:t>
            </a:r>
          </a:p>
        </p:txBody>
      </p:sp>
      <p:sp>
        <p:nvSpPr>
          <p:cNvPr id="15" name="Bildplatzhalter 5">
            <a:extLst>
              <a:ext uri="{FF2B5EF4-FFF2-40B4-BE49-F238E27FC236}">
                <a16:creationId xmlns:a16="http://schemas.microsoft.com/office/drawing/2014/main" id="{FF370F8E-DFC8-B6AE-80D9-030D3DB248DE}"/>
              </a:ext>
            </a:extLst>
          </p:cNvPr>
          <p:cNvSpPr>
            <a:spLocks noGrp="1"/>
          </p:cNvSpPr>
          <p:nvPr>
            <p:ph type="pic" sz="quarter" idx="15" hasCustomPrompt="1"/>
          </p:nvPr>
        </p:nvSpPr>
        <p:spPr bwMode="gray">
          <a:xfrm>
            <a:off x="3683968" y="2312876"/>
            <a:ext cx="1548172" cy="1404156"/>
          </a:xfrm>
          <a:prstGeom prst="roundRect">
            <a:avLst>
              <a:gd name="adj" fmla="val 7509"/>
            </a:avLst>
          </a:prstGeom>
          <a:solidFill>
            <a:schemeClr val="bg1">
              <a:lumMod val="95000"/>
            </a:schemeClr>
          </a:solidFill>
          <a:ln w="38100" cap="sq">
            <a:noFill/>
            <a:miter lim="800000"/>
          </a:ln>
        </p:spPr>
        <p:txBody>
          <a:bodyPr tIns="864000" anchor="ctr"/>
          <a:lstStyle>
            <a:lvl1pPr algn="ctr">
              <a:spcBef>
                <a:spcPts val="0"/>
              </a:spcBef>
              <a:spcAft>
                <a:spcPts val="0"/>
              </a:spcAft>
              <a:defRPr sz="1200"/>
            </a:lvl1pPr>
          </a:lstStyle>
          <a:p>
            <a:r>
              <a:rPr lang="de-DE" noProof="0"/>
              <a:t> </a:t>
            </a:r>
          </a:p>
        </p:txBody>
      </p:sp>
      <p:grpSp>
        <p:nvGrpSpPr>
          <p:cNvPr id="2" name="Group 4">
            <a:extLst>
              <a:ext uri="{FF2B5EF4-FFF2-40B4-BE49-F238E27FC236}">
                <a16:creationId xmlns:a16="http://schemas.microsoft.com/office/drawing/2014/main" id="{F8637296-DD63-C470-09DE-AF344ACEEBFD}"/>
              </a:ext>
            </a:extLst>
          </p:cNvPr>
          <p:cNvGrpSpPr>
            <a:grpSpLocks noChangeAspect="1"/>
          </p:cNvGrpSpPr>
          <p:nvPr userDrawn="1"/>
        </p:nvGrpSpPr>
        <p:grpSpPr bwMode="auto">
          <a:xfrm>
            <a:off x="9551988" y="5553075"/>
            <a:ext cx="1879600" cy="323850"/>
            <a:chOff x="6017" y="3498"/>
            <a:chExt cx="1184" cy="204"/>
          </a:xfrm>
        </p:grpSpPr>
        <p:sp>
          <p:nvSpPr>
            <p:cNvPr id="4" name="AutoShape 3">
              <a:extLst>
                <a:ext uri="{FF2B5EF4-FFF2-40B4-BE49-F238E27FC236}">
                  <a16:creationId xmlns:a16="http://schemas.microsoft.com/office/drawing/2014/main" id="{4E76BC71-A92E-89B9-5120-5F1E512FA00C}"/>
                </a:ext>
              </a:extLst>
            </p:cNvPr>
            <p:cNvSpPr>
              <a:spLocks noChangeAspect="1" noChangeArrowheads="1" noTextEdit="1"/>
            </p:cNvSpPr>
            <p:nvPr userDrawn="1"/>
          </p:nvSpPr>
          <p:spPr bwMode="auto">
            <a:xfrm>
              <a:off x="6017" y="3498"/>
              <a:ext cx="1184" cy="2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 name="Freeform 5">
              <a:extLst>
                <a:ext uri="{FF2B5EF4-FFF2-40B4-BE49-F238E27FC236}">
                  <a16:creationId xmlns:a16="http://schemas.microsoft.com/office/drawing/2014/main" id="{38A0A3FA-679E-477B-4D0C-5FA741C00FA7}"/>
                </a:ext>
              </a:extLst>
            </p:cNvPr>
            <p:cNvSpPr>
              <a:spLocks/>
            </p:cNvSpPr>
            <p:nvPr userDrawn="1"/>
          </p:nvSpPr>
          <p:spPr bwMode="auto">
            <a:xfrm>
              <a:off x="6015" y="3496"/>
              <a:ext cx="205" cy="208"/>
            </a:xfrm>
            <a:custGeom>
              <a:avLst/>
              <a:gdLst>
                <a:gd name="T0" fmla="*/ 18 w 105"/>
                <a:gd name="T1" fmla="*/ 0 h 104"/>
                <a:gd name="T2" fmla="*/ 0 w 105"/>
                <a:gd name="T3" fmla="*/ 18 h 104"/>
                <a:gd name="T4" fmla="*/ 0 w 105"/>
                <a:gd name="T5" fmla="*/ 86 h 104"/>
                <a:gd name="T6" fmla="*/ 18 w 105"/>
                <a:gd name="T7" fmla="*/ 104 h 104"/>
                <a:gd name="T8" fmla="*/ 87 w 105"/>
                <a:gd name="T9" fmla="*/ 104 h 104"/>
                <a:gd name="T10" fmla="*/ 105 w 105"/>
                <a:gd name="T11" fmla="*/ 86 h 104"/>
                <a:gd name="T12" fmla="*/ 105 w 105"/>
                <a:gd name="T13" fmla="*/ 18 h 104"/>
                <a:gd name="T14" fmla="*/ 87 w 105"/>
                <a:gd name="T15" fmla="*/ 0 h 104"/>
                <a:gd name="T16" fmla="*/ 18 w 105"/>
                <a:gd name="T17" fmla="*/ 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5" h="104">
                  <a:moveTo>
                    <a:pt x="18" y="0"/>
                  </a:moveTo>
                  <a:cubicBezTo>
                    <a:pt x="8" y="0"/>
                    <a:pt x="0" y="8"/>
                    <a:pt x="0" y="18"/>
                  </a:cubicBezTo>
                  <a:cubicBezTo>
                    <a:pt x="0" y="86"/>
                    <a:pt x="0" y="86"/>
                    <a:pt x="0" y="86"/>
                  </a:cubicBezTo>
                  <a:cubicBezTo>
                    <a:pt x="0" y="96"/>
                    <a:pt x="8" y="104"/>
                    <a:pt x="18" y="104"/>
                  </a:cubicBezTo>
                  <a:cubicBezTo>
                    <a:pt x="87" y="104"/>
                    <a:pt x="87" y="104"/>
                    <a:pt x="87" y="104"/>
                  </a:cubicBezTo>
                  <a:cubicBezTo>
                    <a:pt x="97" y="104"/>
                    <a:pt x="105" y="96"/>
                    <a:pt x="105" y="86"/>
                  </a:cubicBezTo>
                  <a:cubicBezTo>
                    <a:pt x="105" y="18"/>
                    <a:pt x="105" y="18"/>
                    <a:pt x="105" y="18"/>
                  </a:cubicBezTo>
                  <a:cubicBezTo>
                    <a:pt x="105" y="8"/>
                    <a:pt x="97" y="0"/>
                    <a:pt x="87" y="0"/>
                  </a:cubicBezTo>
                  <a:lnTo>
                    <a:pt x="18" y="0"/>
                  </a:lnTo>
                  <a:close/>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8" name="Freeform 6">
              <a:extLst>
                <a:ext uri="{FF2B5EF4-FFF2-40B4-BE49-F238E27FC236}">
                  <a16:creationId xmlns:a16="http://schemas.microsoft.com/office/drawing/2014/main" id="{89EFA882-1277-D7BA-8795-72B7ADD28BBB}"/>
                </a:ext>
              </a:extLst>
            </p:cNvPr>
            <p:cNvSpPr>
              <a:spLocks/>
            </p:cNvSpPr>
            <p:nvPr userDrawn="1"/>
          </p:nvSpPr>
          <p:spPr bwMode="auto">
            <a:xfrm>
              <a:off x="6046" y="3540"/>
              <a:ext cx="145" cy="120"/>
            </a:xfrm>
            <a:custGeom>
              <a:avLst/>
              <a:gdLst>
                <a:gd name="T0" fmla="*/ 0 w 74"/>
                <a:gd name="T1" fmla="*/ 53 h 60"/>
                <a:gd name="T2" fmla="*/ 23 w 74"/>
                <a:gd name="T3" fmla="*/ 60 h 60"/>
                <a:gd name="T4" fmla="*/ 66 w 74"/>
                <a:gd name="T5" fmla="*/ 17 h 60"/>
                <a:gd name="T6" fmla="*/ 66 w 74"/>
                <a:gd name="T7" fmla="*/ 15 h 60"/>
                <a:gd name="T8" fmla="*/ 74 w 74"/>
                <a:gd name="T9" fmla="*/ 7 h 60"/>
                <a:gd name="T10" fmla="*/ 65 w 74"/>
                <a:gd name="T11" fmla="*/ 10 h 60"/>
                <a:gd name="T12" fmla="*/ 71 w 74"/>
                <a:gd name="T13" fmla="*/ 1 h 60"/>
                <a:gd name="T14" fmla="*/ 62 w 74"/>
                <a:gd name="T15" fmla="*/ 5 h 60"/>
                <a:gd name="T16" fmla="*/ 51 w 74"/>
                <a:gd name="T17" fmla="*/ 0 h 60"/>
                <a:gd name="T18" fmla="*/ 36 w 74"/>
                <a:gd name="T19" fmla="*/ 15 h 60"/>
                <a:gd name="T20" fmla="*/ 36 w 74"/>
                <a:gd name="T21" fmla="*/ 19 h 60"/>
                <a:gd name="T22" fmla="*/ 5 w 74"/>
                <a:gd name="T23" fmla="*/ 3 h 60"/>
                <a:gd name="T24" fmla="*/ 3 w 74"/>
                <a:gd name="T25" fmla="*/ 10 h 60"/>
                <a:gd name="T26" fmla="*/ 10 w 74"/>
                <a:gd name="T27" fmla="*/ 23 h 60"/>
                <a:gd name="T28" fmla="*/ 3 w 74"/>
                <a:gd name="T29" fmla="*/ 21 h 60"/>
                <a:gd name="T30" fmla="*/ 3 w 74"/>
                <a:gd name="T31" fmla="*/ 21 h 60"/>
                <a:gd name="T32" fmla="*/ 15 w 74"/>
                <a:gd name="T33" fmla="*/ 36 h 60"/>
                <a:gd name="T34" fmla="*/ 11 w 74"/>
                <a:gd name="T35" fmla="*/ 37 h 60"/>
                <a:gd name="T36" fmla="*/ 8 w 74"/>
                <a:gd name="T37" fmla="*/ 36 h 60"/>
                <a:gd name="T38" fmla="*/ 22 w 74"/>
                <a:gd name="T39" fmla="*/ 47 h 60"/>
                <a:gd name="T40" fmla="*/ 4 w 74"/>
                <a:gd name="T41" fmla="*/ 53 h 60"/>
                <a:gd name="T42" fmla="*/ 0 w 74"/>
                <a:gd name="T43" fmla="*/ 53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74" h="60">
                  <a:moveTo>
                    <a:pt x="0" y="53"/>
                  </a:moveTo>
                  <a:cubicBezTo>
                    <a:pt x="7" y="57"/>
                    <a:pt x="15" y="60"/>
                    <a:pt x="23" y="60"/>
                  </a:cubicBezTo>
                  <a:cubicBezTo>
                    <a:pt x="51" y="60"/>
                    <a:pt x="66" y="37"/>
                    <a:pt x="66" y="17"/>
                  </a:cubicBezTo>
                  <a:cubicBezTo>
                    <a:pt x="66" y="16"/>
                    <a:pt x="66" y="16"/>
                    <a:pt x="66" y="15"/>
                  </a:cubicBezTo>
                  <a:cubicBezTo>
                    <a:pt x="69" y="13"/>
                    <a:pt x="71" y="10"/>
                    <a:pt x="74" y="7"/>
                  </a:cubicBezTo>
                  <a:cubicBezTo>
                    <a:pt x="71" y="8"/>
                    <a:pt x="68" y="9"/>
                    <a:pt x="65" y="10"/>
                  </a:cubicBezTo>
                  <a:cubicBezTo>
                    <a:pt x="68" y="8"/>
                    <a:pt x="70" y="5"/>
                    <a:pt x="71" y="1"/>
                  </a:cubicBezTo>
                  <a:cubicBezTo>
                    <a:pt x="69" y="3"/>
                    <a:pt x="65" y="4"/>
                    <a:pt x="62" y="5"/>
                  </a:cubicBezTo>
                  <a:cubicBezTo>
                    <a:pt x="59" y="2"/>
                    <a:pt x="55" y="0"/>
                    <a:pt x="51" y="0"/>
                  </a:cubicBezTo>
                  <a:cubicBezTo>
                    <a:pt x="43" y="0"/>
                    <a:pt x="36" y="7"/>
                    <a:pt x="36" y="15"/>
                  </a:cubicBezTo>
                  <a:cubicBezTo>
                    <a:pt x="36" y="16"/>
                    <a:pt x="36" y="17"/>
                    <a:pt x="36" y="19"/>
                  </a:cubicBezTo>
                  <a:cubicBezTo>
                    <a:pt x="24" y="18"/>
                    <a:pt x="13" y="12"/>
                    <a:pt x="5" y="3"/>
                  </a:cubicBezTo>
                  <a:cubicBezTo>
                    <a:pt x="4" y="5"/>
                    <a:pt x="3" y="8"/>
                    <a:pt x="3" y="10"/>
                  </a:cubicBezTo>
                  <a:cubicBezTo>
                    <a:pt x="3" y="16"/>
                    <a:pt x="6" y="20"/>
                    <a:pt x="10" y="23"/>
                  </a:cubicBezTo>
                  <a:cubicBezTo>
                    <a:pt x="7" y="23"/>
                    <a:pt x="5" y="22"/>
                    <a:pt x="3" y="21"/>
                  </a:cubicBezTo>
                  <a:cubicBezTo>
                    <a:pt x="3" y="21"/>
                    <a:pt x="3" y="21"/>
                    <a:pt x="3" y="21"/>
                  </a:cubicBezTo>
                  <a:cubicBezTo>
                    <a:pt x="3" y="29"/>
                    <a:pt x="8" y="35"/>
                    <a:pt x="15" y="36"/>
                  </a:cubicBezTo>
                  <a:cubicBezTo>
                    <a:pt x="14" y="36"/>
                    <a:pt x="13" y="37"/>
                    <a:pt x="11" y="37"/>
                  </a:cubicBezTo>
                  <a:cubicBezTo>
                    <a:pt x="10" y="37"/>
                    <a:pt x="9" y="36"/>
                    <a:pt x="8" y="36"/>
                  </a:cubicBezTo>
                  <a:cubicBezTo>
                    <a:pt x="10" y="42"/>
                    <a:pt x="16" y="47"/>
                    <a:pt x="22" y="47"/>
                  </a:cubicBezTo>
                  <a:cubicBezTo>
                    <a:pt x="17" y="51"/>
                    <a:pt x="11" y="53"/>
                    <a:pt x="4" y="53"/>
                  </a:cubicBezTo>
                  <a:cubicBezTo>
                    <a:pt x="2" y="53"/>
                    <a:pt x="1" y="53"/>
                    <a:pt x="0" y="53"/>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9" name="Freeform 7">
              <a:extLst>
                <a:ext uri="{FF2B5EF4-FFF2-40B4-BE49-F238E27FC236}">
                  <a16:creationId xmlns:a16="http://schemas.microsoft.com/office/drawing/2014/main" id="{7423F318-25CF-3C2D-23B5-B3EC1D111CB9}"/>
                </a:ext>
              </a:extLst>
            </p:cNvPr>
            <p:cNvSpPr>
              <a:spLocks/>
            </p:cNvSpPr>
            <p:nvPr userDrawn="1"/>
          </p:nvSpPr>
          <p:spPr bwMode="auto">
            <a:xfrm>
              <a:off x="6261" y="3496"/>
              <a:ext cx="205" cy="208"/>
            </a:xfrm>
            <a:custGeom>
              <a:avLst/>
              <a:gdLst>
                <a:gd name="T0" fmla="*/ 18 w 105"/>
                <a:gd name="T1" fmla="*/ 0 h 104"/>
                <a:gd name="T2" fmla="*/ 0 w 105"/>
                <a:gd name="T3" fmla="*/ 18 h 104"/>
                <a:gd name="T4" fmla="*/ 0 w 105"/>
                <a:gd name="T5" fmla="*/ 86 h 104"/>
                <a:gd name="T6" fmla="*/ 18 w 105"/>
                <a:gd name="T7" fmla="*/ 104 h 104"/>
                <a:gd name="T8" fmla="*/ 87 w 105"/>
                <a:gd name="T9" fmla="*/ 104 h 104"/>
                <a:gd name="T10" fmla="*/ 105 w 105"/>
                <a:gd name="T11" fmla="*/ 86 h 104"/>
                <a:gd name="T12" fmla="*/ 105 w 105"/>
                <a:gd name="T13" fmla="*/ 18 h 104"/>
                <a:gd name="T14" fmla="*/ 87 w 105"/>
                <a:gd name="T15" fmla="*/ 0 h 104"/>
                <a:gd name="T16" fmla="*/ 18 w 105"/>
                <a:gd name="T17" fmla="*/ 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5" h="104">
                  <a:moveTo>
                    <a:pt x="18" y="0"/>
                  </a:moveTo>
                  <a:cubicBezTo>
                    <a:pt x="8" y="0"/>
                    <a:pt x="0" y="8"/>
                    <a:pt x="0" y="18"/>
                  </a:cubicBezTo>
                  <a:cubicBezTo>
                    <a:pt x="0" y="86"/>
                    <a:pt x="0" y="86"/>
                    <a:pt x="0" y="86"/>
                  </a:cubicBezTo>
                  <a:cubicBezTo>
                    <a:pt x="0" y="96"/>
                    <a:pt x="8" y="104"/>
                    <a:pt x="18" y="104"/>
                  </a:cubicBezTo>
                  <a:cubicBezTo>
                    <a:pt x="87" y="104"/>
                    <a:pt x="87" y="104"/>
                    <a:pt x="87" y="104"/>
                  </a:cubicBezTo>
                  <a:cubicBezTo>
                    <a:pt x="97" y="104"/>
                    <a:pt x="105" y="96"/>
                    <a:pt x="105" y="86"/>
                  </a:cubicBezTo>
                  <a:cubicBezTo>
                    <a:pt x="105" y="18"/>
                    <a:pt x="105" y="18"/>
                    <a:pt x="105" y="18"/>
                  </a:cubicBezTo>
                  <a:cubicBezTo>
                    <a:pt x="105" y="8"/>
                    <a:pt x="97" y="0"/>
                    <a:pt x="87" y="0"/>
                  </a:cubicBezTo>
                  <a:lnTo>
                    <a:pt x="18" y="0"/>
                  </a:lnTo>
                  <a:close/>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0" name="Freeform 8">
              <a:extLst>
                <a:ext uri="{FF2B5EF4-FFF2-40B4-BE49-F238E27FC236}">
                  <a16:creationId xmlns:a16="http://schemas.microsoft.com/office/drawing/2014/main" id="{21D8B70A-63DE-FBC6-2B1A-4E6F71CEB638}"/>
                </a:ext>
              </a:extLst>
            </p:cNvPr>
            <p:cNvSpPr>
              <a:spLocks noEditPoints="1"/>
            </p:cNvSpPr>
            <p:nvPr userDrawn="1"/>
          </p:nvSpPr>
          <p:spPr bwMode="auto">
            <a:xfrm>
              <a:off x="6292" y="3548"/>
              <a:ext cx="143" cy="104"/>
            </a:xfrm>
            <a:custGeom>
              <a:avLst/>
              <a:gdLst>
                <a:gd name="T0" fmla="*/ 29 w 73"/>
                <a:gd name="T1" fmla="*/ 37 h 52"/>
                <a:gd name="T2" fmla="*/ 29 w 73"/>
                <a:gd name="T3" fmla="*/ 15 h 52"/>
                <a:gd name="T4" fmla="*/ 48 w 73"/>
                <a:gd name="T5" fmla="*/ 26 h 52"/>
                <a:gd name="T6" fmla="*/ 29 w 73"/>
                <a:gd name="T7" fmla="*/ 37 h 52"/>
                <a:gd name="T8" fmla="*/ 65 w 73"/>
                <a:gd name="T9" fmla="*/ 2 h 52"/>
                <a:gd name="T10" fmla="*/ 36 w 73"/>
                <a:gd name="T11" fmla="*/ 0 h 52"/>
                <a:gd name="T12" fmla="*/ 8 w 73"/>
                <a:gd name="T13" fmla="*/ 2 h 52"/>
                <a:gd name="T14" fmla="*/ 1 w 73"/>
                <a:gd name="T15" fmla="*/ 8 h 52"/>
                <a:gd name="T16" fmla="*/ 0 w 73"/>
                <a:gd name="T17" fmla="*/ 26 h 52"/>
                <a:gd name="T18" fmla="*/ 1 w 73"/>
                <a:gd name="T19" fmla="*/ 44 h 52"/>
                <a:gd name="T20" fmla="*/ 8 w 73"/>
                <a:gd name="T21" fmla="*/ 50 h 52"/>
                <a:gd name="T22" fmla="*/ 36 w 73"/>
                <a:gd name="T23" fmla="*/ 52 h 52"/>
                <a:gd name="T24" fmla="*/ 65 w 73"/>
                <a:gd name="T25" fmla="*/ 50 h 52"/>
                <a:gd name="T26" fmla="*/ 72 w 73"/>
                <a:gd name="T27" fmla="*/ 44 h 52"/>
                <a:gd name="T28" fmla="*/ 73 w 73"/>
                <a:gd name="T29" fmla="*/ 26 h 52"/>
                <a:gd name="T30" fmla="*/ 72 w 73"/>
                <a:gd name="T31" fmla="*/ 8 h 52"/>
                <a:gd name="T32" fmla="*/ 65 w 73"/>
                <a:gd name="T33" fmla="*/ 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3" h="52">
                  <a:moveTo>
                    <a:pt x="29" y="37"/>
                  </a:moveTo>
                  <a:cubicBezTo>
                    <a:pt x="29" y="15"/>
                    <a:pt x="29" y="15"/>
                    <a:pt x="29" y="15"/>
                  </a:cubicBezTo>
                  <a:cubicBezTo>
                    <a:pt x="48" y="26"/>
                    <a:pt x="48" y="26"/>
                    <a:pt x="48" y="26"/>
                  </a:cubicBezTo>
                  <a:lnTo>
                    <a:pt x="29" y="37"/>
                  </a:lnTo>
                  <a:close/>
                  <a:moveTo>
                    <a:pt x="65" y="2"/>
                  </a:moveTo>
                  <a:cubicBezTo>
                    <a:pt x="59" y="0"/>
                    <a:pt x="36" y="0"/>
                    <a:pt x="36" y="0"/>
                  </a:cubicBezTo>
                  <a:cubicBezTo>
                    <a:pt x="36" y="0"/>
                    <a:pt x="13" y="0"/>
                    <a:pt x="8" y="2"/>
                  </a:cubicBezTo>
                  <a:cubicBezTo>
                    <a:pt x="5" y="3"/>
                    <a:pt x="2" y="5"/>
                    <a:pt x="1" y="8"/>
                  </a:cubicBezTo>
                  <a:cubicBezTo>
                    <a:pt x="0" y="14"/>
                    <a:pt x="0" y="26"/>
                    <a:pt x="0" y="26"/>
                  </a:cubicBezTo>
                  <a:cubicBezTo>
                    <a:pt x="0" y="26"/>
                    <a:pt x="0" y="38"/>
                    <a:pt x="1" y="44"/>
                  </a:cubicBezTo>
                  <a:cubicBezTo>
                    <a:pt x="2" y="47"/>
                    <a:pt x="5" y="49"/>
                    <a:pt x="8" y="50"/>
                  </a:cubicBezTo>
                  <a:cubicBezTo>
                    <a:pt x="13" y="52"/>
                    <a:pt x="36" y="52"/>
                    <a:pt x="36" y="52"/>
                  </a:cubicBezTo>
                  <a:cubicBezTo>
                    <a:pt x="36" y="52"/>
                    <a:pt x="59" y="52"/>
                    <a:pt x="65" y="50"/>
                  </a:cubicBezTo>
                  <a:cubicBezTo>
                    <a:pt x="68" y="49"/>
                    <a:pt x="71" y="47"/>
                    <a:pt x="72" y="44"/>
                  </a:cubicBezTo>
                  <a:cubicBezTo>
                    <a:pt x="73" y="38"/>
                    <a:pt x="73" y="26"/>
                    <a:pt x="73" y="26"/>
                  </a:cubicBezTo>
                  <a:cubicBezTo>
                    <a:pt x="73" y="26"/>
                    <a:pt x="73" y="14"/>
                    <a:pt x="72" y="8"/>
                  </a:cubicBezTo>
                  <a:cubicBezTo>
                    <a:pt x="71" y="5"/>
                    <a:pt x="68" y="3"/>
                    <a:pt x="65" y="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4" name="Freeform 9">
              <a:extLst>
                <a:ext uri="{FF2B5EF4-FFF2-40B4-BE49-F238E27FC236}">
                  <a16:creationId xmlns:a16="http://schemas.microsoft.com/office/drawing/2014/main" id="{6D0AF921-7D42-BDE9-7089-2735B66F0424}"/>
                </a:ext>
              </a:extLst>
            </p:cNvPr>
            <p:cNvSpPr>
              <a:spLocks/>
            </p:cNvSpPr>
            <p:nvPr userDrawn="1"/>
          </p:nvSpPr>
          <p:spPr bwMode="auto">
            <a:xfrm>
              <a:off x="6507" y="3496"/>
              <a:ext cx="204" cy="208"/>
            </a:xfrm>
            <a:custGeom>
              <a:avLst/>
              <a:gdLst>
                <a:gd name="T0" fmla="*/ 18 w 104"/>
                <a:gd name="T1" fmla="*/ 0 h 104"/>
                <a:gd name="T2" fmla="*/ 0 w 104"/>
                <a:gd name="T3" fmla="*/ 18 h 104"/>
                <a:gd name="T4" fmla="*/ 0 w 104"/>
                <a:gd name="T5" fmla="*/ 86 h 104"/>
                <a:gd name="T6" fmla="*/ 18 w 104"/>
                <a:gd name="T7" fmla="*/ 104 h 104"/>
                <a:gd name="T8" fmla="*/ 86 w 104"/>
                <a:gd name="T9" fmla="*/ 104 h 104"/>
                <a:gd name="T10" fmla="*/ 104 w 104"/>
                <a:gd name="T11" fmla="*/ 86 h 104"/>
                <a:gd name="T12" fmla="*/ 104 w 104"/>
                <a:gd name="T13" fmla="*/ 18 h 104"/>
                <a:gd name="T14" fmla="*/ 86 w 104"/>
                <a:gd name="T15" fmla="*/ 0 h 104"/>
                <a:gd name="T16" fmla="*/ 18 w 104"/>
                <a:gd name="T17" fmla="*/ 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4" h="104">
                  <a:moveTo>
                    <a:pt x="18" y="0"/>
                  </a:moveTo>
                  <a:cubicBezTo>
                    <a:pt x="8" y="0"/>
                    <a:pt x="0" y="8"/>
                    <a:pt x="0" y="18"/>
                  </a:cubicBezTo>
                  <a:cubicBezTo>
                    <a:pt x="0" y="86"/>
                    <a:pt x="0" y="86"/>
                    <a:pt x="0" y="86"/>
                  </a:cubicBezTo>
                  <a:cubicBezTo>
                    <a:pt x="0" y="96"/>
                    <a:pt x="8" y="104"/>
                    <a:pt x="18" y="104"/>
                  </a:cubicBezTo>
                  <a:cubicBezTo>
                    <a:pt x="86" y="104"/>
                    <a:pt x="86" y="104"/>
                    <a:pt x="86" y="104"/>
                  </a:cubicBezTo>
                  <a:cubicBezTo>
                    <a:pt x="96" y="104"/>
                    <a:pt x="104" y="96"/>
                    <a:pt x="104" y="86"/>
                  </a:cubicBezTo>
                  <a:cubicBezTo>
                    <a:pt x="104" y="18"/>
                    <a:pt x="104" y="18"/>
                    <a:pt x="104" y="18"/>
                  </a:cubicBezTo>
                  <a:cubicBezTo>
                    <a:pt x="104" y="8"/>
                    <a:pt x="96" y="0"/>
                    <a:pt x="86" y="0"/>
                  </a:cubicBezTo>
                  <a:lnTo>
                    <a:pt x="18" y="0"/>
                  </a:lnTo>
                  <a:close/>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6" name="Freeform 10">
              <a:extLst>
                <a:ext uri="{FF2B5EF4-FFF2-40B4-BE49-F238E27FC236}">
                  <a16:creationId xmlns:a16="http://schemas.microsoft.com/office/drawing/2014/main" id="{A0D83BE7-9448-DFB5-6389-B80ADF161DEF}"/>
                </a:ext>
              </a:extLst>
            </p:cNvPr>
            <p:cNvSpPr>
              <a:spLocks/>
            </p:cNvSpPr>
            <p:nvPr userDrawn="1"/>
          </p:nvSpPr>
          <p:spPr bwMode="auto">
            <a:xfrm>
              <a:off x="6597" y="3522"/>
              <a:ext cx="96" cy="182"/>
            </a:xfrm>
            <a:custGeom>
              <a:avLst/>
              <a:gdLst>
                <a:gd name="T0" fmla="*/ 14 w 49"/>
                <a:gd name="T1" fmla="*/ 23 h 91"/>
                <a:gd name="T2" fmla="*/ 14 w 49"/>
                <a:gd name="T3" fmla="*/ 36 h 91"/>
                <a:gd name="T4" fmla="*/ 0 w 49"/>
                <a:gd name="T5" fmla="*/ 36 h 91"/>
                <a:gd name="T6" fmla="*/ 0 w 49"/>
                <a:gd name="T7" fmla="*/ 53 h 91"/>
                <a:gd name="T8" fmla="*/ 14 w 49"/>
                <a:gd name="T9" fmla="*/ 53 h 91"/>
                <a:gd name="T10" fmla="*/ 14 w 49"/>
                <a:gd name="T11" fmla="*/ 91 h 91"/>
                <a:gd name="T12" fmla="*/ 33 w 49"/>
                <a:gd name="T13" fmla="*/ 91 h 91"/>
                <a:gd name="T14" fmla="*/ 33 w 49"/>
                <a:gd name="T15" fmla="*/ 53 h 91"/>
                <a:gd name="T16" fmla="*/ 46 w 49"/>
                <a:gd name="T17" fmla="*/ 53 h 91"/>
                <a:gd name="T18" fmla="*/ 49 w 49"/>
                <a:gd name="T19" fmla="*/ 36 h 91"/>
                <a:gd name="T20" fmla="*/ 33 w 49"/>
                <a:gd name="T21" fmla="*/ 36 h 91"/>
                <a:gd name="T22" fmla="*/ 33 w 49"/>
                <a:gd name="T23" fmla="*/ 25 h 91"/>
                <a:gd name="T24" fmla="*/ 42 w 49"/>
                <a:gd name="T25" fmla="*/ 16 h 91"/>
                <a:gd name="T26" fmla="*/ 49 w 49"/>
                <a:gd name="T27" fmla="*/ 16 h 91"/>
                <a:gd name="T28" fmla="*/ 49 w 49"/>
                <a:gd name="T29" fmla="*/ 1 h 91"/>
                <a:gd name="T30" fmla="*/ 36 w 49"/>
                <a:gd name="T31" fmla="*/ 0 h 91"/>
                <a:gd name="T32" fmla="*/ 14 w 49"/>
                <a:gd name="T33" fmla="*/ 23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9" h="91">
                  <a:moveTo>
                    <a:pt x="14" y="23"/>
                  </a:moveTo>
                  <a:cubicBezTo>
                    <a:pt x="14" y="36"/>
                    <a:pt x="14" y="36"/>
                    <a:pt x="14" y="36"/>
                  </a:cubicBezTo>
                  <a:cubicBezTo>
                    <a:pt x="0" y="36"/>
                    <a:pt x="0" y="36"/>
                    <a:pt x="0" y="36"/>
                  </a:cubicBezTo>
                  <a:cubicBezTo>
                    <a:pt x="0" y="53"/>
                    <a:pt x="0" y="53"/>
                    <a:pt x="0" y="53"/>
                  </a:cubicBezTo>
                  <a:cubicBezTo>
                    <a:pt x="14" y="53"/>
                    <a:pt x="14" y="53"/>
                    <a:pt x="14" y="53"/>
                  </a:cubicBezTo>
                  <a:cubicBezTo>
                    <a:pt x="14" y="91"/>
                    <a:pt x="14" y="91"/>
                    <a:pt x="14" y="91"/>
                  </a:cubicBezTo>
                  <a:cubicBezTo>
                    <a:pt x="33" y="91"/>
                    <a:pt x="33" y="91"/>
                    <a:pt x="33" y="91"/>
                  </a:cubicBezTo>
                  <a:cubicBezTo>
                    <a:pt x="33" y="53"/>
                    <a:pt x="33" y="53"/>
                    <a:pt x="33" y="53"/>
                  </a:cubicBezTo>
                  <a:cubicBezTo>
                    <a:pt x="46" y="53"/>
                    <a:pt x="46" y="53"/>
                    <a:pt x="46" y="53"/>
                  </a:cubicBezTo>
                  <a:cubicBezTo>
                    <a:pt x="49" y="36"/>
                    <a:pt x="49" y="36"/>
                    <a:pt x="49" y="36"/>
                  </a:cubicBezTo>
                  <a:cubicBezTo>
                    <a:pt x="33" y="36"/>
                    <a:pt x="33" y="36"/>
                    <a:pt x="33" y="36"/>
                  </a:cubicBezTo>
                  <a:cubicBezTo>
                    <a:pt x="33" y="25"/>
                    <a:pt x="33" y="25"/>
                    <a:pt x="33" y="25"/>
                  </a:cubicBezTo>
                  <a:cubicBezTo>
                    <a:pt x="33" y="20"/>
                    <a:pt x="35" y="16"/>
                    <a:pt x="42" y="16"/>
                  </a:cubicBezTo>
                  <a:cubicBezTo>
                    <a:pt x="49" y="16"/>
                    <a:pt x="49" y="16"/>
                    <a:pt x="49" y="16"/>
                  </a:cubicBezTo>
                  <a:cubicBezTo>
                    <a:pt x="49" y="1"/>
                    <a:pt x="49" y="1"/>
                    <a:pt x="49" y="1"/>
                  </a:cubicBezTo>
                  <a:cubicBezTo>
                    <a:pt x="49" y="1"/>
                    <a:pt x="43" y="0"/>
                    <a:pt x="36" y="0"/>
                  </a:cubicBezTo>
                  <a:cubicBezTo>
                    <a:pt x="23" y="0"/>
                    <a:pt x="14" y="8"/>
                    <a:pt x="14" y="23"/>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8" name="Freeform 11">
              <a:extLst>
                <a:ext uri="{FF2B5EF4-FFF2-40B4-BE49-F238E27FC236}">
                  <a16:creationId xmlns:a16="http://schemas.microsoft.com/office/drawing/2014/main" id="{0DBF562C-FF94-A4A6-532D-C6566CD87828}"/>
                </a:ext>
              </a:extLst>
            </p:cNvPr>
            <p:cNvSpPr>
              <a:spLocks/>
            </p:cNvSpPr>
            <p:nvPr userDrawn="1"/>
          </p:nvSpPr>
          <p:spPr bwMode="auto">
            <a:xfrm>
              <a:off x="6998" y="3496"/>
              <a:ext cx="205" cy="208"/>
            </a:xfrm>
            <a:custGeom>
              <a:avLst/>
              <a:gdLst>
                <a:gd name="T0" fmla="*/ 18 w 105"/>
                <a:gd name="T1" fmla="*/ 0 h 104"/>
                <a:gd name="T2" fmla="*/ 0 w 105"/>
                <a:gd name="T3" fmla="*/ 18 h 104"/>
                <a:gd name="T4" fmla="*/ 0 w 105"/>
                <a:gd name="T5" fmla="*/ 86 h 104"/>
                <a:gd name="T6" fmla="*/ 18 w 105"/>
                <a:gd name="T7" fmla="*/ 104 h 104"/>
                <a:gd name="T8" fmla="*/ 87 w 105"/>
                <a:gd name="T9" fmla="*/ 104 h 104"/>
                <a:gd name="T10" fmla="*/ 105 w 105"/>
                <a:gd name="T11" fmla="*/ 86 h 104"/>
                <a:gd name="T12" fmla="*/ 105 w 105"/>
                <a:gd name="T13" fmla="*/ 18 h 104"/>
                <a:gd name="T14" fmla="*/ 87 w 105"/>
                <a:gd name="T15" fmla="*/ 0 h 104"/>
                <a:gd name="T16" fmla="*/ 18 w 105"/>
                <a:gd name="T17" fmla="*/ 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5" h="104">
                  <a:moveTo>
                    <a:pt x="18" y="0"/>
                  </a:moveTo>
                  <a:cubicBezTo>
                    <a:pt x="8" y="0"/>
                    <a:pt x="0" y="8"/>
                    <a:pt x="0" y="18"/>
                  </a:cubicBezTo>
                  <a:cubicBezTo>
                    <a:pt x="0" y="86"/>
                    <a:pt x="0" y="86"/>
                    <a:pt x="0" y="86"/>
                  </a:cubicBezTo>
                  <a:cubicBezTo>
                    <a:pt x="0" y="96"/>
                    <a:pt x="8" y="104"/>
                    <a:pt x="18" y="104"/>
                  </a:cubicBezTo>
                  <a:cubicBezTo>
                    <a:pt x="87" y="104"/>
                    <a:pt x="87" y="104"/>
                    <a:pt x="87" y="104"/>
                  </a:cubicBezTo>
                  <a:cubicBezTo>
                    <a:pt x="97" y="104"/>
                    <a:pt x="105" y="96"/>
                    <a:pt x="105" y="86"/>
                  </a:cubicBezTo>
                  <a:cubicBezTo>
                    <a:pt x="105" y="18"/>
                    <a:pt x="105" y="18"/>
                    <a:pt x="105" y="18"/>
                  </a:cubicBezTo>
                  <a:cubicBezTo>
                    <a:pt x="105" y="8"/>
                    <a:pt x="97" y="0"/>
                    <a:pt x="87" y="0"/>
                  </a:cubicBezTo>
                  <a:lnTo>
                    <a:pt x="18" y="0"/>
                  </a:lnTo>
                  <a:close/>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9" name="Rectangle 12">
              <a:extLst>
                <a:ext uri="{FF2B5EF4-FFF2-40B4-BE49-F238E27FC236}">
                  <a16:creationId xmlns:a16="http://schemas.microsoft.com/office/drawing/2014/main" id="{5DE67C45-6B18-020E-79A9-31B78DC03ACF}"/>
                </a:ext>
              </a:extLst>
            </p:cNvPr>
            <p:cNvSpPr>
              <a:spLocks noChangeArrowheads="1"/>
            </p:cNvSpPr>
            <p:nvPr userDrawn="1"/>
          </p:nvSpPr>
          <p:spPr bwMode="auto">
            <a:xfrm>
              <a:off x="7033" y="3576"/>
              <a:ext cx="29" cy="9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0" name="Freeform 13">
              <a:extLst>
                <a:ext uri="{FF2B5EF4-FFF2-40B4-BE49-F238E27FC236}">
                  <a16:creationId xmlns:a16="http://schemas.microsoft.com/office/drawing/2014/main" id="{DE1D13CC-E1AB-9CDF-8A75-121579D604A4}"/>
                </a:ext>
              </a:extLst>
            </p:cNvPr>
            <p:cNvSpPr>
              <a:spLocks/>
            </p:cNvSpPr>
            <p:nvPr userDrawn="1"/>
          </p:nvSpPr>
          <p:spPr bwMode="auto">
            <a:xfrm>
              <a:off x="7078" y="3574"/>
              <a:ext cx="92" cy="94"/>
            </a:xfrm>
            <a:custGeom>
              <a:avLst/>
              <a:gdLst>
                <a:gd name="T0" fmla="*/ 29 w 47"/>
                <a:gd name="T1" fmla="*/ 0 h 47"/>
                <a:gd name="T2" fmla="*/ 16 w 47"/>
                <a:gd name="T3" fmla="*/ 8 h 47"/>
                <a:gd name="T4" fmla="*/ 16 w 47"/>
                <a:gd name="T5" fmla="*/ 1 h 47"/>
                <a:gd name="T6" fmla="*/ 0 w 47"/>
                <a:gd name="T7" fmla="*/ 1 h 47"/>
                <a:gd name="T8" fmla="*/ 0 w 47"/>
                <a:gd name="T9" fmla="*/ 47 h 47"/>
                <a:gd name="T10" fmla="*/ 16 w 47"/>
                <a:gd name="T11" fmla="*/ 47 h 47"/>
                <a:gd name="T12" fmla="*/ 16 w 47"/>
                <a:gd name="T13" fmla="*/ 21 h 47"/>
                <a:gd name="T14" fmla="*/ 16 w 47"/>
                <a:gd name="T15" fmla="*/ 18 h 47"/>
                <a:gd name="T16" fmla="*/ 24 w 47"/>
                <a:gd name="T17" fmla="*/ 12 h 47"/>
                <a:gd name="T18" fmla="*/ 32 w 47"/>
                <a:gd name="T19" fmla="*/ 22 h 47"/>
                <a:gd name="T20" fmla="*/ 32 w 47"/>
                <a:gd name="T21" fmla="*/ 47 h 47"/>
                <a:gd name="T22" fmla="*/ 47 w 47"/>
                <a:gd name="T23" fmla="*/ 47 h 47"/>
                <a:gd name="T24" fmla="*/ 47 w 47"/>
                <a:gd name="T25" fmla="*/ 21 h 47"/>
                <a:gd name="T26" fmla="*/ 29 w 47"/>
                <a:gd name="T27"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7" h="47">
                  <a:moveTo>
                    <a:pt x="29" y="0"/>
                  </a:moveTo>
                  <a:cubicBezTo>
                    <a:pt x="21" y="0"/>
                    <a:pt x="18" y="4"/>
                    <a:pt x="16" y="8"/>
                  </a:cubicBezTo>
                  <a:cubicBezTo>
                    <a:pt x="16" y="1"/>
                    <a:pt x="16" y="1"/>
                    <a:pt x="16" y="1"/>
                  </a:cubicBezTo>
                  <a:cubicBezTo>
                    <a:pt x="0" y="1"/>
                    <a:pt x="0" y="1"/>
                    <a:pt x="0" y="1"/>
                  </a:cubicBezTo>
                  <a:cubicBezTo>
                    <a:pt x="1" y="5"/>
                    <a:pt x="0" y="47"/>
                    <a:pt x="0" y="47"/>
                  </a:cubicBezTo>
                  <a:cubicBezTo>
                    <a:pt x="16" y="47"/>
                    <a:pt x="16" y="47"/>
                    <a:pt x="16" y="47"/>
                  </a:cubicBezTo>
                  <a:cubicBezTo>
                    <a:pt x="16" y="21"/>
                    <a:pt x="16" y="21"/>
                    <a:pt x="16" y="21"/>
                  </a:cubicBezTo>
                  <a:cubicBezTo>
                    <a:pt x="16" y="20"/>
                    <a:pt x="16" y="19"/>
                    <a:pt x="16" y="18"/>
                  </a:cubicBezTo>
                  <a:cubicBezTo>
                    <a:pt x="17" y="15"/>
                    <a:pt x="20" y="12"/>
                    <a:pt x="24" y="12"/>
                  </a:cubicBezTo>
                  <a:cubicBezTo>
                    <a:pt x="30" y="12"/>
                    <a:pt x="32" y="16"/>
                    <a:pt x="32" y="22"/>
                  </a:cubicBezTo>
                  <a:cubicBezTo>
                    <a:pt x="32" y="47"/>
                    <a:pt x="32" y="47"/>
                    <a:pt x="32" y="47"/>
                  </a:cubicBezTo>
                  <a:cubicBezTo>
                    <a:pt x="47" y="47"/>
                    <a:pt x="47" y="47"/>
                    <a:pt x="47" y="47"/>
                  </a:cubicBezTo>
                  <a:cubicBezTo>
                    <a:pt x="47" y="21"/>
                    <a:pt x="47" y="21"/>
                    <a:pt x="47" y="21"/>
                  </a:cubicBezTo>
                  <a:cubicBezTo>
                    <a:pt x="47" y="7"/>
                    <a:pt x="40" y="0"/>
                    <a:pt x="29"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2" name="Freeform 14">
              <a:extLst>
                <a:ext uri="{FF2B5EF4-FFF2-40B4-BE49-F238E27FC236}">
                  <a16:creationId xmlns:a16="http://schemas.microsoft.com/office/drawing/2014/main" id="{643F101C-0190-9788-B177-CF93B3C8D8DD}"/>
                </a:ext>
              </a:extLst>
            </p:cNvPr>
            <p:cNvSpPr>
              <a:spLocks/>
            </p:cNvSpPr>
            <p:nvPr userDrawn="1"/>
          </p:nvSpPr>
          <p:spPr bwMode="auto">
            <a:xfrm>
              <a:off x="7031" y="3532"/>
              <a:ext cx="33" cy="32"/>
            </a:xfrm>
            <a:custGeom>
              <a:avLst/>
              <a:gdLst>
                <a:gd name="T0" fmla="*/ 8 w 17"/>
                <a:gd name="T1" fmla="*/ 0 h 16"/>
                <a:gd name="T2" fmla="*/ 0 w 17"/>
                <a:gd name="T3" fmla="*/ 8 h 16"/>
                <a:gd name="T4" fmla="*/ 8 w 17"/>
                <a:gd name="T5" fmla="*/ 16 h 16"/>
                <a:gd name="T6" fmla="*/ 8 w 17"/>
                <a:gd name="T7" fmla="*/ 16 h 16"/>
                <a:gd name="T8" fmla="*/ 17 w 17"/>
                <a:gd name="T9" fmla="*/ 8 h 16"/>
                <a:gd name="T10" fmla="*/ 8 w 17"/>
                <a:gd name="T11" fmla="*/ 0 h 16"/>
              </a:gdLst>
              <a:ahLst/>
              <a:cxnLst>
                <a:cxn ang="0">
                  <a:pos x="T0" y="T1"/>
                </a:cxn>
                <a:cxn ang="0">
                  <a:pos x="T2" y="T3"/>
                </a:cxn>
                <a:cxn ang="0">
                  <a:pos x="T4" y="T5"/>
                </a:cxn>
                <a:cxn ang="0">
                  <a:pos x="T6" y="T7"/>
                </a:cxn>
                <a:cxn ang="0">
                  <a:pos x="T8" y="T9"/>
                </a:cxn>
                <a:cxn ang="0">
                  <a:pos x="T10" y="T11"/>
                </a:cxn>
              </a:cxnLst>
              <a:rect l="0" t="0" r="r" b="b"/>
              <a:pathLst>
                <a:path w="17" h="16">
                  <a:moveTo>
                    <a:pt x="8" y="0"/>
                  </a:moveTo>
                  <a:cubicBezTo>
                    <a:pt x="3" y="0"/>
                    <a:pt x="0" y="3"/>
                    <a:pt x="0" y="8"/>
                  </a:cubicBezTo>
                  <a:cubicBezTo>
                    <a:pt x="0" y="12"/>
                    <a:pt x="3" y="16"/>
                    <a:pt x="8" y="16"/>
                  </a:cubicBezTo>
                  <a:cubicBezTo>
                    <a:pt x="8" y="16"/>
                    <a:pt x="8" y="16"/>
                    <a:pt x="8" y="16"/>
                  </a:cubicBezTo>
                  <a:cubicBezTo>
                    <a:pt x="14" y="16"/>
                    <a:pt x="17" y="12"/>
                    <a:pt x="17" y="8"/>
                  </a:cubicBezTo>
                  <a:cubicBezTo>
                    <a:pt x="17" y="3"/>
                    <a:pt x="14" y="0"/>
                    <a:pt x="8"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4" name="Freeform 15">
              <a:extLst>
                <a:ext uri="{FF2B5EF4-FFF2-40B4-BE49-F238E27FC236}">
                  <a16:creationId xmlns:a16="http://schemas.microsoft.com/office/drawing/2014/main" id="{A779D476-DA0A-2499-9E0D-C8229BF7EE28}"/>
                </a:ext>
              </a:extLst>
            </p:cNvPr>
            <p:cNvSpPr>
              <a:spLocks/>
            </p:cNvSpPr>
            <p:nvPr userDrawn="1"/>
          </p:nvSpPr>
          <p:spPr bwMode="auto">
            <a:xfrm>
              <a:off x="6752" y="3496"/>
              <a:ext cx="205" cy="208"/>
            </a:xfrm>
            <a:custGeom>
              <a:avLst/>
              <a:gdLst>
                <a:gd name="T0" fmla="*/ 18 w 105"/>
                <a:gd name="T1" fmla="*/ 0 h 104"/>
                <a:gd name="T2" fmla="*/ 0 w 105"/>
                <a:gd name="T3" fmla="*/ 18 h 104"/>
                <a:gd name="T4" fmla="*/ 0 w 105"/>
                <a:gd name="T5" fmla="*/ 86 h 104"/>
                <a:gd name="T6" fmla="*/ 18 w 105"/>
                <a:gd name="T7" fmla="*/ 104 h 104"/>
                <a:gd name="T8" fmla="*/ 87 w 105"/>
                <a:gd name="T9" fmla="*/ 104 h 104"/>
                <a:gd name="T10" fmla="*/ 105 w 105"/>
                <a:gd name="T11" fmla="*/ 86 h 104"/>
                <a:gd name="T12" fmla="*/ 105 w 105"/>
                <a:gd name="T13" fmla="*/ 18 h 104"/>
                <a:gd name="T14" fmla="*/ 87 w 105"/>
                <a:gd name="T15" fmla="*/ 0 h 104"/>
                <a:gd name="T16" fmla="*/ 18 w 105"/>
                <a:gd name="T17" fmla="*/ 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5" h="104">
                  <a:moveTo>
                    <a:pt x="18" y="0"/>
                  </a:moveTo>
                  <a:cubicBezTo>
                    <a:pt x="8" y="0"/>
                    <a:pt x="0" y="8"/>
                    <a:pt x="0" y="18"/>
                  </a:cubicBezTo>
                  <a:cubicBezTo>
                    <a:pt x="0" y="86"/>
                    <a:pt x="0" y="86"/>
                    <a:pt x="0" y="86"/>
                  </a:cubicBezTo>
                  <a:cubicBezTo>
                    <a:pt x="0" y="96"/>
                    <a:pt x="8" y="104"/>
                    <a:pt x="18" y="104"/>
                  </a:cubicBezTo>
                  <a:cubicBezTo>
                    <a:pt x="87" y="104"/>
                    <a:pt x="87" y="104"/>
                    <a:pt x="87" y="104"/>
                  </a:cubicBezTo>
                  <a:cubicBezTo>
                    <a:pt x="97" y="104"/>
                    <a:pt x="105" y="96"/>
                    <a:pt x="105" y="86"/>
                  </a:cubicBezTo>
                  <a:cubicBezTo>
                    <a:pt x="105" y="18"/>
                    <a:pt x="105" y="18"/>
                    <a:pt x="105" y="18"/>
                  </a:cubicBezTo>
                  <a:cubicBezTo>
                    <a:pt x="105" y="8"/>
                    <a:pt x="97" y="0"/>
                    <a:pt x="87" y="0"/>
                  </a:cubicBezTo>
                  <a:lnTo>
                    <a:pt x="18" y="0"/>
                  </a:lnTo>
                  <a:close/>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5" name="Freeform 16">
              <a:extLst>
                <a:ext uri="{FF2B5EF4-FFF2-40B4-BE49-F238E27FC236}">
                  <a16:creationId xmlns:a16="http://schemas.microsoft.com/office/drawing/2014/main" id="{949E0EA5-1BB7-4BAB-A174-13011330A5E8}"/>
                </a:ext>
              </a:extLst>
            </p:cNvPr>
            <p:cNvSpPr>
              <a:spLocks noEditPoints="1"/>
            </p:cNvSpPr>
            <p:nvPr userDrawn="1"/>
          </p:nvSpPr>
          <p:spPr bwMode="auto">
            <a:xfrm>
              <a:off x="6818" y="3564"/>
              <a:ext cx="72" cy="72"/>
            </a:xfrm>
            <a:custGeom>
              <a:avLst/>
              <a:gdLst>
                <a:gd name="T0" fmla="*/ 19 w 37"/>
                <a:gd name="T1" fmla="*/ 30 h 36"/>
                <a:gd name="T2" fmla="*/ 7 w 37"/>
                <a:gd name="T3" fmla="*/ 18 h 36"/>
                <a:gd name="T4" fmla="*/ 19 w 37"/>
                <a:gd name="T5" fmla="*/ 6 h 36"/>
                <a:gd name="T6" fmla="*/ 31 w 37"/>
                <a:gd name="T7" fmla="*/ 18 h 36"/>
                <a:gd name="T8" fmla="*/ 19 w 37"/>
                <a:gd name="T9" fmla="*/ 30 h 36"/>
                <a:gd name="T10" fmla="*/ 19 w 37"/>
                <a:gd name="T11" fmla="*/ 0 h 36"/>
                <a:gd name="T12" fmla="*/ 0 w 37"/>
                <a:gd name="T13" fmla="*/ 18 h 36"/>
                <a:gd name="T14" fmla="*/ 19 w 37"/>
                <a:gd name="T15" fmla="*/ 36 h 36"/>
                <a:gd name="T16" fmla="*/ 37 w 37"/>
                <a:gd name="T17" fmla="*/ 18 h 36"/>
                <a:gd name="T18" fmla="*/ 19 w 37"/>
                <a:gd name="T19"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7" h="36">
                  <a:moveTo>
                    <a:pt x="19" y="30"/>
                  </a:moveTo>
                  <a:cubicBezTo>
                    <a:pt x="12" y="30"/>
                    <a:pt x="7" y="25"/>
                    <a:pt x="7" y="18"/>
                  </a:cubicBezTo>
                  <a:cubicBezTo>
                    <a:pt x="7" y="11"/>
                    <a:pt x="12" y="6"/>
                    <a:pt x="19" y="6"/>
                  </a:cubicBezTo>
                  <a:cubicBezTo>
                    <a:pt x="25" y="6"/>
                    <a:pt x="31" y="11"/>
                    <a:pt x="31" y="18"/>
                  </a:cubicBezTo>
                  <a:cubicBezTo>
                    <a:pt x="31" y="25"/>
                    <a:pt x="25" y="30"/>
                    <a:pt x="19" y="30"/>
                  </a:cubicBezTo>
                  <a:moveTo>
                    <a:pt x="19" y="0"/>
                  </a:moveTo>
                  <a:cubicBezTo>
                    <a:pt x="9" y="0"/>
                    <a:pt x="0" y="8"/>
                    <a:pt x="0" y="18"/>
                  </a:cubicBezTo>
                  <a:cubicBezTo>
                    <a:pt x="0" y="28"/>
                    <a:pt x="9" y="36"/>
                    <a:pt x="19" y="36"/>
                  </a:cubicBezTo>
                  <a:cubicBezTo>
                    <a:pt x="29" y="36"/>
                    <a:pt x="37" y="28"/>
                    <a:pt x="37" y="18"/>
                  </a:cubicBezTo>
                  <a:cubicBezTo>
                    <a:pt x="37" y="8"/>
                    <a:pt x="29" y="0"/>
                    <a:pt x="19"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6" name="Freeform 17">
              <a:extLst>
                <a:ext uri="{FF2B5EF4-FFF2-40B4-BE49-F238E27FC236}">
                  <a16:creationId xmlns:a16="http://schemas.microsoft.com/office/drawing/2014/main" id="{275DADFA-3A81-42DF-4175-C1C21256DE21}"/>
                </a:ext>
              </a:extLst>
            </p:cNvPr>
            <p:cNvSpPr>
              <a:spLocks noEditPoints="1"/>
            </p:cNvSpPr>
            <p:nvPr userDrawn="1"/>
          </p:nvSpPr>
          <p:spPr bwMode="auto">
            <a:xfrm>
              <a:off x="6785" y="3528"/>
              <a:ext cx="139" cy="144"/>
            </a:xfrm>
            <a:custGeom>
              <a:avLst/>
              <a:gdLst>
                <a:gd name="T0" fmla="*/ 65 w 71"/>
                <a:gd name="T1" fmla="*/ 50 h 72"/>
                <a:gd name="T2" fmla="*/ 64 w 71"/>
                <a:gd name="T3" fmla="*/ 57 h 72"/>
                <a:gd name="T4" fmla="*/ 61 w 71"/>
                <a:gd name="T5" fmla="*/ 61 h 72"/>
                <a:gd name="T6" fmla="*/ 57 w 71"/>
                <a:gd name="T7" fmla="*/ 64 h 72"/>
                <a:gd name="T8" fmla="*/ 50 w 71"/>
                <a:gd name="T9" fmla="*/ 65 h 72"/>
                <a:gd name="T10" fmla="*/ 36 w 71"/>
                <a:gd name="T11" fmla="*/ 65 h 72"/>
                <a:gd name="T12" fmla="*/ 21 w 71"/>
                <a:gd name="T13" fmla="*/ 65 h 72"/>
                <a:gd name="T14" fmla="*/ 15 w 71"/>
                <a:gd name="T15" fmla="*/ 64 h 72"/>
                <a:gd name="T16" fmla="*/ 11 w 71"/>
                <a:gd name="T17" fmla="*/ 61 h 72"/>
                <a:gd name="T18" fmla="*/ 8 w 71"/>
                <a:gd name="T19" fmla="*/ 57 h 72"/>
                <a:gd name="T20" fmla="*/ 7 w 71"/>
                <a:gd name="T21" fmla="*/ 50 h 72"/>
                <a:gd name="T22" fmla="*/ 6 w 71"/>
                <a:gd name="T23" fmla="*/ 36 h 72"/>
                <a:gd name="T24" fmla="*/ 7 w 71"/>
                <a:gd name="T25" fmla="*/ 21 h 72"/>
                <a:gd name="T26" fmla="*/ 8 w 71"/>
                <a:gd name="T27" fmla="*/ 15 h 72"/>
                <a:gd name="T28" fmla="*/ 11 w 71"/>
                <a:gd name="T29" fmla="*/ 11 h 72"/>
                <a:gd name="T30" fmla="*/ 15 w 71"/>
                <a:gd name="T31" fmla="*/ 8 h 72"/>
                <a:gd name="T32" fmla="*/ 21 w 71"/>
                <a:gd name="T33" fmla="*/ 7 h 72"/>
                <a:gd name="T34" fmla="*/ 36 w 71"/>
                <a:gd name="T35" fmla="*/ 7 h 72"/>
                <a:gd name="T36" fmla="*/ 50 w 71"/>
                <a:gd name="T37" fmla="*/ 7 h 72"/>
                <a:gd name="T38" fmla="*/ 57 w 71"/>
                <a:gd name="T39" fmla="*/ 8 h 72"/>
                <a:gd name="T40" fmla="*/ 61 w 71"/>
                <a:gd name="T41" fmla="*/ 11 h 72"/>
                <a:gd name="T42" fmla="*/ 64 w 71"/>
                <a:gd name="T43" fmla="*/ 15 h 72"/>
                <a:gd name="T44" fmla="*/ 65 w 71"/>
                <a:gd name="T45" fmla="*/ 21 h 72"/>
                <a:gd name="T46" fmla="*/ 65 w 71"/>
                <a:gd name="T47" fmla="*/ 36 h 72"/>
                <a:gd name="T48" fmla="*/ 65 w 71"/>
                <a:gd name="T49" fmla="*/ 50 h 72"/>
                <a:gd name="T50" fmla="*/ 71 w 71"/>
                <a:gd name="T51" fmla="*/ 21 h 72"/>
                <a:gd name="T52" fmla="*/ 70 w 71"/>
                <a:gd name="T53" fmla="*/ 13 h 72"/>
                <a:gd name="T54" fmla="*/ 65 w 71"/>
                <a:gd name="T55" fmla="*/ 6 h 72"/>
                <a:gd name="T56" fmla="*/ 59 w 71"/>
                <a:gd name="T57" fmla="*/ 2 h 72"/>
                <a:gd name="T58" fmla="*/ 50 w 71"/>
                <a:gd name="T59" fmla="*/ 0 h 72"/>
                <a:gd name="T60" fmla="*/ 36 w 71"/>
                <a:gd name="T61" fmla="*/ 0 h 72"/>
                <a:gd name="T62" fmla="*/ 21 w 71"/>
                <a:gd name="T63" fmla="*/ 0 h 72"/>
                <a:gd name="T64" fmla="*/ 12 w 71"/>
                <a:gd name="T65" fmla="*/ 2 h 72"/>
                <a:gd name="T66" fmla="*/ 6 w 71"/>
                <a:gd name="T67" fmla="*/ 6 h 72"/>
                <a:gd name="T68" fmla="*/ 2 w 71"/>
                <a:gd name="T69" fmla="*/ 13 h 72"/>
                <a:gd name="T70" fmla="*/ 0 w 71"/>
                <a:gd name="T71" fmla="*/ 21 h 72"/>
                <a:gd name="T72" fmla="*/ 0 w 71"/>
                <a:gd name="T73" fmla="*/ 36 h 72"/>
                <a:gd name="T74" fmla="*/ 0 w 71"/>
                <a:gd name="T75" fmla="*/ 51 h 72"/>
                <a:gd name="T76" fmla="*/ 2 w 71"/>
                <a:gd name="T77" fmla="*/ 59 h 72"/>
                <a:gd name="T78" fmla="*/ 6 w 71"/>
                <a:gd name="T79" fmla="*/ 66 h 72"/>
                <a:gd name="T80" fmla="*/ 12 w 71"/>
                <a:gd name="T81" fmla="*/ 70 h 72"/>
                <a:gd name="T82" fmla="*/ 21 w 71"/>
                <a:gd name="T83" fmla="*/ 71 h 72"/>
                <a:gd name="T84" fmla="*/ 36 w 71"/>
                <a:gd name="T85" fmla="*/ 72 h 72"/>
                <a:gd name="T86" fmla="*/ 50 w 71"/>
                <a:gd name="T87" fmla="*/ 71 h 72"/>
                <a:gd name="T88" fmla="*/ 59 w 71"/>
                <a:gd name="T89" fmla="*/ 70 h 72"/>
                <a:gd name="T90" fmla="*/ 65 w 71"/>
                <a:gd name="T91" fmla="*/ 66 h 72"/>
                <a:gd name="T92" fmla="*/ 70 w 71"/>
                <a:gd name="T93" fmla="*/ 59 h 72"/>
                <a:gd name="T94" fmla="*/ 71 w 71"/>
                <a:gd name="T95" fmla="*/ 51 h 72"/>
                <a:gd name="T96" fmla="*/ 71 w 71"/>
                <a:gd name="T97" fmla="*/ 36 h 72"/>
                <a:gd name="T98" fmla="*/ 71 w 71"/>
                <a:gd name="T99" fmla="*/ 21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71" h="72">
                  <a:moveTo>
                    <a:pt x="65" y="50"/>
                  </a:moveTo>
                  <a:cubicBezTo>
                    <a:pt x="65" y="54"/>
                    <a:pt x="64" y="56"/>
                    <a:pt x="64" y="57"/>
                  </a:cubicBezTo>
                  <a:cubicBezTo>
                    <a:pt x="63" y="59"/>
                    <a:pt x="62" y="60"/>
                    <a:pt x="61" y="61"/>
                  </a:cubicBezTo>
                  <a:cubicBezTo>
                    <a:pt x="60" y="62"/>
                    <a:pt x="58" y="63"/>
                    <a:pt x="57" y="64"/>
                  </a:cubicBezTo>
                  <a:cubicBezTo>
                    <a:pt x="56" y="64"/>
                    <a:pt x="54" y="65"/>
                    <a:pt x="50" y="65"/>
                  </a:cubicBezTo>
                  <a:cubicBezTo>
                    <a:pt x="46" y="65"/>
                    <a:pt x="45" y="65"/>
                    <a:pt x="36" y="65"/>
                  </a:cubicBezTo>
                  <a:cubicBezTo>
                    <a:pt x="26" y="65"/>
                    <a:pt x="25" y="65"/>
                    <a:pt x="21" y="65"/>
                  </a:cubicBezTo>
                  <a:cubicBezTo>
                    <a:pt x="18" y="65"/>
                    <a:pt x="16" y="64"/>
                    <a:pt x="15" y="64"/>
                  </a:cubicBezTo>
                  <a:cubicBezTo>
                    <a:pt x="13" y="63"/>
                    <a:pt x="12" y="62"/>
                    <a:pt x="11" y="61"/>
                  </a:cubicBezTo>
                  <a:cubicBezTo>
                    <a:pt x="9" y="60"/>
                    <a:pt x="9" y="59"/>
                    <a:pt x="8" y="57"/>
                  </a:cubicBezTo>
                  <a:cubicBezTo>
                    <a:pt x="7" y="56"/>
                    <a:pt x="7" y="54"/>
                    <a:pt x="7" y="50"/>
                  </a:cubicBezTo>
                  <a:cubicBezTo>
                    <a:pt x="6" y="47"/>
                    <a:pt x="6" y="45"/>
                    <a:pt x="6" y="36"/>
                  </a:cubicBezTo>
                  <a:cubicBezTo>
                    <a:pt x="6" y="26"/>
                    <a:pt x="6" y="25"/>
                    <a:pt x="7" y="21"/>
                  </a:cubicBezTo>
                  <a:cubicBezTo>
                    <a:pt x="7" y="18"/>
                    <a:pt x="7" y="16"/>
                    <a:pt x="8" y="15"/>
                  </a:cubicBezTo>
                  <a:cubicBezTo>
                    <a:pt x="9" y="13"/>
                    <a:pt x="9" y="12"/>
                    <a:pt x="11" y="11"/>
                  </a:cubicBezTo>
                  <a:cubicBezTo>
                    <a:pt x="12" y="10"/>
                    <a:pt x="13" y="9"/>
                    <a:pt x="15" y="8"/>
                  </a:cubicBezTo>
                  <a:cubicBezTo>
                    <a:pt x="16" y="8"/>
                    <a:pt x="18" y="7"/>
                    <a:pt x="21" y="7"/>
                  </a:cubicBezTo>
                  <a:cubicBezTo>
                    <a:pt x="25" y="7"/>
                    <a:pt x="26" y="7"/>
                    <a:pt x="36" y="7"/>
                  </a:cubicBezTo>
                  <a:cubicBezTo>
                    <a:pt x="45" y="7"/>
                    <a:pt x="46" y="7"/>
                    <a:pt x="50" y="7"/>
                  </a:cubicBezTo>
                  <a:cubicBezTo>
                    <a:pt x="54" y="7"/>
                    <a:pt x="56" y="8"/>
                    <a:pt x="57" y="8"/>
                  </a:cubicBezTo>
                  <a:cubicBezTo>
                    <a:pt x="58" y="9"/>
                    <a:pt x="60" y="10"/>
                    <a:pt x="61" y="11"/>
                  </a:cubicBezTo>
                  <a:cubicBezTo>
                    <a:pt x="62" y="12"/>
                    <a:pt x="63" y="13"/>
                    <a:pt x="64" y="15"/>
                  </a:cubicBezTo>
                  <a:cubicBezTo>
                    <a:pt x="64" y="16"/>
                    <a:pt x="65" y="18"/>
                    <a:pt x="65" y="21"/>
                  </a:cubicBezTo>
                  <a:cubicBezTo>
                    <a:pt x="65" y="25"/>
                    <a:pt x="65" y="26"/>
                    <a:pt x="65" y="36"/>
                  </a:cubicBezTo>
                  <a:cubicBezTo>
                    <a:pt x="65" y="45"/>
                    <a:pt x="65" y="47"/>
                    <a:pt x="65" y="50"/>
                  </a:cubicBezTo>
                  <a:moveTo>
                    <a:pt x="71" y="21"/>
                  </a:moveTo>
                  <a:cubicBezTo>
                    <a:pt x="71" y="17"/>
                    <a:pt x="70" y="15"/>
                    <a:pt x="70" y="13"/>
                  </a:cubicBezTo>
                  <a:cubicBezTo>
                    <a:pt x="69" y="10"/>
                    <a:pt x="67" y="8"/>
                    <a:pt x="65" y="6"/>
                  </a:cubicBezTo>
                  <a:cubicBezTo>
                    <a:pt x="63" y="4"/>
                    <a:pt x="61" y="3"/>
                    <a:pt x="59" y="2"/>
                  </a:cubicBezTo>
                  <a:cubicBezTo>
                    <a:pt x="57" y="1"/>
                    <a:pt x="54" y="1"/>
                    <a:pt x="50" y="0"/>
                  </a:cubicBezTo>
                  <a:cubicBezTo>
                    <a:pt x="47" y="0"/>
                    <a:pt x="45" y="0"/>
                    <a:pt x="36" y="0"/>
                  </a:cubicBezTo>
                  <a:cubicBezTo>
                    <a:pt x="26" y="0"/>
                    <a:pt x="25" y="0"/>
                    <a:pt x="21" y="0"/>
                  </a:cubicBezTo>
                  <a:cubicBezTo>
                    <a:pt x="17" y="1"/>
                    <a:pt x="15" y="1"/>
                    <a:pt x="12" y="2"/>
                  </a:cubicBezTo>
                  <a:cubicBezTo>
                    <a:pt x="10" y="3"/>
                    <a:pt x="8" y="4"/>
                    <a:pt x="6" y="6"/>
                  </a:cubicBezTo>
                  <a:cubicBezTo>
                    <a:pt x="4" y="8"/>
                    <a:pt x="3" y="10"/>
                    <a:pt x="2" y="13"/>
                  </a:cubicBezTo>
                  <a:cubicBezTo>
                    <a:pt x="1" y="15"/>
                    <a:pt x="0" y="17"/>
                    <a:pt x="0" y="21"/>
                  </a:cubicBezTo>
                  <a:cubicBezTo>
                    <a:pt x="0" y="25"/>
                    <a:pt x="0" y="26"/>
                    <a:pt x="0" y="36"/>
                  </a:cubicBezTo>
                  <a:cubicBezTo>
                    <a:pt x="0" y="46"/>
                    <a:pt x="0" y="47"/>
                    <a:pt x="0" y="51"/>
                  </a:cubicBezTo>
                  <a:cubicBezTo>
                    <a:pt x="0" y="54"/>
                    <a:pt x="1" y="57"/>
                    <a:pt x="2" y="59"/>
                  </a:cubicBezTo>
                  <a:cubicBezTo>
                    <a:pt x="3" y="62"/>
                    <a:pt x="4" y="64"/>
                    <a:pt x="6" y="66"/>
                  </a:cubicBezTo>
                  <a:cubicBezTo>
                    <a:pt x="8" y="68"/>
                    <a:pt x="10" y="69"/>
                    <a:pt x="12" y="70"/>
                  </a:cubicBezTo>
                  <a:cubicBezTo>
                    <a:pt x="15" y="71"/>
                    <a:pt x="17" y="71"/>
                    <a:pt x="21" y="71"/>
                  </a:cubicBezTo>
                  <a:cubicBezTo>
                    <a:pt x="25" y="72"/>
                    <a:pt x="26" y="72"/>
                    <a:pt x="36" y="72"/>
                  </a:cubicBezTo>
                  <a:cubicBezTo>
                    <a:pt x="45" y="72"/>
                    <a:pt x="47" y="72"/>
                    <a:pt x="50" y="71"/>
                  </a:cubicBezTo>
                  <a:cubicBezTo>
                    <a:pt x="54" y="71"/>
                    <a:pt x="57" y="71"/>
                    <a:pt x="59" y="70"/>
                  </a:cubicBezTo>
                  <a:cubicBezTo>
                    <a:pt x="61" y="69"/>
                    <a:pt x="63" y="68"/>
                    <a:pt x="65" y="66"/>
                  </a:cubicBezTo>
                  <a:cubicBezTo>
                    <a:pt x="67" y="64"/>
                    <a:pt x="69" y="62"/>
                    <a:pt x="70" y="59"/>
                  </a:cubicBezTo>
                  <a:cubicBezTo>
                    <a:pt x="70" y="57"/>
                    <a:pt x="71" y="54"/>
                    <a:pt x="71" y="51"/>
                  </a:cubicBezTo>
                  <a:cubicBezTo>
                    <a:pt x="71" y="47"/>
                    <a:pt x="71" y="46"/>
                    <a:pt x="71" y="36"/>
                  </a:cubicBezTo>
                  <a:cubicBezTo>
                    <a:pt x="71" y="26"/>
                    <a:pt x="71" y="25"/>
                    <a:pt x="71" y="21"/>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7" name="Oval 18">
              <a:extLst>
                <a:ext uri="{FF2B5EF4-FFF2-40B4-BE49-F238E27FC236}">
                  <a16:creationId xmlns:a16="http://schemas.microsoft.com/office/drawing/2014/main" id="{7366956B-B24D-344A-AB52-E55877CBFE8B}"/>
                </a:ext>
              </a:extLst>
            </p:cNvPr>
            <p:cNvSpPr>
              <a:spLocks noChangeArrowheads="1"/>
            </p:cNvSpPr>
            <p:nvPr userDrawn="1"/>
          </p:nvSpPr>
          <p:spPr bwMode="auto">
            <a:xfrm>
              <a:off x="6882" y="3554"/>
              <a:ext cx="18" cy="16"/>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grpSp>
      <p:grpSp>
        <p:nvGrpSpPr>
          <p:cNvPr id="28" name="Group 21">
            <a:extLst>
              <a:ext uri="{FF2B5EF4-FFF2-40B4-BE49-F238E27FC236}">
                <a16:creationId xmlns:a16="http://schemas.microsoft.com/office/drawing/2014/main" id="{FAD5F448-8330-D9E8-1035-C08077DA20CF}"/>
              </a:ext>
            </a:extLst>
          </p:cNvPr>
          <p:cNvGrpSpPr>
            <a:grpSpLocks noChangeAspect="1"/>
          </p:cNvGrpSpPr>
          <p:nvPr userDrawn="1"/>
        </p:nvGrpSpPr>
        <p:grpSpPr bwMode="auto">
          <a:xfrm>
            <a:off x="9551988" y="4535488"/>
            <a:ext cx="2052637" cy="333375"/>
            <a:chOff x="6017" y="2857"/>
            <a:chExt cx="1293" cy="210"/>
          </a:xfrm>
        </p:grpSpPr>
        <p:sp>
          <p:nvSpPr>
            <p:cNvPr id="29" name="AutoShape 20">
              <a:extLst>
                <a:ext uri="{FF2B5EF4-FFF2-40B4-BE49-F238E27FC236}">
                  <a16:creationId xmlns:a16="http://schemas.microsoft.com/office/drawing/2014/main" id="{90070BC8-81FE-8AE9-AE97-F37A90613769}"/>
                </a:ext>
              </a:extLst>
            </p:cNvPr>
            <p:cNvSpPr>
              <a:spLocks noChangeAspect="1" noChangeArrowheads="1" noTextEdit="1"/>
            </p:cNvSpPr>
            <p:nvPr userDrawn="1"/>
          </p:nvSpPr>
          <p:spPr bwMode="auto">
            <a:xfrm>
              <a:off x="6017" y="2857"/>
              <a:ext cx="1293" cy="2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0" name="Freeform 22">
              <a:extLst>
                <a:ext uri="{FF2B5EF4-FFF2-40B4-BE49-F238E27FC236}">
                  <a16:creationId xmlns:a16="http://schemas.microsoft.com/office/drawing/2014/main" id="{D269881B-DA1D-823A-B35C-DE5317E41956}"/>
                </a:ext>
              </a:extLst>
            </p:cNvPr>
            <p:cNvSpPr>
              <a:spLocks/>
            </p:cNvSpPr>
            <p:nvPr userDrawn="1"/>
          </p:nvSpPr>
          <p:spPr bwMode="auto">
            <a:xfrm>
              <a:off x="6436" y="2857"/>
              <a:ext cx="50" cy="75"/>
            </a:xfrm>
            <a:custGeom>
              <a:avLst/>
              <a:gdLst>
                <a:gd name="T0" fmla="*/ 38 w 161"/>
                <a:gd name="T1" fmla="*/ 228 h 238"/>
                <a:gd name="T2" fmla="*/ 10 w 161"/>
                <a:gd name="T3" fmla="*/ 202 h 238"/>
                <a:gd name="T4" fmla="*/ 0 w 161"/>
                <a:gd name="T5" fmla="*/ 162 h 238"/>
                <a:gd name="T6" fmla="*/ 0 w 161"/>
                <a:gd name="T7" fmla="*/ 76 h 238"/>
                <a:gd name="T8" fmla="*/ 10 w 161"/>
                <a:gd name="T9" fmla="*/ 36 h 238"/>
                <a:gd name="T10" fmla="*/ 38 w 161"/>
                <a:gd name="T11" fmla="*/ 10 h 238"/>
                <a:gd name="T12" fmla="*/ 81 w 161"/>
                <a:gd name="T13" fmla="*/ 0 h 238"/>
                <a:gd name="T14" fmla="*/ 123 w 161"/>
                <a:gd name="T15" fmla="*/ 9 h 238"/>
                <a:gd name="T16" fmla="*/ 151 w 161"/>
                <a:gd name="T17" fmla="*/ 35 h 238"/>
                <a:gd name="T18" fmla="*/ 161 w 161"/>
                <a:gd name="T19" fmla="*/ 74 h 238"/>
                <a:gd name="T20" fmla="*/ 161 w 161"/>
                <a:gd name="T21" fmla="*/ 74 h 238"/>
                <a:gd name="T22" fmla="*/ 160 w 161"/>
                <a:gd name="T23" fmla="*/ 77 h 238"/>
                <a:gd name="T24" fmla="*/ 158 w 161"/>
                <a:gd name="T25" fmla="*/ 77 h 238"/>
                <a:gd name="T26" fmla="*/ 133 w 161"/>
                <a:gd name="T27" fmla="*/ 79 h 238"/>
                <a:gd name="T28" fmla="*/ 129 w 161"/>
                <a:gd name="T29" fmla="*/ 76 h 238"/>
                <a:gd name="T30" fmla="*/ 129 w 161"/>
                <a:gd name="T31" fmla="*/ 75 h 238"/>
                <a:gd name="T32" fmla="*/ 116 w 161"/>
                <a:gd name="T33" fmla="*/ 41 h 238"/>
                <a:gd name="T34" fmla="*/ 81 w 161"/>
                <a:gd name="T35" fmla="*/ 28 h 238"/>
                <a:gd name="T36" fmla="*/ 45 w 161"/>
                <a:gd name="T37" fmla="*/ 41 h 238"/>
                <a:gd name="T38" fmla="*/ 32 w 161"/>
                <a:gd name="T39" fmla="*/ 75 h 238"/>
                <a:gd name="T40" fmla="*/ 32 w 161"/>
                <a:gd name="T41" fmla="*/ 163 h 238"/>
                <a:gd name="T42" fmla="*/ 45 w 161"/>
                <a:gd name="T43" fmla="*/ 197 h 238"/>
                <a:gd name="T44" fmla="*/ 81 w 161"/>
                <a:gd name="T45" fmla="*/ 210 h 238"/>
                <a:gd name="T46" fmla="*/ 116 w 161"/>
                <a:gd name="T47" fmla="*/ 197 h 238"/>
                <a:gd name="T48" fmla="*/ 129 w 161"/>
                <a:gd name="T49" fmla="*/ 163 h 238"/>
                <a:gd name="T50" fmla="*/ 129 w 161"/>
                <a:gd name="T51" fmla="*/ 162 h 238"/>
                <a:gd name="T52" fmla="*/ 133 w 161"/>
                <a:gd name="T53" fmla="*/ 159 h 238"/>
                <a:gd name="T54" fmla="*/ 158 w 161"/>
                <a:gd name="T55" fmla="*/ 161 h 238"/>
                <a:gd name="T56" fmla="*/ 161 w 161"/>
                <a:gd name="T57" fmla="*/ 164 h 238"/>
                <a:gd name="T58" fmla="*/ 151 w 161"/>
                <a:gd name="T59" fmla="*/ 203 h 238"/>
                <a:gd name="T60" fmla="*/ 123 w 161"/>
                <a:gd name="T61" fmla="*/ 229 h 238"/>
                <a:gd name="T62" fmla="*/ 81 w 161"/>
                <a:gd name="T63" fmla="*/ 238 h 238"/>
                <a:gd name="T64" fmla="*/ 38 w 161"/>
                <a:gd name="T65" fmla="*/ 22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61" h="238">
                  <a:moveTo>
                    <a:pt x="38" y="228"/>
                  </a:moveTo>
                  <a:cubicBezTo>
                    <a:pt x="26" y="222"/>
                    <a:pt x="17" y="213"/>
                    <a:pt x="10" y="202"/>
                  </a:cubicBezTo>
                  <a:cubicBezTo>
                    <a:pt x="3" y="190"/>
                    <a:pt x="0" y="177"/>
                    <a:pt x="0" y="162"/>
                  </a:cubicBezTo>
                  <a:cubicBezTo>
                    <a:pt x="0" y="76"/>
                    <a:pt x="0" y="76"/>
                    <a:pt x="0" y="76"/>
                  </a:cubicBezTo>
                  <a:cubicBezTo>
                    <a:pt x="0" y="61"/>
                    <a:pt x="3" y="48"/>
                    <a:pt x="10" y="36"/>
                  </a:cubicBezTo>
                  <a:cubicBezTo>
                    <a:pt x="17" y="25"/>
                    <a:pt x="26" y="16"/>
                    <a:pt x="38" y="10"/>
                  </a:cubicBezTo>
                  <a:cubicBezTo>
                    <a:pt x="51" y="4"/>
                    <a:pt x="65" y="0"/>
                    <a:pt x="81" y="0"/>
                  </a:cubicBezTo>
                  <a:cubicBezTo>
                    <a:pt x="96" y="0"/>
                    <a:pt x="110" y="3"/>
                    <a:pt x="123" y="9"/>
                  </a:cubicBezTo>
                  <a:cubicBezTo>
                    <a:pt x="135" y="16"/>
                    <a:pt x="144" y="24"/>
                    <a:pt x="151" y="35"/>
                  </a:cubicBezTo>
                  <a:cubicBezTo>
                    <a:pt x="158" y="46"/>
                    <a:pt x="161" y="59"/>
                    <a:pt x="161" y="74"/>
                  </a:cubicBezTo>
                  <a:cubicBezTo>
                    <a:pt x="161" y="74"/>
                    <a:pt x="161" y="74"/>
                    <a:pt x="161" y="74"/>
                  </a:cubicBezTo>
                  <a:cubicBezTo>
                    <a:pt x="161" y="75"/>
                    <a:pt x="161" y="76"/>
                    <a:pt x="160" y="77"/>
                  </a:cubicBezTo>
                  <a:cubicBezTo>
                    <a:pt x="159" y="77"/>
                    <a:pt x="159" y="77"/>
                    <a:pt x="158" y="77"/>
                  </a:cubicBezTo>
                  <a:cubicBezTo>
                    <a:pt x="133" y="79"/>
                    <a:pt x="133" y="79"/>
                    <a:pt x="133" y="79"/>
                  </a:cubicBezTo>
                  <a:cubicBezTo>
                    <a:pt x="130" y="79"/>
                    <a:pt x="129" y="78"/>
                    <a:pt x="129" y="76"/>
                  </a:cubicBezTo>
                  <a:cubicBezTo>
                    <a:pt x="129" y="75"/>
                    <a:pt x="129" y="75"/>
                    <a:pt x="129" y="75"/>
                  </a:cubicBezTo>
                  <a:cubicBezTo>
                    <a:pt x="129" y="61"/>
                    <a:pt x="125" y="49"/>
                    <a:pt x="116" y="41"/>
                  </a:cubicBezTo>
                  <a:cubicBezTo>
                    <a:pt x="107" y="32"/>
                    <a:pt x="95" y="28"/>
                    <a:pt x="81" y="28"/>
                  </a:cubicBezTo>
                  <a:cubicBezTo>
                    <a:pt x="66" y="28"/>
                    <a:pt x="54" y="32"/>
                    <a:pt x="45" y="41"/>
                  </a:cubicBezTo>
                  <a:cubicBezTo>
                    <a:pt x="36" y="49"/>
                    <a:pt x="32" y="61"/>
                    <a:pt x="32" y="75"/>
                  </a:cubicBezTo>
                  <a:cubicBezTo>
                    <a:pt x="32" y="163"/>
                    <a:pt x="32" y="163"/>
                    <a:pt x="32" y="163"/>
                  </a:cubicBezTo>
                  <a:cubicBezTo>
                    <a:pt x="32" y="177"/>
                    <a:pt x="36" y="189"/>
                    <a:pt x="45" y="197"/>
                  </a:cubicBezTo>
                  <a:cubicBezTo>
                    <a:pt x="54" y="206"/>
                    <a:pt x="66" y="210"/>
                    <a:pt x="81" y="210"/>
                  </a:cubicBezTo>
                  <a:cubicBezTo>
                    <a:pt x="95" y="210"/>
                    <a:pt x="107" y="206"/>
                    <a:pt x="116" y="197"/>
                  </a:cubicBezTo>
                  <a:cubicBezTo>
                    <a:pt x="125" y="188"/>
                    <a:pt x="129" y="177"/>
                    <a:pt x="129" y="163"/>
                  </a:cubicBezTo>
                  <a:cubicBezTo>
                    <a:pt x="129" y="162"/>
                    <a:pt x="129" y="162"/>
                    <a:pt x="129" y="162"/>
                  </a:cubicBezTo>
                  <a:cubicBezTo>
                    <a:pt x="129" y="160"/>
                    <a:pt x="130" y="159"/>
                    <a:pt x="133" y="159"/>
                  </a:cubicBezTo>
                  <a:cubicBezTo>
                    <a:pt x="158" y="161"/>
                    <a:pt x="158" y="161"/>
                    <a:pt x="158" y="161"/>
                  </a:cubicBezTo>
                  <a:cubicBezTo>
                    <a:pt x="160" y="161"/>
                    <a:pt x="161" y="162"/>
                    <a:pt x="161" y="164"/>
                  </a:cubicBezTo>
                  <a:cubicBezTo>
                    <a:pt x="161" y="179"/>
                    <a:pt x="158" y="191"/>
                    <a:pt x="151" y="203"/>
                  </a:cubicBezTo>
                  <a:cubicBezTo>
                    <a:pt x="144" y="214"/>
                    <a:pt x="135" y="222"/>
                    <a:pt x="123" y="229"/>
                  </a:cubicBezTo>
                  <a:cubicBezTo>
                    <a:pt x="111" y="235"/>
                    <a:pt x="97" y="238"/>
                    <a:pt x="81" y="238"/>
                  </a:cubicBezTo>
                  <a:cubicBezTo>
                    <a:pt x="65" y="238"/>
                    <a:pt x="51" y="235"/>
                    <a:pt x="38" y="228"/>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1" name="Freeform 23">
              <a:extLst>
                <a:ext uri="{FF2B5EF4-FFF2-40B4-BE49-F238E27FC236}">
                  <a16:creationId xmlns:a16="http://schemas.microsoft.com/office/drawing/2014/main" id="{D63875EA-D6DF-D505-60B5-9F8C1F1C6010}"/>
                </a:ext>
              </a:extLst>
            </p:cNvPr>
            <p:cNvSpPr>
              <a:spLocks noEditPoints="1"/>
            </p:cNvSpPr>
            <p:nvPr userDrawn="1"/>
          </p:nvSpPr>
          <p:spPr bwMode="auto">
            <a:xfrm>
              <a:off x="6498" y="2858"/>
              <a:ext cx="50" cy="73"/>
            </a:xfrm>
            <a:custGeom>
              <a:avLst/>
              <a:gdLst>
                <a:gd name="T0" fmla="*/ 128 w 161"/>
                <a:gd name="T1" fmla="*/ 229 h 232"/>
                <a:gd name="T2" fmla="*/ 82 w 161"/>
                <a:gd name="T3" fmla="*/ 130 h 232"/>
                <a:gd name="T4" fmla="*/ 81 w 161"/>
                <a:gd name="T5" fmla="*/ 129 h 232"/>
                <a:gd name="T6" fmla="*/ 33 w 161"/>
                <a:gd name="T7" fmla="*/ 129 h 232"/>
                <a:gd name="T8" fmla="*/ 32 w 161"/>
                <a:gd name="T9" fmla="*/ 131 h 232"/>
                <a:gd name="T10" fmla="*/ 32 w 161"/>
                <a:gd name="T11" fmla="*/ 228 h 232"/>
                <a:gd name="T12" fmla="*/ 29 w 161"/>
                <a:gd name="T13" fmla="*/ 232 h 232"/>
                <a:gd name="T14" fmla="*/ 4 w 161"/>
                <a:gd name="T15" fmla="*/ 232 h 232"/>
                <a:gd name="T16" fmla="*/ 0 w 161"/>
                <a:gd name="T17" fmla="*/ 229 h 232"/>
                <a:gd name="T18" fmla="*/ 0 w 161"/>
                <a:gd name="T19" fmla="*/ 3 h 232"/>
                <a:gd name="T20" fmla="*/ 3 w 161"/>
                <a:gd name="T21" fmla="*/ 0 h 232"/>
                <a:gd name="T22" fmla="*/ 93 w 161"/>
                <a:gd name="T23" fmla="*/ 0 h 232"/>
                <a:gd name="T24" fmla="*/ 127 w 161"/>
                <a:gd name="T25" fmla="*/ 8 h 232"/>
                <a:gd name="T26" fmla="*/ 151 w 161"/>
                <a:gd name="T27" fmla="*/ 31 h 232"/>
                <a:gd name="T28" fmla="*/ 159 w 161"/>
                <a:gd name="T29" fmla="*/ 66 h 232"/>
                <a:gd name="T30" fmla="*/ 147 w 161"/>
                <a:gd name="T31" fmla="*/ 105 h 232"/>
                <a:gd name="T32" fmla="*/ 113 w 161"/>
                <a:gd name="T33" fmla="*/ 127 h 232"/>
                <a:gd name="T34" fmla="*/ 113 w 161"/>
                <a:gd name="T35" fmla="*/ 128 h 232"/>
                <a:gd name="T36" fmla="*/ 161 w 161"/>
                <a:gd name="T37" fmla="*/ 228 h 232"/>
                <a:gd name="T38" fmla="*/ 161 w 161"/>
                <a:gd name="T39" fmla="*/ 229 h 232"/>
                <a:gd name="T40" fmla="*/ 159 w 161"/>
                <a:gd name="T41" fmla="*/ 232 h 232"/>
                <a:gd name="T42" fmla="*/ 132 w 161"/>
                <a:gd name="T43" fmla="*/ 232 h 232"/>
                <a:gd name="T44" fmla="*/ 128 w 161"/>
                <a:gd name="T45" fmla="*/ 229 h 232"/>
                <a:gd name="T46" fmla="*/ 32 w 161"/>
                <a:gd name="T47" fmla="*/ 29 h 232"/>
                <a:gd name="T48" fmla="*/ 32 w 161"/>
                <a:gd name="T49" fmla="*/ 103 h 232"/>
                <a:gd name="T50" fmla="*/ 33 w 161"/>
                <a:gd name="T51" fmla="*/ 104 h 232"/>
                <a:gd name="T52" fmla="*/ 88 w 161"/>
                <a:gd name="T53" fmla="*/ 104 h 232"/>
                <a:gd name="T54" fmla="*/ 117 w 161"/>
                <a:gd name="T55" fmla="*/ 94 h 232"/>
                <a:gd name="T56" fmla="*/ 127 w 161"/>
                <a:gd name="T57" fmla="*/ 66 h 232"/>
                <a:gd name="T58" fmla="*/ 117 w 161"/>
                <a:gd name="T59" fmla="*/ 38 h 232"/>
                <a:gd name="T60" fmla="*/ 88 w 161"/>
                <a:gd name="T61" fmla="*/ 27 h 232"/>
                <a:gd name="T62" fmla="*/ 33 w 161"/>
                <a:gd name="T63" fmla="*/ 27 h 232"/>
                <a:gd name="T64" fmla="*/ 32 w 161"/>
                <a:gd name="T65" fmla="*/ 29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61" h="232">
                  <a:moveTo>
                    <a:pt x="128" y="229"/>
                  </a:moveTo>
                  <a:cubicBezTo>
                    <a:pt x="82" y="130"/>
                    <a:pt x="82" y="130"/>
                    <a:pt x="82" y="130"/>
                  </a:cubicBezTo>
                  <a:cubicBezTo>
                    <a:pt x="82" y="130"/>
                    <a:pt x="81" y="129"/>
                    <a:pt x="81" y="129"/>
                  </a:cubicBezTo>
                  <a:cubicBezTo>
                    <a:pt x="33" y="129"/>
                    <a:pt x="33" y="129"/>
                    <a:pt x="33" y="129"/>
                  </a:cubicBezTo>
                  <a:cubicBezTo>
                    <a:pt x="32" y="129"/>
                    <a:pt x="32" y="130"/>
                    <a:pt x="32" y="131"/>
                  </a:cubicBezTo>
                  <a:cubicBezTo>
                    <a:pt x="32" y="228"/>
                    <a:pt x="32" y="228"/>
                    <a:pt x="32" y="228"/>
                  </a:cubicBezTo>
                  <a:cubicBezTo>
                    <a:pt x="32" y="231"/>
                    <a:pt x="31" y="232"/>
                    <a:pt x="29" y="232"/>
                  </a:cubicBezTo>
                  <a:cubicBezTo>
                    <a:pt x="4" y="232"/>
                    <a:pt x="4" y="232"/>
                    <a:pt x="4" y="232"/>
                  </a:cubicBezTo>
                  <a:cubicBezTo>
                    <a:pt x="1" y="232"/>
                    <a:pt x="0" y="231"/>
                    <a:pt x="0" y="229"/>
                  </a:cubicBezTo>
                  <a:cubicBezTo>
                    <a:pt x="0" y="3"/>
                    <a:pt x="0" y="3"/>
                    <a:pt x="0" y="3"/>
                  </a:cubicBezTo>
                  <a:cubicBezTo>
                    <a:pt x="0" y="1"/>
                    <a:pt x="1" y="0"/>
                    <a:pt x="3" y="0"/>
                  </a:cubicBezTo>
                  <a:cubicBezTo>
                    <a:pt x="93" y="0"/>
                    <a:pt x="93" y="0"/>
                    <a:pt x="93" y="0"/>
                  </a:cubicBezTo>
                  <a:cubicBezTo>
                    <a:pt x="106" y="0"/>
                    <a:pt x="117" y="3"/>
                    <a:pt x="127" y="8"/>
                  </a:cubicBezTo>
                  <a:cubicBezTo>
                    <a:pt x="137" y="14"/>
                    <a:pt x="145" y="21"/>
                    <a:pt x="151" y="31"/>
                  </a:cubicBezTo>
                  <a:cubicBezTo>
                    <a:pt x="156" y="41"/>
                    <a:pt x="159" y="53"/>
                    <a:pt x="159" y="66"/>
                  </a:cubicBezTo>
                  <a:cubicBezTo>
                    <a:pt x="159" y="81"/>
                    <a:pt x="155" y="94"/>
                    <a:pt x="147" y="105"/>
                  </a:cubicBezTo>
                  <a:cubicBezTo>
                    <a:pt x="138" y="116"/>
                    <a:pt x="127" y="123"/>
                    <a:pt x="113" y="127"/>
                  </a:cubicBezTo>
                  <a:cubicBezTo>
                    <a:pt x="113" y="127"/>
                    <a:pt x="112" y="128"/>
                    <a:pt x="113" y="128"/>
                  </a:cubicBezTo>
                  <a:cubicBezTo>
                    <a:pt x="161" y="228"/>
                    <a:pt x="161" y="228"/>
                    <a:pt x="161" y="228"/>
                  </a:cubicBezTo>
                  <a:cubicBezTo>
                    <a:pt x="161" y="228"/>
                    <a:pt x="161" y="229"/>
                    <a:pt x="161" y="229"/>
                  </a:cubicBezTo>
                  <a:cubicBezTo>
                    <a:pt x="161" y="231"/>
                    <a:pt x="160" y="232"/>
                    <a:pt x="159" y="232"/>
                  </a:cubicBezTo>
                  <a:cubicBezTo>
                    <a:pt x="132" y="232"/>
                    <a:pt x="132" y="232"/>
                    <a:pt x="132" y="232"/>
                  </a:cubicBezTo>
                  <a:cubicBezTo>
                    <a:pt x="130" y="232"/>
                    <a:pt x="129" y="231"/>
                    <a:pt x="128" y="229"/>
                  </a:cubicBezTo>
                  <a:moveTo>
                    <a:pt x="32" y="29"/>
                  </a:moveTo>
                  <a:cubicBezTo>
                    <a:pt x="32" y="103"/>
                    <a:pt x="32" y="103"/>
                    <a:pt x="32" y="103"/>
                  </a:cubicBezTo>
                  <a:cubicBezTo>
                    <a:pt x="32" y="104"/>
                    <a:pt x="32" y="104"/>
                    <a:pt x="33" y="104"/>
                  </a:cubicBezTo>
                  <a:cubicBezTo>
                    <a:pt x="88" y="104"/>
                    <a:pt x="88" y="104"/>
                    <a:pt x="88" y="104"/>
                  </a:cubicBezTo>
                  <a:cubicBezTo>
                    <a:pt x="100" y="104"/>
                    <a:pt x="109" y="101"/>
                    <a:pt x="117" y="94"/>
                  </a:cubicBezTo>
                  <a:cubicBezTo>
                    <a:pt x="124" y="87"/>
                    <a:pt x="127" y="78"/>
                    <a:pt x="127" y="66"/>
                  </a:cubicBezTo>
                  <a:cubicBezTo>
                    <a:pt x="127" y="55"/>
                    <a:pt x="124" y="45"/>
                    <a:pt x="117" y="38"/>
                  </a:cubicBezTo>
                  <a:cubicBezTo>
                    <a:pt x="109" y="31"/>
                    <a:pt x="100" y="27"/>
                    <a:pt x="88" y="27"/>
                  </a:cubicBezTo>
                  <a:cubicBezTo>
                    <a:pt x="33" y="27"/>
                    <a:pt x="33" y="27"/>
                    <a:pt x="33" y="27"/>
                  </a:cubicBezTo>
                  <a:cubicBezTo>
                    <a:pt x="32" y="27"/>
                    <a:pt x="32" y="28"/>
                    <a:pt x="32" y="29"/>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2" name="Freeform 24">
              <a:extLst>
                <a:ext uri="{FF2B5EF4-FFF2-40B4-BE49-F238E27FC236}">
                  <a16:creationId xmlns:a16="http://schemas.microsoft.com/office/drawing/2014/main" id="{026B12E2-60D2-DC3B-B919-2E309996BD92}"/>
                </a:ext>
              </a:extLst>
            </p:cNvPr>
            <p:cNvSpPr>
              <a:spLocks/>
            </p:cNvSpPr>
            <p:nvPr userDrawn="1"/>
          </p:nvSpPr>
          <p:spPr bwMode="auto">
            <a:xfrm>
              <a:off x="6560" y="2858"/>
              <a:ext cx="48" cy="73"/>
            </a:xfrm>
            <a:custGeom>
              <a:avLst/>
              <a:gdLst>
                <a:gd name="T0" fmla="*/ 150 w 153"/>
                <a:gd name="T1" fmla="*/ 27 h 232"/>
                <a:gd name="T2" fmla="*/ 33 w 153"/>
                <a:gd name="T3" fmla="*/ 27 h 232"/>
                <a:gd name="T4" fmla="*/ 31 w 153"/>
                <a:gd name="T5" fmla="*/ 29 h 232"/>
                <a:gd name="T6" fmla="*/ 31 w 153"/>
                <a:gd name="T7" fmla="*/ 100 h 232"/>
                <a:gd name="T8" fmla="*/ 33 w 153"/>
                <a:gd name="T9" fmla="*/ 101 h 232"/>
                <a:gd name="T10" fmla="*/ 113 w 153"/>
                <a:gd name="T11" fmla="*/ 101 h 232"/>
                <a:gd name="T12" fmla="*/ 117 w 153"/>
                <a:gd name="T13" fmla="*/ 104 h 232"/>
                <a:gd name="T14" fmla="*/ 117 w 153"/>
                <a:gd name="T15" fmla="*/ 125 h 232"/>
                <a:gd name="T16" fmla="*/ 113 w 153"/>
                <a:gd name="T17" fmla="*/ 129 h 232"/>
                <a:gd name="T18" fmla="*/ 33 w 153"/>
                <a:gd name="T19" fmla="*/ 129 h 232"/>
                <a:gd name="T20" fmla="*/ 31 w 153"/>
                <a:gd name="T21" fmla="*/ 130 h 232"/>
                <a:gd name="T22" fmla="*/ 31 w 153"/>
                <a:gd name="T23" fmla="*/ 203 h 232"/>
                <a:gd name="T24" fmla="*/ 33 w 153"/>
                <a:gd name="T25" fmla="*/ 204 h 232"/>
                <a:gd name="T26" fmla="*/ 150 w 153"/>
                <a:gd name="T27" fmla="*/ 204 h 232"/>
                <a:gd name="T28" fmla="*/ 153 w 153"/>
                <a:gd name="T29" fmla="*/ 207 h 232"/>
                <a:gd name="T30" fmla="*/ 153 w 153"/>
                <a:gd name="T31" fmla="*/ 228 h 232"/>
                <a:gd name="T32" fmla="*/ 150 w 153"/>
                <a:gd name="T33" fmla="*/ 232 h 232"/>
                <a:gd name="T34" fmla="*/ 3 w 153"/>
                <a:gd name="T35" fmla="*/ 232 h 232"/>
                <a:gd name="T36" fmla="*/ 0 w 153"/>
                <a:gd name="T37" fmla="*/ 228 h 232"/>
                <a:gd name="T38" fmla="*/ 0 w 153"/>
                <a:gd name="T39" fmla="*/ 3 h 232"/>
                <a:gd name="T40" fmla="*/ 3 w 153"/>
                <a:gd name="T41" fmla="*/ 0 h 232"/>
                <a:gd name="T42" fmla="*/ 150 w 153"/>
                <a:gd name="T43" fmla="*/ 0 h 232"/>
                <a:gd name="T44" fmla="*/ 153 w 153"/>
                <a:gd name="T45" fmla="*/ 3 h 232"/>
                <a:gd name="T46" fmla="*/ 153 w 153"/>
                <a:gd name="T47" fmla="*/ 24 h 232"/>
                <a:gd name="T48" fmla="*/ 150 w 153"/>
                <a:gd name="T49" fmla="*/ 27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3" h="232">
                  <a:moveTo>
                    <a:pt x="150" y="27"/>
                  </a:moveTo>
                  <a:cubicBezTo>
                    <a:pt x="33" y="27"/>
                    <a:pt x="33" y="27"/>
                    <a:pt x="33" y="27"/>
                  </a:cubicBezTo>
                  <a:cubicBezTo>
                    <a:pt x="32" y="27"/>
                    <a:pt x="31" y="28"/>
                    <a:pt x="31" y="29"/>
                  </a:cubicBezTo>
                  <a:cubicBezTo>
                    <a:pt x="31" y="100"/>
                    <a:pt x="31" y="100"/>
                    <a:pt x="31" y="100"/>
                  </a:cubicBezTo>
                  <a:cubicBezTo>
                    <a:pt x="31" y="101"/>
                    <a:pt x="32" y="101"/>
                    <a:pt x="33" y="101"/>
                  </a:cubicBezTo>
                  <a:cubicBezTo>
                    <a:pt x="113" y="101"/>
                    <a:pt x="113" y="101"/>
                    <a:pt x="113" y="101"/>
                  </a:cubicBezTo>
                  <a:cubicBezTo>
                    <a:pt x="115" y="101"/>
                    <a:pt x="117" y="102"/>
                    <a:pt x="117" y="104"/>
                  </a:cubicBezTo>
                  <a:cubicBezTo>
                    <a:pt x="117" y="125"/>
                    <a:pt x="117" y="125"/>
                    <a:pt x="117" y="125"/>
                  </a:cubicBezTo>
                  <a:cubicBezTo>
                    <a:pt x="117" y="128"/>
                    <a:pt x="115" y="129"/>
                    <a:pt x="113" y="129"/>
                  </a:cubicBezTo>
                  <a:cubicBezTo>
                    <a:pt x="33" y="129"/>
                    <a:pt x="33" y="129"/>
                    <a:pt x="33" y="129"/>
                  </a:cubicBezTo>
                  <a:cubicBezTo>
                    <a:pt x="32" y="129"/>
                    <a:pt x="31" y="129"/>
                    <a:pt x="31" y="130"/>
                  </a:cubicBezTo>
                  <a:cubicBezTo>
                    <a:pt x="31" y="203"/>
                    <a:pt x="31" y="203"/>
                    <a:pt x="31" y="203"/>
                  </a:cubicBezTo>
                  <a:cubicBezTo>
                    <a:pt x="31" y="204"/>
                    <a:pt x="32" y="204"/>
                    <a:pt x="33" y="204"/>
                  </a:cubicBezTo>
                  <a:cubicBezTo>
                    <a:pt x="150" y="204"/>
                    <a:pt x="150" y="204"/>
                    <a:pt x="150" y="204"/>
                  </a:cubicBezTo>
                  <a:cubicBezTo>
                    <a:pt x="152" y="204"/>
                    <a:pt x="153" y="205"/>
                    <a:pt x="153" y="207"/>
                  </a:cubicBezTo>
                  <a:cubicBezTo>
                    <a:pt x="153" y="228"/>
                    <a:pt x="153" y="228"/>
                    <a:pt x="153" y="228"/>
                  </a:cubicBezTo>
                  <a:cubicBezTo>
                    <a:pt x="153" y="231"/>
                    <a:pt x="152" y="232"/>
                    <a:pt x="150" y="232"/>
                  </a:cubicBezTo>
                  <a:cubicBezTo>
                    <a:pt x="3" y="232"/>
                    <a:pt x="3" y="232"/>
                    <a:pt x="3" y="232"/>
                  </a:cubicBezTo>
                  <a:cubicBezTo>
                    <a:pt x="1" y="232"/>
                    <a:pt x="0" y="231"/>
                    <a:pt x="0" y="228"/>
                  </a:cubicBezTo>
                  <a:cubicBezTo>
                    <a:pt x="0" y="3"/>
                    <a:pt x="0" y="3"/>
                    <a:pt x="0" y="3"/>
                  </a:cubicBezTo>
                  <a:cubicBezTo>
                    <a:pt x="0" y="1"/>
                    <a:pt x="1" y="0"/>
                    <a:pt x="3" y="0"/>
                  </a:cubicBezTo>
                  <a:cubicBezTo>
                    <a:pt x="150" y="0"/>
                    <a:pt x="150" y="0"/>
                    <a:pt x="150" y="0"/>
                  </a:cubicBezTo>
                  <a:cubicBezTo>
                    <a:pt x="152" y="0"/>
                    <a:pt x="153" y="1"/>
                    <a:pt x="153" y="3"/>
                  </a:cubicBezTo>
                  <a:cubicBezTo>
                    <a:pt x="153" y="24"/>
                    <a:pt x="153" y="24"/>
                    <a:pt x="153" y="24"/>
                  </a:cubicBezTo>
                  <a:cubicBezTo>
                    <a:pt x="153" y="26"/>
                    <a:pt x="152" y="27"/>
                    <a:pt x="150" y="27"/>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3" name="Freeform 25">
              <a:extLst>
                <a:ext uri="{FF2B5EF4-FFF2-40B4-BE49-F238E27FC236}">
                  <a16:creationId xmlns:a16="http://schemas.microsoft.com/office/drawing/2014/main" id="{376DE096-BB7B-3ABC-E843-D3169ECF7995}"/>
                </a:ext>
              </a:extLst>
            </p:cNvPr>
            <p:cNvSpPr>
              <a:spLocks noEditPoints="1"/>
            </p:cNvSpPr>
            <p:nvPr userDrawn="1"/>
          </p:nvSpPr>
          <p:spPr bwMode="auto">
            <a:xfrm>
              <a:off x="6614" y="2858"/>
              <a:ext cx="59" cy="73"/>
            </a:xfrm>
            <a:custGeom>
              <a:avLst/>
              <a:gdLst>
                <a:gd name="T0" fmla="*/ 154 w 188"/>
                <a:gd name="T1" fmla="*/ 229 h 232"/>
                <a:gd name="T2" fmla="*/ 142 w 188"/>
                <a:gd name="T3" fmla="*/ 190 h 232"/>
                <a:gd name="T4" fmla="*/ 141 w 188"/>
                <a:gd name="T5" fmla="*/ 189 h 232"/>
                <a:gd name="T6" fmla="*/ 47 w 188"/>
                <a:gd name="T7" fmla="*/ 189 h 232"/>
                <a:gd name="T8" fmla="*/ 46 w 188"/>
                <a:gd name="T9" fmla="*/ 190 h 232"/>
                <a:gd name="T10" fmla="*/ 34 w 188"/>
                <a:gd name="T11" fmla="*/ 229 h 232"/>
                <a:gd name="T12" fmla="*/ 30 w 188"/>
                <a:gd name="T13" fmla="*/ 232 h 232"/>
                <a:gd name="T14" fmla="*/ 3 w 188"/>
                <a:gd name="T15" fmla="*/ 232 h 232"/>
                <a:gd name="T16" fmla="*/ 1 w 188"/>
                <a:gd name="T17" fmla="*/ 228 h 232"/>
                <a:gd name="T18" fmla="*/ 73 w 188"/>
                <a:gd name="T19" fmla="*/ 2 h 232"/>
                <a:gd name="T20" fmla="*/ 77 w 188"/>
                <a:gd name="T21" fmla="*/ 0 h 232"/>
                <a:gd name="T22" fmla="*/ 110 w 188"/>
                <a:gd name="T23" fmla="*/ 0 h 232"/>
                <a:gd name="T24" fmla="*/ 114 w 188"/>
                <a:gd name="T25" fmla="*/ 2 h 232"/>
                <a:gd name="T26" fmla="*/ 187 w 188"/>
                <a:gd name="T27" fmla="*/ 228 h 232"/>
                <a:gd name="T28" fmla="*/ 188 w 188"/>
                <a:gd name="T29" fmla="*/ 229 h 232"/>
                <a:gd name="T30" fmla="*/ 185 w 188"/>
                <a:gd name="T31" fmla="*/ 232 h 232"/>
                <a:gd name="T32" fmla="*/ 158 w 188"/>
                <a:gd name="T33" fmla="*/ 232 h 232"/>
                <a:gd name="T34" fmla="*/ 154 w 188"/>
                <a:gd name="T35" fmla="*/ 229 h 232"/>
                <a:gd name="T36" fmla="*/ 55 w 188"/>
                <a:gd name="T37" fmla="*/ 164 h 232"/>
                <a:gd name="T38" fmla="*/ 56 w 188"/>
                <a:gd name="T39" fmla="*/ 164 h 232"/>
                <a:gd name="T40" fmla="*/ 132 w 188"/>
                <a:gd name="T41" fmla="*/ 164 h 232"/>
                <a:gd name="T42" fmla="*/ 133 w 188"/>
                <a:gd name="T43" fmla="*/ 163 h 232"/>
                <a:gd name="T44" fmla="*/ 133 w 188"/>
                <a:gd name="T45" fmla="*/ 162 h 232"/>
                <a:gd name="T46" fmla="*/ 95 w 188"/>
                <a:gd name="T47" fmla="*/ 40 h 232"/>
                <a:gd name="T48" fmla="*/ 94 w 188"/>
                <a:gd name="T49" fmla="*/ 39 h 232"/>
                <a:gd name="T50" fmla="*/ 93 w 188"/>
                <a:gd name="T51" fmla="*/ 40 h 232"/>
                <a:gd name="T52" fmla="*/ 55 w 188"/>
                <a:gd name="T53" fmla="*/ 162 h 232"/>
                <a:gd name="T54" fmla="*/ 55 w 188"/>
                <a:gd name="T55" fmla="*/ 164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88" h="232">
                  <a:moveTo>
                    <a:pt x="154" y="229"/>
                  </a:moveTo>
                  <a:cubicBezTo>
                    <a:pt x="142" y="190"/>
                    <a:pt x="142" y="190"/>
                    <a:pt x="142" y="190"/>
                  </a:cubicBezTo>
                  <a:cubicBezTo>
                    <a:pt x="142" y="189"/>
                    <a:pt x="141" y="189"/>
                    <a:pt x="141" y="189"/>
                  </a:cubicBezTo>
                  <a:cubicBezTo>
                    <a:pt x="47" y="189"/>
                    <a:pt x="47" y="189"/>
                    <a:pt x="47" y="189"/>
                  </a:cubicBezTo>
                  <a:cubicBezTo>
                    <a:pt x="47" y="189"/>
                    <a:pt x="46" y="190"/>
                    <a:pt x="46" y="190"/>
                  </a:cubicBezTo>
                  <a:cubicBezTo>
                    <a:pt x="34" y="229"/>
                    <a:pt x="34" y="229"/>
                    <a:pt x="34" y="229"/>
                  </a:cubicBezTo>
                  <a:cubicBezTo>
                    <a:pt x="33" y="231"/>
                    <a:pt x="32" y="232"/>
                    <a:pt x="30" y="232"/>
                  </a:cubicBezTo>
                  <a:cubicBezTo>
                    <a:pt x="3" y="232"/>
                    <a:pt x="3" y="232"/>
                    <a:pt x="3" y="232"/>
                  </a:cubicBezTo>
                  <a:cubicBezTo>
                    <a:pt x="1" y="232"/>
                    <a:pt x="0" y="230"/>
                    <a:pt x="1" y="228"/>
                  </a:cubicBezTo>
                  <a:cubicBezTo>
                    <a:pt x="73" y="2"/>
                    <a:pt x="73" y="2"/>
                    <a:pt x="73" y="2"/>
                  </a:cubicBezTo>
                  <a:cubicBezTo>
                    <a:pt x="74" y="1"/>
                    <a:pt x="75" y="0"/>
                    <a:pt x="77" y="0"/>
                  </a:cubicBezTo>
                  <a:cubicBezTo>
                    <a:pt x="110" y="0"/>
                    <a:pt x="110" y="0"/>
                    <a:pt x="110" y="0"/>
                  </a:cubicBezTo>
                  <a:cubicBezTo>
                    <a:pt x="112" y="0"/>
                    <a:pt x="114" y="1"/>
                    <a:pt x="114" y="2"/>
                  </a:cubicBezTo>
                  <a:cubicBezTo>
                    <a:pt x="187" y="228"/>
                    <a:pt x="187" y="228"/>
                    <a:pt x="187" y="228"/>
                  </a:cubicBezTo>
                  <a:cubicBezTo>
                    <a:pt x="188" y="229"/>
                    <a:pt x="188" y="229"/>
                    <a:pt x="188" y="229"/>
                  </a:cubicBezTo>
                  <a:cubicBezTo>
                    <a:pt x="188" y="231"/>
                    <a:pt x="187" y="232"/>
                    <a:pt x="185" y="232"/>
                  </a:cubicBezTo>
                  <a:cubicBezTo>
                    <a:pt x="158" y="232"/>
                    <a:pt x="158" y="232"/>
                    <a:pt x="158" y="232"/>
                  </a:cubicBezTo>
                  <a:cubicBezTo>
                    <a:pt x="156" y="232"/>
                    <a:pt x="155" y="231"/>
                    <a:pt x="154" y="229"/>
                  </a:cubicBezTo>
                  <a:moveTo>
                    <a:pt x="55" y="164"/>
                  </a:moveTo>
                  <a:cubicBezTo>
                    <a:pt x="55" y="164"/>
                    <a:pt x="55" y="164"/>
                    <a:pt x="56" y="164"/>
                  </a:cubicBezTo>
                  <a:cubicBezTo>
                    <a:pt x="132" y="164"/>
                    <a:pt x="132" y="164"/>
                    <a:pt x="132" y="164"/>
                  </a:cubicBezTo>
                  <a:cubicBezTo>
                    <a:pt x="132" y="164"/>
                    <a:pt x="133" y="164"/>
                    <a:pt x="133" y="163"/>
                  </a:cubicBezTo>
                  <a:cubicBezTo>
                    <a:pt x="134" y="163"/>
                    <a:pt x="134" y="163"/>
                    <a:pt x="133" y="162"/>
                  </a:cubicBezTo>
                  <a:cubicBezTo>
                    <a:pt x="95" y="40"/>
                    <a:pt x="95" y="40"/>
                    <a:pt x="95" y="40"/>
                  </a:cubicBezTo>
                  <a:cubicBezTo>
                    <a:pt x="94" y="39"/>
                    <a:pt x="94" y="39"/>
                    <a:pt x="94" y="39"/>
                  </a:cubicBezTo>
                  <a:cubicBezTo>
                    <a:pt x="93" y="39"/>
                    <a:pt x="93" y="39"/>
                    <a:pt x="93" y="40"/>
                  </a:cubicBezTo>
                  <a:cubicBezTo>
                    <a:pt x="55" y="162"/>
                    <a:pt x="55" y="162"/>
                    <a:pt x="55" y="162"/>
                  </a:cubicBezTo>
                  <a:cubicBezTo>
                    <a:pt x="54" y="163"/>
                    <a:pt x="54" y="163"/>
                    <a:pt x="55" y="164"/>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4" name="Freeform 26">
              <a:extLst>
                <a:ext uri="{FF2B5EF4-FFF2-40B4-BE49-F238E27FC236}">
                  <a16:creationId xmlns:a16="http://schemas.microsoft.com/office/drawing/2014/main" id="{C344B7F5-81F9-6F00-CE27-85562A3CF2A8}"/>
                </a:ext>
              </a:extLst>
            </p:cNvPr>
            <p:cNvSpPr>
              <a:spLocks/>
            </p:cNvSpPr>
            <p:nvPr userDrawn="1"/>
          </p:nvSpPr>
          <p:spPr bwMode="auto">
            <a:xfrm>
              <a:off x="6668" y="2858"/>
              <a:ext cx="52" cy="73"/>
            </a:xfrm>
            <a:custGeom>
              <a:avLst/>
              <a:gdLst>
                <a:gd name="T0" fmla="*/ 165 w 165"/>
                <a:gd name="T1" fmla="*/ 3 h 232"/>
                <a:gd name="T2" fmla="*/ 165 w 165"/>
                <a:gd name="T3" fmla="*/ 24 h 232"/>
                <a:gd name="T4" fmla="*/ 161 w 165"/>
                <a:gd name="T5" fmla="*/ 27 h 232"/>
                <a:gd name="T6" fmla="*/ 98 w 165"/>
                <a:gd name="T7" fmla="*/ 27 h 232"/>
                <a:gd name="T8" fmla="*/ 97 w 165"/>
                <a:gd name="T9" fmla="*/ 29 h 232"/>
                <a:gd name="T10" fmla="*/ 97 w 165"/>
                <a:gd name="T11" fmla="*/ 228 h 232"/>
                <a:gd name="T12" fmla="*/ 94 w 165"/>
                <a:gd name="T13" fmla="*/ 231 h 232"/>
                <a:gd name="T14" fmla="*/ 68 w 165"/>
                <a:gd name="T15" fmla="*/ 232 h 232"/>
                <a:gd name="T16" fmla="*/ 65 w 165"/>
                <a:gd name="T17" fmla="*/ 228 h 232"/>
                <a:gd name="T18" fmla="*/ 65 w 165"/>
                <a:gd name="T19" fmla="*/ 29 h 232"/>
                <a:gd name="T20" fmla="*/ 64 w 165"/>
                <a:gd name="T21" fmla="*/ 27 h 232"/>
                <a:gd name="T22" fmla="*/ 3 w 165"/>
                <a:gd name="T23" fmla="*/ 27 h 232"/>
                <a:gd name="T24" fmla="*/ 0 w 165"/>
                <a:gd name="T25" fmla="*/ 24 h 232"/>
                <a:gd name="T26" fmla="*/ 0 w 165"/>
                <a:gd name="T27" fmla="*/ 3 h 232"/>
                <a:gd name="T28" fmla="*/ 3 w 165"/>
                <a:gd name="T29" fmla="*/ 0 h 232"/>
                <a:gd name="T30" fmla="*/ 161 w 165"/>
                <a:gd name="T31" fmla="*/ 0 h 232"/>
                <a:gd name="T32" fmla="*/ 165 w 165"/>
                <a:gd name="T33" fmla="*/ 3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5" h="232">
                  <a:moveTo>
                    <a:pt x="165" y="3"/>
                  </a:moveTo>
                  <a:cubicBezTo>
                    <a:pt x="165" y="24"/>
                    <a:pt x="165" y="24"/>
                    <a:pt x="165" y="24"/>
                  </a:cubicBezTo>
                  <a:cubicBezTo>
                    <a:pt x="165" y="26"/>
                    <a:pt x="164" y="27"/>
                    <a:pt x="161" y="27"/>
                  </a:cubicBezTo>
                  <a:cubicBezTo>
                    <a:pt x="98" y="27"/>
                    <a:pt x="98" y="27"/>
                    <a:pt x="98" y="27"/>
                  </a:cubicBezTo>
                  <a:cubicBezTo>
                    <a:pt x="97" y="27"/>
                    <a:pt x="97" y="28"/>
                    <a:pt x="97" y="29"/>
                  </a:cubicBezTo>
                  <a:cubicBezTo>
                    <a:pt x="97" y="228"/>
                    <a:pt x="97" y="228"/>
                    <a:pt x="97" y="228"/>
                  </a:cubicBezTo>
                  <a:cubicBezTo>
                    <a:pt x="97" y="230"/>
                    <a:pt x="96" y="231"/>
                    <a:pt x="94" y="231"/>
                  </a:cubicBezTo>
                  <a:cubicBezTo>
                    <a:pt x="68" y="232"/>
                    <a:pt x="68" y="232"/>
                    <a:pt x="68" y="232"/>
                  </a:cubicBezTo>
                  <a:cubicBezTo>
                    <a:pt x="66" y="232"/>
                    <a:pt x="65" y="230"/>
                    <a:pt x="65" y="228"/>
                  </a:cubicBezTo>
                  <a:cubicBezTo>
                    <a:pt x="65" y="29"/>
                    <a:pt x="65" y="29"/>
                    <a:pt x="65" y="29"/>
                  </a:cubicBezTo>
                  <a:cubicBezTo>
                    <a:pt x="65" y="28"/>
                    <a:pt x="65" y="27"/>
                    <a:pt x="64" y="27"/>
                  </a:cubicBezTo>
                  <a:cubicBezTo>
                    <a:pt x="3" y="27"/>
                    <a:pt x="3" y="27"/>
                    <a:pt x="3" y="27"/>
                  </a:cubicBezTo>
                  <a:cubicBezTo>
                    <a:pt x="1" y="27"/>
                    <a:pt x="0" y="26"/>
                    <a:pt x="0" y="24"/>
                  </a:cubicBezTo>
                  <a:cubicBezTo>
                    <a:pt x="0" y="3"/>
                    <a:pt x="0" y="3"/>
                    <a:pt x="0" y="3"/>
                  </a:cubicBezTo>
                  <a:cubicBezTo>
                    <a:pt x="0" y="1"/>
                    <a:pt x="1" y="0"/>
                    <a:pt x="3" y="0"/>
                  </a:cubicBezTo>
                  <a:cubicBezTo>
                    <a:pt x="161" y="0"/>
                    <a:pt x="161" y="0"/>
                    <a:pt x="161" y="0"/>
                  </a:cubicBezTo>
                  <a:cubicBezTo>
                    <a:pt x="164" y="0"/>
                    <a:pt x="165" y="1"/>
                    <a:pt x="165" y="3"/>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5" name="Freeform 27">
              <a:extLst>
                <a:ext uri="{FF2B5EF4-FFF2-40B4-BE49-F238E27FC236}">
                  <a16:creationId xmlns:a16="http://schemas.microsoft.com/office/drawing/2014/main" id="{7AD2DBD2-47E3-97A8-8381-4A73578E9FBF}"/>
                </a:ext>
              </a:extLst>
            </p:cNvPr>
            <p:cNvSpPr>
              <a:spLocks/>
            </p:cNvSpPr>
            <p:nvPr userDrawn="1"/>
          </p:nvSpPr>
          <p:spPr bwMode="auto">
            <a:xfrm>
              <a:off x="6730" y="2858"/>
              <a:ext cx="10" cy="72"/>
            </a:xfrm>
            <a:custGeom>
              <a:avLst/>
              <a:gdLst>
                <a:gd name="T0" fmla="*/ 4 w 32"/>
                <a:gd name="T1" fmla="*/ 0 h 231"/>
                <a:gd name="T2" fmla="*/ 29 w 32"/>
                <a:gd name="T3" fmla="*/ 0 h 231"/>
                <a:gd name="T4" fmla="*/ 32 w 32"/>
                <a:gd name="T5" fmla="*/ 3 h 231"/>
                <a:gd name="T6" fmla="*/ 32 w 32"/>
                <a:gd name="T7" fmla="*/ 228 h 231"/>
                <a:gd name="T8" fmla="*/ 29 w 32"/>
                <a:gd name="T9" fmla="*/ 231 h 231"/>
                <a:gd name="T10" fmla="*/ 4 w 32"/>
                <a:gd name="T11" fmla="*/ 231 h 231"/>
                <a:gd name="T12" fmla="*/ 1 w 32"/>
                <a:gd name="T13" fmla="*/ 228 h 231"/>
                <a:gd name="T14" fmla="*/ 0 w 32"/>
                <a:gd name="T15" fmla="*/ 3 h 231"/>
                <a:gd name="T16" fmla="*/ 4 w 32"/>
                <a:gd name="T17" fmla="*/ 0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231">
                  <a:moveTo>
                    <a:pt x="4" y="0"/>
                  </a:moveTo>
                  <a:cubicBezTo>
                    <a:pt x="29" y="0"/>
                    <a:pt x="29" y="0"/>
                    <a:pt x="29" y="0"/>
                  </a:cubicBezTo>
                  <a:cubicBezTo>
                    <a:pt x="31" y="0"/>
                    <a:pt x="32" y="1"/>
                    <a:pt x="32" y="3"/>
                  </a:cubicBezTo>
                  <a:cubicBezTo>
                    <a:pt x="32" y="228"/>
                    <a:pt x="32" y="228"/>
                    <a:pt x="32" y="228"/>
                  </a:cubicBezTo>
                  <a:cubicBezTo>
                    <a:pt x="32" y="230"/>
                    <a:pt x="31" y="231"/>
                    <a:pt x="29" y="231"/>
                  </a:cubicBezTo>
                  <a:cubicBezTo>
                    <a:pt x="4" y="231"/>
                    <a:pt x="4" y="231"/>
                    <a:pt x="4" y="231"/>
                  </a:cubicBezTo>
                  <a:cubicBezTo>
                    <a:pt x="2" y="231"/>
                    <a:pt x="1" y="230"/>
                    <a:pt x="1" y="228"/>
                  </a:cubicBezTo>
                  <a:cubicBezTo>
                    <a:pt x="0" y="3"/>
                    <a:pt x="0" y="3"/>
                    <a:pt x="0" y="3"/>
                  </a:cubicBezTo>
                  <a:cubicBezTo>
                    <a:pt x="0" y="1"/>
                    <a:pt x="2" y="0"/>
                    <a:pt x="4" y="0"/>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6" name="Freeform 28">
              <a:extLst>
                <a:ext uri="{FF2B5EF4-FFF2-40B4-BE49-F238E27FC236}">
                  <a16:creationId xmlns:a16="http://schemas.microsoft.com/office/drawing/2014/main" id="{982EE4EE-6504-B876-6F12-3A5BCF3A274E}"/>
                </a:ext>
              </a:extLst>
            </p:cNvPr>
            <p:cNvSpPr>
              <a:spLocks/>
            </p:cNvSpPr>
            <p:nvPr userDrawn="1"/>
          </p:nvSpPr>
          <p:spPr bwMode="auto">
            <a:xfrm>
              <a:off x="6756" y="2858"/>
              <a:ext cx="52" cy="72"/>
            </a:xfrm>
            <a:custGeom>
              <a:avLst/>
              <a:gdLst>
                <a:gd name="T0" fmla="*/ 140 w 168"/>
                <a:gd name="T1" fmla="*/ 0 h 232"/>
                <a:gd name="T2" fmla="*/ 165 w 168"/>
                <a:gd name="T3" fmla="*/ 0 h 232"/>
                <a:gd name="T4" fmla="*/ 168 w 168"/>
                <a:gd name="T5" fmla="*/ 4 h 232"/>
                <a:gd name="T6" fmla="*/ 168 w 168"/>
                <a:gd name="T7" fmla="*/ 229 h 232"/>
                <a:gd name="T8" fmla="*/ 165 w 168"/>
                <a:gd name="T9" fmla="*/ 232 h 232"/>
                <a:gd name="T10" fmla="*/ 141 w 168"/>
                <a:gd name="T11" fmla="*/ 232 h 232"/>
                <a:gd name="T12" fmla="*/ 137 w 168"/>
                <a:gd name="T13" fmla="*/ 230 h 232"/>
                <a:gd name="T14" fmla="*/ 33 w 168"/>
                <a:gd name="T15" fmla="*/ 61 h 232"/>
                <a:gd name="T16" fmla="*/ 32 w 168"/>
                <a:gd name="T17" fmla="*/ 60 h 232"/>
                <a:gd name="T18" fmla="*/ 31 w 168"/>
                <a:gd name="T19" fmla="*/ 61 h 232"/>
                <a:gd name="T20" fmla="*/ 32 w 168"/>
                <a:gd name="T21" fmla="*/ 229 h 232"/>
                <a:gd name="T22" fmla="*/ 29 w 168"/>
                <a:gd name="T23" fmla="*/ 232 h 232"/>
                <a:gd name="T24" fmla="*/ 3 w 168"/>
                <a:gd name="T25" fmla="*/ 232 h 232"/>
                <a:gd name="T26" fmla="*/ 0 w 168"/>
                <a:gd name="T27" fmla="*/ 229 h 232"/>
                <a:gd name="T28" fmla="*/ 0 w 168"/>
                <a:gd name="T29" fmla="*/ 4 h 232"/>
                <a:gd name="T30" fmla="*/ 3 w 168"/>
                <a:gd name="T31" fmla="*/ 1 h 232"/>
                <a:gd name="T32" fmla="*/ 28 w 168"/>
                <a:gd name="T33" fmla="*/ 0 h 232"/>
                <a:gd name="T34" fmla="*/ 32 w 168"/>
                <a:gd name="T35" fmla="*/ 3 h 232"/>
                <a:gd name="T36" fmla="*/ 135 w 168"/>
                <a:gd name="T37" fmla="*/ 172 h 232"/>
                <a:gd name="T38" fmla="*/ 136 w 168"/>
                <a:gd name="T39" fmla="*/ 173 h 232"/>
                <a:gd name="T40" fmla="*/ 137 w 168"/>
                <a:gd name="T41" fmla="*/ 172 h 232"/>
                <a:gd name="T42" fmla="*/ 136 w 168"/>
                <a:gd name="T43" fmla="*/ 4 h 232"/>
                <a:gd name="T44" fmla="*/ 140 w 168"/>
                <a:gd name="T45" fmla="*/ 0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8" h="232">
                  <a:moveTo>
                    <a:pt x="140" y="0"/>
                  </a:moveTo>
                  <a:cubicBezTo>
                    <a:pt x="165" y="0"/>
                    <a:pt x="165" y="0"/>
                    <a:pt x="165" y="0"/>
                  </a:cubicBezTo>
                  <a:cubicBezTo>
                    <a:pt x="167" y="0"/>
                    <a:pt x="168" y="2"/>
                    <a:pt x="168" y="4"/>
                  </a:cubicBezTo>
                  <a:cubicBezTo>
                    <a:pt x="168" y="229"/>
                    <a:pt x="168" y="229"/>
                    <a:pt x="168" y="229"/>
                  </a:cubicBezTo>
                  <a:cubicBezTo>
                    <a:pt x="168" y="231"/>
                    <a:pt x="167" y="232"/>
                    <a:pt x="165" y="232"/>
                  </a:cubicBezTo>
                  <a:cubicBezTo>
                    <a:pt x="141" y="232"/>
                    <a:pt x="141" y="232"/>
                    <a:pt x="141" y="232"/>
                  </a:cubicBezTo>
                  <a:cubicBezTo>
                    <a:pt x="139" y="232"/>
                    <a:pt x="138" y="232"/>
                    <a:pt x="137" y="230"/>
                  </a:cubicBezTo>
                  <a:cubicBezTo>
                    <a:pt x="33" y="61"/>
                    <a:pt x="33" y="61"/>
                    <a:pt x="33" y="61"/>
                  </a:cubicBezTo>
                  <a:cubicBezTo>
                    <a:pt x="33" y="60"/>
                    <a:pt x="32" y="60"/>
                    <a:pt x="32" y="60"/>
                  </a:cubicBezTo>
                  <a:cubicBezTo>
                    <a:pt x="32" y="60"/>
                    <a:pt x="31" y="60"/>
                    <a:pt x="31" y="61"/>
                  </a:cubicBezTo>
                  <a:cubicBezTo>
                    <a:pt x="32" y="229"/>
                    <a:pt x="32" y="229"/>
                    <a:pt x="32" y="229"/>
                  </a:cubicBezTo>
                  <a:cubicBezTo>
                    <a:pt x="32" y="231"/>
                    <a:pt x="31" y="232"/>
                    <a:pt x="29" y="232"/>
                  </a:cubicBezTo>
                  <a:cubicBezTo>
                    <a:pt x="3" y="232"/>
                    <a:pt x="3" y="232"/>
                    <a:pt x="3" y="232"/>
                  </a:cubicBezTo>
                  <a:cubicBezTo>
                    <a:pt x="1" y="232"/>
                    <a:pt x="0" y="231"/>
                    <a:pt x="0" y="229"/>
                  </a:cubicBezTo>
                  <a:cubicBezTo>
                    <a:pt x="0" y="4"/>
                    <a:pt x="0" y="4"/>
                    <a:pt x="0" y="4"/>
                  </a:cubicBezTo>
                  <a:cubicBezTo>
                    <a:pt x="0" y="2"/>
                    <a:pt x="1" y="1"/>
                    <a:pt x="3" y="1"/>
                  </a:cubicBezTo>
                  <a:cubicBezTo>
                    <a:pt x="28" y="0"/>
                    <a:pt x="28" y="0"/>
                    <a:pt x="28" y="0"/>
                  </a:cubicBezTo>
                  <a:cubicBezTo>
                    <a:pt x="29" y="0"/>
                    <a:pt x="31" y="1"/>
                    <a:pt x="32" y="3"/>
                  </a:cubicBezTo>
                  <a:cubicBezTo>
                    <a:pt x="135" y="172"/>
                    <a:pt x="135" y="172"/>
                    <a:pt x="135" y="172"/>
                  </a:cubicBezTo>
                  <a:cubicBezTo>
                    <a:pt x="135" y="173"/>
                    <a:pt x="136" y="173"/>
                    <a:pt x="136" y="173"/>
                  </a:cubicBezTo>
                  <a:cubicBezTo>
                    <a:pt x="137" y="173"/>
                    <a:pt x="137" y="172"/>
                    <a:pt x="137" y="172"/>
                  </a:cubicBezTo>
                  <a:cubicBezTo>
                    <a:pt x="136" y="4"/>
                    <a:pt x="136" y="4"/>
                    <a:pt x="136" y="4"/>
                  </a:cubicBezTo>
                  <a:cubicBezTo>
                    <a:pt x="136" y="2"/>
                    <a:pt x="137" y="0"/>
                    <a:pt x="140" y="0"/>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7" name="Freeform 29">
              <a:extLst>
                <a:ext uri="{FF2B5EF4-FFF2-40B4-BE49-F238E27FC236}">
                  <a16:creationId xmlns:a16="http://schemas.microsoft.com/office/drawing/2014/main" id="{55215320-4BF3-A1A4-CFE6-7F3C6A71B5AD}"/>
                </a:ext>
              </a:extLst>
            </p:cNvPr>
            <p:cNvSpPr>
              <a:spLocks/>
            </p:cNvSpPr>
            <p:nvPr userDrawn="1"/>
          </p:nvSpPr>
          <p:spPr bwMode="auto">
            <a:xfrm>
              <a:off x="6822" y="2857"/>
              <a:ext cx="50" cy="74"/>
            </a:xfrm>
            <a:custGeom>
              <a:avLst/>
              <a:gdLst>
                <a:gd name="T0" fmla="*/ 38 w 161"/>
                <a:gd name="T1" fmla="*/ 227 h 237"/>
                <a:gd name="T2" fmla="*/ 10 w 161"/>
                <a:gd name="T3" fmla="*/ 201 h 237"/>
                <a:gd name="T4" fmla="*/ 0 w 161"/>
                <a:gd name="T5" fmla="*/ 161 h 237"/>
                <a:gd name="T6" fmla="*/ 0 w 161"/>
                <a:gd name="T7" fmla="*/ 76 h 237"/>
                <a:gd name="T8" fmla="*/ 10 w 161"/>
                <a:gd name="T9" fmla="*/ 36 h 237"/>
                <a:gd name="T10" fmla="*/ 38 w 161"/>
                <a:gd name="T11" fmla="*/ 9 h 237"/>
                <a:gd name="T12" fmla="*/ 80 w 161"/>
                <a:gd name="T13" fmla="*/ 0 h 237"/>
                <a:gd name="T14" fmla="*/ 122 w 161"/>
                <a:gd name="T15" fmla="*/ 9 h 237"/>
                <a:gd name="T16" fmla="*/ 151 w 161"/>
                <a:gd name="T17" fmla="*/ 35 h 237"/>
                <a:gd name="T18" fmla="*/ 161 w 161"/>
                <a:gd name="T19" fmla="*/ 72 h 237"/>
                <a:gd name="T20" fmla="*/ 161 w 161"/>
                <a:gd name="T21" fmla="*/ 75 h 237"/>
                <a:gd name="T22" fmla="*/ 157 w 161"/>
                <a:gd name="T23" fmla="*/ 78 h 237"/>
                <a:gd name="T24" fmla="*/ 132 w 161"/>
                <a:gd name="T25" fmla="*/ 79 h 237"/>
                <a:gd name="T26" fmla="*/ 129 w 161"/>
                <a:gd name="T27" fmla="*/ 75 h 237"/>
                <a:gd name="T28" fmla="*/ 129 w 161"/>
                <a:gd name="T29" fmla="*/ 72 h 237"/>
                <a:gd name="T30" fmla="*/ 116 w 161"/>
                <a:gd name="T31" fmla="*/ 40 h 237"/>
                <a:gd name="T32" fmla="*/ 80 w 161"/>
                <a:gd name="T33" fmla="*/ 28 h 237"/>
                <a:gd name="T34" fmla="*/ 45 w 161"/>
                <a:gd name="T35" fmla="*/ 40 h 237"/>
                <a:gd name="T36" fmla="*/ 31 w 161"/>
                <a:gd name="T37" fmla="*/ 75 h 237"/>
                <a:gd name="T38" fmla="*/ 31 w 161"/>
                <a:gd name="T39" fmla="*/ 162 h 237"/>
                <a:gd name="T40" fmla="*/ 45 w 161"/>
                <a:gd name="T41" fmla="*/ 196 h 237"/>
                <a:gd name="T42" fmla="*/ 81 w 161"/>
                <a:gd name="T43" fmla="*/ 209 h 237"/>
                <a:gd name="T44" fmla="*/ 116 w 161"/>
                <a:gd name="T45" fmla="*/ 198 h 237"/>
                <a:gd name="T46" fmla="*/ 129 w 161"/>
                <a:gd name="T47" fmla="*/ 166 h 237"/>
                <a:gd name="T48" fmla="*/ 129 w 161"/>
                <a:gd name="T49" fmla="*/ 141 h 237"/>
                <a:gd name="T50" fmla="*/ 127 w 161"/>
                <a:gd name="T51" fmla="*/ 139 h 237"/>
                <a:gd name="T52" fmla="*/ 83 w 161"/>
                <a:gd name="T53" fmla="*/ 139 h 237"/>
                <a:gd name="T54" fmla="*/ 79 w 161"/>
                <a:gd name="T55" fmla="*/ 136 h 237"/>
                <a:gd name="T56" fmla="*/ 79 w 161"/>
                <a:gd name="T57" fmla="*/ 116 h 237"/>
                <a:gd name="T58" fmla="*/ 83 w 161"/>
                <a:gd name="T59" fmla="*/ 112 h 237"/>
                <a:gd name="T60" fmla="*/ 157 w 161"/>
                <a:gd name="T61" fmla="*/ 112 h 237"/>
                <a:gd name="T62" fmla="*/ 161 w 161"/>
                <a:gd name="T63" fmla="*/ 116 h 237"/>
                <a:gd name="T64" fmla="*/ 161 w 161"/>
                <a:gd name="T65" fmla="*/ 158 h 237"/>
                <a:gd name="T66" fmla="*/ 139 w 161"/>
                <a:gd name="T67" fmla="*/ 216 h 237"/>
                <a:gd name="T68" fmla="*/ 81 w 161"/>
                <a:gd name="T69" fmla="*/ 237 h 237"/>
                <a:gd name="T70" fmla="*/ 38 w 161"/>
                <a:gd name="T71" fmla="*/ 227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61" h="237">
                  <a:moveTo>
                    <a:pt x="38" y="227"/>
                  </a:moveTo>
                  <a:cubicBezTo>
                    <a:pt x="26" y="221"/>
                    <a:pt x="17" y="212"/>
                    <a:pt x="10" y="201"/>
                  </a:cubicBezTo>
                  <a:cubicBezTo>
                    <a:pt x="3" y="189"/>
                    <a:pt x="0" y="176"/>
                    <a:pt x="0" y="161"/>
                  </a:cubicBezTo>
                  <a:cubicBezTo>
                    <a:pt x="0" y="76"/>
                    <a:pt x="0" y="76"/>
                    <a:pt x="0" y="76"/>
                  </a:cubicBezTo>
                  <a:cubicBezTo>
                    <a:pt x="0" y="61"/>
                    <a:pt x="3" y="47"/>
                    <a:pt x="10" y="36"/>
                  </a:cubicBezTo>
                  <a:cubicBezTo>
                    <a:pt x="16" y="24"/>
                    <a:pt x="26" y="15"/>
                    <a:pt x="38" y="9"/>
                  </a:cubicBezTo>
                  <a:cubicBezTo>
                    <a:pt x="50" y="3"/>
                    <a:pt x="64" y="0"/>
                    <a:pt x="80" y="0"/>
                  </a:cubicBezTo>
                  <a:cubicBezTo>
                    <a:pt x="96" y="0"/>
                    <a:pt x="110" y="3"/>
                    <a:pt x="122" y="9"/>
                  </a:cubicBezTo>
                  <a:cubicBezTo>
                    <a:pt x="135" y="15"/>
                    <a:pt x="144" y="24"/>
                    <a:pt x="151" y="35"/>
                  </a:cubicBezTo>
                  <a:cubicBezTo>
                    <a:pt x="157" y="46"/>
                    <a:pt x="161" y="58"/>
                    <a:pt x="161" y="72"/>
                  </a:cubicBezTo>
                  <a:cubicBezTo>
                    <a:pt x="161" y="75"/>
                    <a:pt x="161" y="75"/>
                    <a:pt x="161" y="75"/>
                  </a:cubicBezTo>
                  <a:cubicBezTo>
                    <a:pt x="161" y="77"/>
                    <a:pt x="159" y="78"/>
                    <a:pt x="157" y="78"/>
                  </a:cubicBezTo>
                  <a:cubicBezTo>
                    <a:pt x="132" y="79"/>
                    <a:pt x="132" y="79"/>
                    <a:pt x="132" y="79"/>
                  </a:cubicBezTo>
                  <a:cubicBezTo>
                    <a:pt x="130" y="79"/>
                    <a:pt x="129" y="77"/>
                    <a:pt x="129" y="75"/>
                  </a:cubicBezTo>
                  <a:cubicBezTo>
                    <a:pt x="129" y="72"/>
                    <a:pt x="129" y="72"/>
                    <a:pt x="129" y="72"/>
                  </a:cubicBezTo>
                  <a:cubicBezTo>
                    <a:pt x="129" y="59"/>
                    <a:pt x="124" y="48"/>
                    <a:pt x="116" y="40"/>
                  </a:cubicBezTo>
                  <a:cubicBezTo>
                    <a:pt x="107" y="32"/>
                    <a:pt x="95" y="28"/>
                    <a:pt x="80" y="28"/>
                  </a:cubicBezTo>
                  <a:cubicBezTo>
                    <a:pt x="66" y="28"/>
                    <a:pt x="54" y="32"/>
                    <a:pt x="45" y="40"/>
                  </a:cubicBezTo>
                  <a:cubicBezTo>
                    <a:pt x="36" y="49"/>
                    <a:pt x="31" y="61"/>
                    <a:pt x="31" y="75"/>
                  </a:cubicBezTo>
                  <a:cubicBezTo>
                    <a:pt x="31" y="162"/>
                    <a:pt x="31" y="162"/>
                    <a:pt x="31" y="162"/>
                  </a:cubicBezTo>
                  <a:cubicBezTo>
                    <a:pt x="31" y="176"/>
                    <a:pt x="36" y="188"/>
                    <a:pt x="45" y="196"/>
                  </a:cubicBezTo>
                  <a:cubicBezTo>
                    <a:pt x="55" y="205"/>
                    <a:pt x="67" y="209"/>
                    <a:pt x="81" y="209"/>
                  </a:cubicBezTo>
                  <a:cubicBezTo>
                    <a:pt x="96" y="209"/>
                    <a:pt x="108" y="205"/>
                    <a:pt x="116" y="198"/>
                  </a:cubicBezTo>
                  <a:cubicBezTo>
                    <a:pt x="125" y="190"/>
                    <a:pt x="129" y="180"/>
                    <a:pt x="129" y="166"/>
                  </a:cubicBezTo>
                  <a:cubicBezTo>
                    <a:pt x="129" y="141"/>
                    <a:pt x="129" y="141"/>
                    <a:pt x="129" y="141"/>
                  </a:cubicBezTo>
                  <a:cubicBezTo>
                    <a:pt x="129" y="140"/>
                    <a:pt x="128" y="139"/>
                    <a:pt x="127" y="139"/>
                  </a:cubicBezTo>
                  <a:cubicBezTo>
                    <a:pt x="83" y="139"/>
                    <a:pt x="83" y="139"/>
                    <a:pt x="83" y="139"/>
                  </a:cubicBezTo>
                  <a:cubicBezTo>
                    <a:pt x="81" y="139"/>
                    <a:pt x="79" y="138"/>
                    <a:pt x="79" y="136"/>
                  </a:cubicBezTo>
                  <a:cubicBezTo>
                    <a:pt x="79" y="116"/>
                    <a:pt x="79" y="116"/>
                    <a:pt x="79" y="116"/>
                  </a:cubicBezTo>
                  <a:cubicBezTo>
                    <a:pt x="79" y="113"/>
                    <a:pt x="81" y="112"/>
                    <a:pt x="83" y="112"/>
                  </a:cubicBezTo>
                  <a:cubicBezTo>
                    <a:pt x="157" y="112"/>
                    <a:pt x="157" y="112"/>
                    <a:pt x="157" y="112"/>
                  </a:cubicBezTo>
                  <a:cubicBezTo>
                    <a:pt x="160" y="112"/>
                    <a:pt x="161" y="113"/>
                    <a:pt x="161" y="116"/>
                  </a:cubicBezTo>
                  <a:cubicBezTo>
                    <a:pt x="161" y="158"/>
                    <a:pt x="161" y="158"/>
                    <a:pt x="161" y="158"/>
                  </a:cubicBezTo>
                  <a:cubicBezTo>
                    <a:pt x="161" y="183"/>
                    <a:pt x="153" y="203"/>
                    <a:pt x="139" y="216"/>
                  </a:cubicBezTo>
                  <a:cubicBezTo>
                    <a:pt x="125" y="230"/>
                    <a:pt x="105" y="237"/>
                    <a:pt x="81" y="237"/>
                  </a:cubicBezTo>
                  <a:cubicBezTo>
                    <a:pt x="64" y="237"/>
                    <a:pt x="50" y="234"/>
                    <a:pt x="38" y="227"/>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8" name="Freeform 30">
              <a:extLst>
                <a:ext uri="{FF2B5EF4-FFF2-40B4-BE49-F238E27FC236}">
                  <a16:creationId xmlns:a16="http://schemas.microsoft.com/office/drawing/2014/main" id="{90C1C1C2-3D70-39FA-38E0-CB8A5645B413}"/>
                </a:ext>
              </a:extLst>
            </p:cNvPr>
            <p:cNvSpPr>
              <a:spLocks/>
            </p:cNvSpPr>
            <p:nvPr userDrawn="1"/>
          </p:nvSpPr>
          <p:spPr bwMode="auto">
            <a:xfrm>
              <a:off x="6899" y="2858"/>
              <a:ext cx="52" cy="72"/>
            </a:xfrm>
            <a:custGeom>
              <a:avLst/>
              <a:gdLst>
                <a:gd name="T0" fmla="*/ 165 w 165"/>
                <a:gd name="T1" fmla="*/ 3 h 232"/>
                <a:gd name="T2" fmla="*/ 165 w 165"/>
                <a:gd name="T3" fmla="*/ 25 h 232"/>
                <a:gd name="T4" fmla="*/ 162 w 165"/>
                <a:gd name="T5" fmla="*/ 28 h 232"/>
                <a:gd name="T6" fmla="*/ 99 w 165"/>
                <a:gd name="T7" fmla="*/ 28 h 232"/>
                <a:gd name="T8" fmla="*/ 97 w 165"/>
                <a:gd name="T9" fmla="*/ 29 h 232"/>
                <a:gd name="T10" fmla="*/ 98 w 165"/>
                <a:gd name="T11" fmla="*/ 229 h 232"/>
                <a:gd name="T12" fmla="*/ 94 w 165"/>
                <a:gd name="T13" fmla="*/ 232 h 232"/>
                <a:gd name="T14" fmla="*/ 69 w 165"/>
                <a:gd name="T15" fmla="*/ 232 h 232"/>
                <a:gd name="T16" fmla="*/ 66 w 165"/>
                <a:gd name="T17" fmla="*/ 229 h 232"/>
                <a:gd name="T18" fmla="*/ 66 w 165"/>
                <a:gd name="T19" fmla="*/ 29 h 232"/>
                <a:gd name="T20" fmla="*/ 64 w 165"/>
                <a:gd name="T21" fmla="*/ 28 h 232"/>
                <a:gd name="T22" fmla="*/ 4 w 165"/>
                <a:gd name="T23" fmla="*/ 28 h 232"/>
                <a:gd name="T24" fmla="*/ 0 w 165"/>
                <a:gd name="T25" fmla="*/ 25 h 232"/>
                <a:gd name="T26" fmla="*/ 0 w 165"/>
                <a:gd name="T27" fmla="*/ 4 h 232"/>
                <a:gd name="T28" fmla="*/ 4 w 165"/>
                <a:gd name="T29" fmla="*/ 0 h 232"/>
                <a:gd name="T30" fmla="*/ 162 w 165"/>
                <a:gd name="T31" fmla="*/ 0 h 232"/>
                <a:gd name="T32" fmla="*/ 165 w 165"/>
                <a:gd name="T33" fmla="*/ 3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5" h="232">
                  <a:moveTo>
                    <a:pt x="165" y="3"/>
                  </a:moveTo>
                  <a:cubicBezTo>
                    <a:pt x="165" y="25"/>
                    <a:pt x="165" y="25"/>
                    <a:pt x="165" y="25"/>
                  </a:cubicBezTo>
                  <a:cubicBezTo>
                    <a:pt x="165" y="27"/>
                    <a:pt x="164" y="28"/>
                    <a:pt x="162" y="28"/>
                  </a:cubicBezTo>
                  <a:cubicBezTo>
                    <a:pt x="99" y="28"/>
                    <a:pt x="99" y="28"/>
                    <a:pt x="99" y="28"/>
                  </a:cubicBezTo>
                  <a:cubicBezTo>
                    <a:pt x="98" y="28"/>
                    <a:pt x="97" y="28"/>
                    <a:pt x="97" y="29"/>
                  </a:cubicBezTo>
                  <a:cubicBezTo>
                    <a:pt x="98" y="229"/>
                    <a:pt x="98" y="229"/>
                    <a:pt x="98" y="229"/>
                  </a:cubicBezTo>
                  <a:cubicBezTo>
                    <a:pt x="98" y="231"/>
                    <a:pt x="96" y="232"/>
                    <a:pt x="94" y="232"/>
                  </a:cubicBezTo>
                  <a:cubicBezTo>
                    <a:pt x="69" y="232"/>
                    <a:pt x="69" y="232"/>
                    <a:pt x="69" y="232"/>
                  </a:cubicBezTo>
                  <a:cubicBezTo>
                    <a:pt x="67" y="232"/>
                    <a:pt x="66" y="231"/>
                    <a:pt x="66" y="229"/>
                  </a:cubicBezTo>
                  <a:cubicBezTo>
                    <a:pt x="66" y="29"/>
                    <a:pt x="66" y="29"/>
                    <a:pt x="66" y="29"/>
                  </a:cubicBezTo>
                  <a:cubicBezTo>
                    <a:pt x="66" y="28"/>
                    <a:pt x="65" y="28"/>
                    <a:pt x="64" y="28"/>
                  </a:cubicBezTo>
                  <a:cubicBezTo>
                    <a:pt x="4" y="28"/>
                    <a:pt x="4" y="28"/>
                    <a:pt x="4" y="28"/>
                  </a:cubicBezTo>
                  <a:cubicBezTo>
                    <a:pt x="1" y="28"/>
                    <a:pt x="0" y="27"/>
                    <a:pt x="0" y="25"/>
                  </a:cubicBezTo>
                  <a:cubicBezTo>
                    <a:pt x="0" y="4"/>
                    <a:pt x="0" y="4"/>
                    <a:pt x="0" y="4"/>
                  </a:cubicBezTo>
                  <a:cubicBezTo>
                    <a:pt x="0" y="1"/>
                    <a:pt x="1" y="0"/>
                    <a:pt x="4" y="0"/>
                  </a:cubicBezTo>
                  <a:cubicBezTo>
                    <a:pt x="162" y="0"/>
                    <a:pt x="162" y="0"/>
                    <a:pt x="162" y="0"/>
                  </a:cubicBezTo>
                  <a:cubicBezTo>
                    <a:pt x="164" y="0"/>
                    <a:pt x="165" y="1"/>
                    <a:pt x="165" y="3"/>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9" name="Freeform 31">
              <a:extLst>
                <a:ext uri="{FF2B5EF4-FFF2-40B4-BE49-F238E27FC236}">
                  <a16:creationId xmlns:a16="http://schemas.microsoft.com/office/drawing/2014/main" id="{ED6FFEF6-0BD1-7BF5-7EE7-7F76440B7C6D}"/>
                </a:ext>
              </a:extLst>
            </p:cNvPr>
            <p:cNvSpPr>
              <a:spLocks noEditPoints="1"/>
            </p:cNvSpPr>
            <p:nvPr userDrawn="1"/>
          </p:nvSpPr>
          <p:spPr bwMode="auto">
            <a:xfrm>
              <a:off x="6961" y="2858"/>
              <a:ext cx="50" cy="72"/>
            </a:xfrm>
            <a:custGeom>
              <a:avLst/>
              <a:gdLst>
                <a:gd name="T0" fmla="*/ 128 w 161"/>
                <a:gd name="T1" fmla="*/ 230 h 232"/>
                <a:gd name="T2" fmla="*/ 82 w 161"/>
                <a:gd name="T3" fmla="*/ 131 h 232"/>
                <a:gd name="T4" fmla="*/ 81 w 161"/>
                <a:gd name="T5" fmla="*/ 130 h 232"/>
                <a:gd name="T6" fmla="*/ 33 w 161"/>
                <a:gd name="T7" fmla="*/ 130 h 232"/>
                <a:gd name="T8" fmla="*/ 32 w 161"/>
                <a:gd name="T9" fmla="*/ 131 h 232"/>
                <a:gd name="T10" fmla="*/ 32 w 161"/>
                <a:gd name="T11" fmla="*/ 229 h 232"/>
                <a:gd name="T12" fmla="*/ 29 w 161"/>
                <a:gd name="T13" fmla="*/ 232 h 232"/>
                <a:gd name="T14" fmla="*/ 4 w 161"/>
                <a:gd name="T15" fmla="*/ 232 h 232"/>
                <a:gd name="T16" fmla="*/ 0 w 161"/>
                <a:gd name="T17" fmla="*/ 229 h 232"/>
                <a:gd name="T18" fmla="*/ 0 w 161"/>
                <a:gd name="T19" fmla="*/ 3 h 232"/>
                <a:gd name="T20" fmla="*/ 3 w 161"/>
                <a:gd name="T21" fmla="*/ 0 h 232"/>
                <a:gd name="T22" fmla="*/ 93 w 161"/>
                <a:gd name="T23" fmla="*/ 0 h 232"/>
                <a:gd name="T24" fmla="*/ 127 w 161"/>
                <a:gd name="T25" fmla="*/ 8 h 232"/>
                <a:gd name="T26" fmla="*/ 150 w 161"/>
                <a:gd name="T27" fmla="*/ 32 h 232"/>
                <a:gd name="T28" fmla="*/ 159 w 161"/>
                <a:gd name="T29" fmla="*/ 66 h 232"/>
                <a:gd name="T30" fmla="*/ 147 w 161"/>
                <a:gd name="T31" fmla="*/ 105 h 232"/>
                <a:gd name="T32" fmla="*/ 113 w 161"/>
                <a:gd name="T33" fmla="*/ 127 h 232"/>
                <a:gd name="T34" fmla="*/ 113 w 161"/>
                <a:gd name="T35" fmla="*/ 129 h 232"/>
                <a:gd name="T36" fmla="*/ 161 w 161"/>
                <a:gd name="T37" fmla="*/ 228 h 232"/>
                <a:gd name="T38" fmla="*/ 161 w 161"/>
                <a:gd name="T39" fmla="*/ 230 h 232"/>
                <a:gd name="T40" fmla="*/ 159 w 161"/>
                <a:gd name="T41" fmla="*/ 232 h 232"/>
                <a:gd name="T42" fmla="*/ 132 w 161"/>
                <a:gd name="T43" fmla="*/ 232 h 232"/>
                <a:gd name="T44" fmla="*/ 128 w 161"/>
                <a:gd name="T45" fmla="*/ 230 h 232"/>
                <a:gd name="T46" fmla="*/ 32 w 161"/>
                <a:gd name="T47" fmla="*/ 29 h 232"/>
                <a:gd name="T48" fmla="*/ 32 w 161"/>
                <a:gd name="T49" fmla="*/ 103 h 232"/>
                <a:gd name="T50" fmla="*/ 33 w 161"/>
                <a:gd name="T51" fmla="*/ 104 h 232"/>
                <a:gd name="T52" fmla="*/ 88 w 161"/>
                <a:gd name="T53" fmla="*/ 104 h 232"/>
                <a:gd name="T54" fmla="*/ 117 w 161"/>
                <a:gd name="T55" fmla="*/ 94 h 232"/>
                <a:gd name="T56" fmla="*/ 127 w 161"/>
                <a:gd name="T57" fmla="*/ 66 h 232"/>
                <a:gd name="T58" fmla="*/ 117 w 161"/>
                <a:gd name="T59" fmla="*/ 38 h 232"/>
                <a:gd name="T60" fmla="*/ 88 w 161"/>
                <a:gd name="T61" fmla="*/ 28 h 232"/>
                <a:gd name="T62" fmla="*/ 33 w 161"/>
                <a:gd name="T63" fmla="*/ 28 h 232"/>
                <a:gd name="T64" fmla="*/ 32 w 161"/>
                <a:gd name="T65" fmla="*/ 29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61" h="232">
                  <a:moveTo>
                    <a:pt x="128" y="230"/>
                  </a:moveTo>
                  <a:cubicBezTo>
                    <a:pt x="82" y="131"/>
                    <a:pt x="82" y="131"/>
                    <a:pt x="82" y="131"/>
                  </a:cubicBezTo>
                  <a:cubicBezTo>
                    <a:pt x="82" y="130"/>
                    <a:pt x="81" y="130"/>
                    <a:pt x="81" y="130"/>
                  </a:cubicBezTo>
                  <a:cubicBezTo>
                    <a:pt x="33" y="130"/>
                    <a:pt x="33" y="130"/>
                    <a:pt x="33" y="130"/>
                  </a:cubicBezTo>
                  <a:cubicBezTo>
                    <a:pt x="32" y="130"/>
                    <a:pt x="32" y="130"/>
                    <a:pt x="32" y="131"/>
                  </a:cubicBezTo>
                  <a:cubicBezTo>
                    <a:pt x="32" y="229"/>
                    <a:pt x="32" y="229"/>
                    <a:pt x="32" y="229"/>
                  </a:cubicBezTo>
                  <a:cubicBezTo>
                    <a:pt x="32" y="231"/>
                    <a:pt x="31" y="232"/>
                    <a:pt x="29" y="232"/>
                  </a:cubicBezTo>
                  <a:cubicBezTo>
                    <a:pt x="4" y="232"/>
                    <a:pt x="4" y="232"/>
                    <a:pt x="4" y="232"/>
                  </a:cubicBezTo>
                  <a:cubicBezTo>
                    <a:pt x="1" y="232"/>
                    <a:pt x="0" y="231"/>
                    <a:pt x="0" y="229"/>
                  </a:cubicBezTo>
                  <a:cubicBezTo>
                    <a:pt x="0" y="3"/>
                    <a:pt x="0" y="3"/>
                    <a:pt x="0" y="3"/>
                  </a:cubicBezTo>
                  <a:cubicBezTo>
                    <a:pt x="0" y="1"/>
                    <a:pt x="1" y="0"/>
                    <a:pt x="3" y="0"/>
                  </a:cubicBezTo>
                  <a:cubicBezTo>
                    <a:pt x="93" y="0"/>
                    <a:pt x="93" y="0"/>
                    <a:pt x="93" y="0"/>
                  </a:cubicBezTo>
                  <a:cubicBezTo>
                    <a:pt x="106" y="0"/>
                    <a:pt x="117" y="3"/>
                    <a:pt x="127" y="8"/>
                  </a:cubicBezTo>
                  <a:cubicBezTo>
                    <a:pt x="137" y="14"/>
                    <a:pt x="145" y="22"/>
                    <a:pt x="150" y="32"/>
                  </a:cubicBezTo>
                  <a:cubicBezTo>
                    <a:pt x="156" y="41"/>
                    <a:pt x="159" y="53"/>
                    <a:pt x="159" y="66"/>
                  </a:cubicBezTo>
                  <a:cubicBezTo>
                    <a:pt x="159" y="81"/>
                    <a:pt x="155" y="94"/>
                    <a:pt x="147" y="105"/>
                  </a:cubicBezTo>
                  <a:cubicBezTo>
                    <a:pt x="138" y="116"/>
                    <a:pt x="127" y="123"/>
                    <a:pt x="113" y="127"/>
                  </a:cubicBezTo>
                  <a:cubicBezTo>
                    <a:pt x="113" y="127"/>
                    <a:pt x="112" y="128"/>
                    <a:pt x="113" y="129"/>
                  </a:cubicBezTo>
                  <a:cubicBezTo>
                    <a:pt x="161" y="228"/>
                    <a:pt x="161" y="228"/>
                    <a:pt x="161" y="228"/>
                  </a:cubicBezTo>
                  <a:cubicBezTo>
                    <a:pt x="161" y="228"/>
                    <a:pt x="161" y="229"/>
                    <a:pt x="161" y="230"/>
                  </a:cubicBezTo>
                  <a:cubicBezTo>
                    <a:pt x="161" y="231"/>
                    <a:pt x="160" y="232"/>
                    <a:pt x="159" y="232"/>
                  </a:cubicBezTo>
                  <a:cubicBezTo>
                    <a:pt x="132" y="232"/>
                    <a:pt x="132" y="232"/>
                    <a:pt x="132" y="232"/>
                  </a:cubicBezTo>
                  <a:cubicBezTo>
                    <a:pt x="130" y="232"/>
                    <a:pt x="129" y="231"/>
                    <a:pt x="128" y="230"/>
                  </a:cubicBezTo>
                  <a:moveTo>
                    <a:pt x="32" y="29"/>
                  </a:moveTo>
                  <a:cubicBezTo>
                    <a:pt x="32" y="103"/>
                    <a:pt x="32" y="103"/>
                    <a:pt x="32" y="103"/>
                  </a:cubicBezTo>
                  <a:cubicBezTo>
                    <a:pt x="32" y="104"/>
                    <a:pt x="32" y="104"/>
                    <a:pt x="33" y="104"/>
                  </a:cubicBezTo>
                  <a:cubicBezTo>
                    <a:pt x="88" y="104"/>
                    <a:pt x="88" y="104"/>
                    <a:pt x="88" y="104"/>
                  </a:cubicBezTo>
                  <a:cubicBezTo>
                    <a:pt x="100" y="104"/>
                    <a:pt x="109" y="101"/>
                    <a:pt x="117" y="94"/>
                  </a:cubicBezTo>
                  <a:cubicBezTo>
                    <a:pt x="124" y="87"/>
                    <a:pt x="127" y="78"/>
                    <a:pt x="127" y="66"/>
                  </a:cubicBezTo>
                  <a:cubicBezTo>
                    <a:pt x="127" y="55"/>
                    <a:pt x="124" y="46"/>
                    <a:pt x="117" y="38"/>
                  </a:cubicBezTo>
                  <a:cubicBezTo>
                    <a:pt x="109" y="31"/>
                    <a:pt x="100" y="28"/>
                    <a:pt x="88" y="28"/>
                  </a:cubicBezTo>
                  <a:cubicBezTo>
                    <a:pt x="33" y="28"/>
                    <a:pt x="33" y="28"/>
                    <a:pt x="33" y="28"/>
                  </a:cubicBezTo>
                  <a:cubicBezTo>
                    <a:pt x="32" y="28"/>
                    <a:pt x="32" y="28"/>
                    <a:pt x="32" y="29"/>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0" name="Freeform 32">
              <a:extLst>
                <a:ext uri="{FF2B5EF4-FFF2-40B4-BE49-F238E27FC236}">
                  <a16:creationId xmlns:a16="http://schemas.microsoft.com/office/drawing/2014/main" id="{10397568-735D-09C5-A13C-427440648FAC}"/>
                </a:ext>
              </a:extLst>
            </p:cNvPr>
            <p:cNvSpPr>
              <a:spLocks/>
            </p:cNvSpPr>
            <p:nvPr userDrawn="1"/>
          </p:nvSpPr>
          <p:spPr bwMode="auto">
            <a:xfrm>
              <a:off x="7022" y="2858"/>
              <a:ext cx="51" cy="73"/>
            </a:xfrm>
            <a:custGeom>
              <a:avLst/>
              <a:gdLst>
                <a:gd name="T0" fmla="*/ 39 w 163"/>
                <a:gd name="T1" fmla="*/ 225 h 235"/>
                <a:gd name="T2" fmla="*/ 10 w 163"/>
                <a:gd name="T3" fmla="*/ 198 h 235"/>
                <a:gd name="T4" fmla="*/ 0 w 163"/>
                <a:gd name="T5" fmla="*/ 158 h 235"/>
                <a:gd name="T6" fmla="*/ 0 w 163"/>
                <a:gd name="T7" fmla="*/ 3 h 235"/>
                <a:gd name="T8" fmla="*/ 3 w 163"/>
                <a:gd name="T9" fmla="*/ 0 h 235"/>
                <a:gd name="T10" fmla="*/ 28 w 163"/>
                <a:gd name="T11" fmla="*/ 0 h 235"/>
                <a:gd name="T12" fmla="*/ 32 w 163"/>
                <a:gd name="T13" fmla="*/ 3 h 235"/>
                <a:gd name="T14" fmla="*/ 32 w 163"/>
                <a:gd name="T15" fmla="*/ 159 h 235"/>
                <a:gd name="T16" fmla="*/ 45 w 163"/>
                <a:gd name="T17" fmla="*/ 194 h 235"/>
                <a:gd name="T18" fmla="*/ 81 w 163"/>
                <a:gd name="T19" fmla="*/ 207 h 235"/>
                <a:gd name="T20" fmla="*/ 117 w 163"/>
                <a:gd name="T21" fmla="*/ 194 h 235"/>
                <a:gd name="T22" fmla="*/ 131 w 163"/>
                <a:gd name="T23" fmla="*/ 159 h 235"/>
                <a:gd name="T24" fmla="*/ 131 w 163"/>
                <a:gd name="T25" fmla="*/ 3 h 235"/>
                <a:gd name="T26" fmla="*/ 134 w 163"/>
                <a:gd name="T27" fmla="*/ 0 h 235"/>
                <a:gd name="T28" fmla="*/ 159 w 163"/>
                <a:gd name="T29" fmla="*/ 0 h 235"/>
                <a:gd name="T30" fmla="*/ 162 w 163"/>
                <a:gd name="T31" fmla="*/ 3 h 235"/>
                <a:gd name="T32" fmla="*/ 163 w 163"/>
                <a:gd name="T33" fmla="*/ 158 h 235"/>
                <a:gd name="T34" fmla="*/ 152 w 163"/>
                <a:gd name="T35" fmla="*/ 198 h 235"/>
                <a:gd name="T36" fmla="*/ 124 w 163"/>
                <a:gd name="T37" fmla="*/ 225 h 235"/>
                <a:gd name="T38" fmla="*/ 81 w 163"/>
                <a:gd name="T39" fmla="*/ 235 h 235"/>
                <a:gd name="T40" fmla="*/ 39 w 163"/>
                <a:gd name="T41" fmla="*/ 225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3" h="235">
                  <a:moveTo>
                    <a:pt x="39" y="225"/>
                  </a:moveTo>
                  <a:cubicBezTo>
                    <a:pt x="26" y="219"/>
                    <a:pt x="17" y="210"/>
                    <a:pt x="10" y="198"/>
                  </a:cubicBezTo>
                  <a:cubicBezTo>
                    <a:pt x="3" y="187"/>
                    <a:pt x="0" y="173"/>
                    <a:pt x="0" y="158"/>
                  </a:cubicBezTo>
                  <a:cubicBezTo>
                    <a:pt x="0" y="3"/>
                    <a:pt x="0" y="3"/>
                    <a:pt x="0" y="3"/>
                  </a:cubicBezTo>
                  <a:cubicBezTo>
                    <a:pt x="0" y="1"/>
                    <a:pt x="1" y="0"/>
                    <a:pt x="3" y="0"/>
                  </a:cubicBezTo>
                  <a:cubicBezTo>
                    <a:pt x="28" y="0"/>
                    <a:pt x="28" y="0"/>
                    <a:pt x="28" y="0"/>
                  </a:cubicBezTo>
                  <a:cubicBezTo>
                    <a:pt x="31" y="0"/>
                    <a:pt x="32" y="1"/>
                    <a:pt x="32" y="3"/>
                  </a:cubicBezTo>
                  <a:cubicBezTo>
                    <a:pt x="32" y="159"/>
                    <a:pt x="32" y="159"/>
                    <a:pt x="32" y="159"/>
                  </a:cubicBezTo>
                  <a:cubicBezTo>
                    <a:pt x="32" y="173"/>
                    <a:pt x="36" y="185"/>
                    <a:pt x="45" y="194"/>
                  </a:cubicBezTo>
                  <a:cubicBezTo>
                    <a:pt x="54" y="203"/>
                    <a:pt x="66" y="207"/>
                    <a:pt x="81" y="207"/>
                  </a:cubicBezTo>
                  <a:cubicBezTo>
                    <a:pt x="96" y="207"/>
                    <a:pt x="108" y="203"/>
                    <a:pt x="117" y="194"/>
                  </a:cubicBezTo>
                  <a:cubicBezTo>
                    <a:pt x="126" y="185"/>
                    <a:pt x="131" y="173"/>
                    <a:pt x="131" y="159"/>
                  </a:cubicBezTo>
                  <a:cubicBezTo>
                    <a:pt x="131" y="3"/>
                    <a:pt x="131" y="3"/>
                    <a:pt x="131" y="3"/>
                  </a:cubicBezTo>
                  <a:cubicBezTo>
                    <a:pt x="131" y="1"/>
                    <a:pt x="132" y="0"/>
                    <a:pt x="134" y="0"/>
                  </a:cubicBezTo>
                  <a:cubicBezTo>
                    <a:pt x="159" y="0"/>
                    <a:pt x="159" y="0"/>
                    <a:pt x="159" y="0"/>
                  </a:cubicBezTo>
                  <a:cubicBezTo>
                    <a:pt x="161" y="0"/>
                    <a:pt x="162" y="1"/>
                    <a:pt x="162" y="3"/>
                  </a:cubicBezTo>
                  <a:cubicBezTo>
                    <a:pt x="163" y="158"/>
                    <a:pt x="163" y="158"/>
                    <a:pt x="163" y="158"/>
                  </a:cubicBezTo>
                  <a:cubicBezTo>
                    <a:pt x="163" y="173"/>
                    <a:pt x="159" y="187"/>
                    <a:pt x="152" y="198"/>
                  </a:cubicBezTo>
                  <a:cubicBezTo>
                    <a:pt x="146" y="210"/>
                    <a:pt x="136" y="219"/>
                    <a:pt x="124" y="225"/>
                  </a:cubicBezTo>
                  <a:cubicBezTo>
                    <a:pt x="111" y="231"/>
                    <a:pt x="97" y="235"/>
                    <a:pt x="81" y="235"/>
                  </a:cubicBezTo>
                  <a:cubicBezTo>
                    <a:pt x="65" y="235"/>
                    <a:pt x="51" y="231"/>
                    <a:pt x="39" y="225"/>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1" name="Freeform 33">
              <a:extLst>
                <a:ext uri="{FF2B5EF4-FFF2-40B4-BE49-F238E27FC236}">
                  <a16:creationId xmlns:a16="http://schemas.microsoft.com/office/drawing/2014/main" id="{79D6C3E6-EA40-224C-E27A-D2F718307D11}"/>
                </a:ext>
              </a:extLst>
            </p:cNvPr>
            <p:cNvSpPr>
              <a:spLocks/>
            </p:cNvSpPr>
            <p:nvPr userDrawn="1"/>
          </p:nvSpPr>
          <p:spPr bwMode="auto">
            <a:xfrm>
              <a:off x="7084" y="2857"/>
              <a:ext cx="51" cy="74"/>
            </a:xfrm>
            <a:custGeom>
              <a:avLst/>
              <a:gdLst>
                <a:gd name="T0" fmla="*/ 39 w 164"/>
                <a:gd name="T1" fmla="*/ 230 h 237"/>
                <a:gd name="T2" fmla="*/ 10 w 164"/>
                <a:gd name="T3" fmla="*/ 207 h 237"/>
                <a:gd name="T4" fmla="*/ 0 w 164"/>
                <a:gd name="T5" fmla="*/ 173 h 237"/>
                <a:gd name="T6" fmla="*/ 0 w 164"/>
                <a:gd name="T7" fmla="*/ 163 h 237"/>
                <a:gd name="T8" fmla="*/ 4 w 164"/>
                <a:gd name="T9" fmla="*/ 160 h 237"/>
                <a:gd name="T10" fmla="*/ 28 w 164"/>
                <a:gd name="T11" fmla="*/ 160 h 237"/>
                <a:gd name="T12" fmla="*/ 31 w 164"/>
                <a:gd name="T13" fmla="*/ 163 h 237"/>
                <a:gd name="T14" fmla="*/ 31 w 164"/>
                <a:gd name="T15" fmla="*/ 171 h 237"/>
                <a:gd name="T16" fmla="*/ 46 w 164"/>
                <a:gd name="T17" fmla="*/ 199 h 237"/>
                <a:gd name="T18" fmla="*/ 86 w 164"/>
                <a:gd name="T19" fmla="*/ 210 h 237"/>
                <a:gd name="T20" fmla="*/ 120 w 164"/>
                <a:gd name="T21" fmla="*/ 200 h 237"/>
                <a:gd name="T22" fmla="*/ 132 w 164"/>
                <a:gd name="T23" fmla="*/ 175 h 237"/>
                <a:gd name="T24" fmla="*/ 126 w 164"/>
                <a:gd name="T25" fmla="*/ 158 h 237"/>
                <a:gd name="T26" fmla="*/ 109 w 164"/>
                <a:gd name="T27" fmla="*/ 144 h 237"/>
                <a:gd name="T28" fmla="*/ 75 w 164"/>
                <a:gd name="T29" fmla="*/ 129 h 237"/>
                <a:gd name="T30" fmla="*/ 37 w 164"/>
                <a:gd name="T31" fmla="*/ 113 h 237"/>
                <a:gd name="T32" fmla="*/ 14 w 164"/>
                <a:gd name="T33" fmla="*/ 93 h 237"/>
                <a:gd name="T34" fmla="*/ 4 w 164"/>
                <a:gd name="T35" fmla="*/ 61 h 237"/>
                <a:gd name="T36" fmla="*/ 25 w 164"/>
                <a:gd name="T37" fmla="*/ 17 h 237"/>
                <a:gd name="T38" fmla="*/ 80 w 164"/>
                <a:gd name="T39" fmla="*/ 0 h 237"/>
                <a:gd name="T40" fmla="*/ 123 w 164"/>
                <a:gd name="T41" fmla="*/ 9 h 237"/>
                <a:gd name="T42" fmla="*/ 152 w 164"/>
                <a:gd name="T43" fmla="*/ 32 h 237"/>
                <a:gd name="T44" fmla="*/ 162 w 164"/>
                <a:gd name="T45" fmla="*/ 66 h 237"/>
                <a:gd name="T46" fmla="*/ 162 w 164"/>
                <a:gd name="T47" fmla="*/ 73 h 237"/>
                <a:gd name="T48" fmla="*/ 158 w 164"/>
                <a:gd name="T49" fmla="*/ 76 h 237"/>
                <a:gd name="T50" fmla="*/ 133 w 164"/>
                <a:gd name="T51" fmla="*/ 76 h 237"/>
                <a:gd name="T52" fmla="*/ 130 w 164"/>
                <a:gd name="T53" fmla="*/ 73 h 237"/>
                <a:gd name="T54" fmla="*/ 130 w 164"/>
                <a:gd name="T55" fmla="*/ 68 h 237"/>
                <a:gd name="T56" fmla="*/ 116 w 164"/>
                <a:gd name="T57" fmla="*/ 39 h 237"/>
                <a:gd name="T58" fmla="*/ 78 w 164"/>
                <a:gd name="T59" fmla="*/ 28 h 237"/>
                <a:gd name="T60" fmla="*/ 47 w 164"/>
                <a:gd name="T61" fmla="*/ 36 h 237"/>
                <a:gd name="T62" fmla="*/ 35 w 164"/>
                <a:gd name="T63" fmla="*/ 61 h 237"/>
                <a:gd name="T64" fmla="*/ 41 w 164"/>
                <a:gd name="T65" fmla="*/ 78 h 237"/>
                <a:gd name="T66" fmla="*/ 58 w 164"/>
                <a:gd name="T67" fmla="*/ 91 h 237"/>
                <a:gd name="T68" fmla="*/ 92 w 164"/>
                <a:gd name="T69" fmla="*/ 105 h 237"/>
                <a:gd name="T70" fmla="*/ 130 w 164"/>
                <a:gd name="T71" fmla="*/ 122 h 237"/>
                <a:gd name="T72" fmla="*/ 154 w 164"/>
                <a:gd name="T73" fmla="*/ 142 h 237"/>
                <a:gd name="T74" fmla="*/ 164 w 164"/>
                <a:gd name="T75" fmla="*/ 174 h 237"/>
                <a:gd name="T76" fmla="*/ 142 w 164"/>
                <a:gd name="T77" fmla="*/ 220 h 237"/>
                <a:gd name="T78" fmla="*/ 84 w 164"/>
                <a:gd name="T79" fmla="*/ 237 h 237"/>
                <a:gd name="T80" fmla="*/ 39 w 164"/>
                <a:gd name="T81" fmla="*/ 230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64" h="237">
                  <a:moveTo>
                    <a:pt x="39" y="230"/>
                  </a:moveTo>
                  <a:cubicBezTo>
                    <a:pt x="27" y="224"/>
                    <a:pt x="17" y="217"/>
                    <a:pt x="10" y="207"/>
                  </a:cubicBezTo>
                  <a:cubicBezTo>
                    <a:pt x="4" y="197"/>
                    <a:pt x="0" y="186"/>
                    <a:pt x="0" y="173"/>
                  </a:cubicBezTo>
                  <a:cubicBezTo>
                    <a:pt x="0" y="163"/>
                    <a:pt x="0" y="163"/>
                    <a:pt x="0" y="163"/>
                  </a:cubicBezTo>
                  <a:cubicBezTo>
                    <a:pt x="0" y="161"/>
                    <a:pt x="1" y="160"/>
                    <a:pt x="4" y="160"/>
                  </a:cubicBezTo>
                  <a:cubicBezTo>
                    <a:pt x="28" y="160"/>
                    <a:pt x="28" y="160"/>
                    <a:pt x="28" y="160"/>
                  </a:cubicBezTo>
                  <a:cubicBezTo>
                    <a:pt x="30" y="160"/>
                    <a:pt x="31" y="161"/>
                    <a:pt x="31" y="163"/>
                  </a:cubicBezTo>
                  <a:cubicBezTo>
                    <a:pt x="31" y="171"/>
                    <a:pt x="31" y="171"/>
                    <a:pt x="31" y="171"/>
                  </a:cubicBezTo>
                  <a:cubicBezTo>
                    <a:pt x="31" y="182"/>
                    <a:pt x="36" y="192"/>
                    <a:pt x="46" y="199"/>
                  </a:cubicBezTo>
                  <a:cubicBezTo>
                    <a:pt x="55" y="206"/>
                    <a:pt x="69" y="210"/>
                    <a:pt x="86" y="210"/>
                  </a:cubicBezTo>
                  <a:cubicBezTo>
                    <a:pt x="101" y="210"/>
                    <a:pt x="113" y="207"/>
                    <a:pt x="120" y="200"/>
                  </a:cubicBezTo>
                  <a:cubicBezTo>
                    <a:pt x="128" y="194"/>
                    <a:pt x="132" y="186"/>
                    <a:pt x="132" y="175"/>
                  </a:cubicBezTo>
                  <a:cubicBezTo>
                    <a:pt x="132" y="168"/>
                    <a:pt x="130" y="162"/>
                    <a:pt x="126" y="158"/>
                  </a:cubicBezTo>
                  <a:cubicBezTo>
                    <a:pt x="122" y="153"/>
                    <a:pt x="116" y="148"/>
                    <a:pt x="109" y="144"/>
                  </a:cubicBezTo>
                  <a:cubicBezTo>
                    <a:pt x="101" y="140"/>
                    <a:pt x="90" y="135"/>
                    <a:pt x="75" y="129"/>
                  </a:cubicBezTo>
                  <a:cubicBezTo>
                    <a:pt x="59" y="123"/>
                    <a:pt x="46" y="118"/>
                    <a:pt x="37" y="113"/>
                  </a:cubicBezTo>
                  <a:cubicBezTo>
                    <a:pt x="28" y="107"/>
                    <a:pt x="20" y="101"/>
                    <a:pt x="14" y="93"/>
                  </a:cubicBezTo>
                  <a:cubicBezTo>
                    <a:pt x="7" y="84"/>
                    <a:pt x="4" y="74"/>
                    <a:pt x="4" y="61"/>
                  </a:cubicBezTo>
                  <a:cubicBezTo>
                    <a:pt x="4" y="42"/>
                    <a:pt x="11" y="27"/>
                    <a:pt x="25" y="17"/>
                  </a:cubicBezTo>
                  <a:cubicBezTo>
                    <a:pt x="38" y="6"/>
                    <a:pt x="57" y="0"/>
                    <a:pt x="80" y="0"/>
                  </a:cubicBezTo>
                  <a:cubicBezTo>
                    <a:pt x="96" y="0"/>
                    <a:pt x="110" y="3"/>
                    <a:pt x="123" y="9"/>
                  </a:cubicBezTo>
                  <a:cubicBezTo>
                    <a:pt x="135" y="14"/>
                    <a:pt x="145" y="22"/>
                    <a:pt x="152" y="32"/>
                  </a:cubicBezTo>
                  <a:cubicBezTo>
                    <a:pt x="158" y="42"/>
                    <a:pt x="162" y="53"/>
                    <a:pt x="162" y="66"/>
                  </a:cubicBezTo>
                  <a:cubicBezTo>
                    <a:pt x="162" y="73"/>
                    <a:pt x="162" y="73"/>
                    <a:pt x="162" y="73"/>
                  </a:cubicBezTo>
                  <a:cubicBezTo>
                    <a:pt x="162" y="75"/>
                    <a:pt x="161" y="76"/>
                    <a:pt x="158" y="76"/>
                  </a:cubicBezTo>
                  <a:cubicBezTo>
                    <a:pt x="133" y="76"/>
                    <a:pt x="133" y="76"/>
                    <a:pt x="133" y="76"/>
                  </a:cubicBezTo>
                  <a:cubicBezTo>
                    <a:pt x="131" y="76"/>
                    <a:pt x="130" y="75"/>
                    <a:pt x="130" y="73"/>
                  </a:cubicBezTo>
                  <a:cubicBezTo>
                    <a:pt x="130" y="68"/>
                    <a:pt x="130" y="68"/>
                    <a:pt x="130" y="68"/>
                  </a:cubicBezTo>
                  <a:cubicBezTo>
                    <a:pt x="130" y="56"/>
                    <a:pt x="126" y="47"/>
                    <a:pt x="116" y="39"/>
                  </a:cubicBezTo>
                  <a:cubicBezTo>
                    <a:pt x="107" y="32"/>
                    <a:pt x="95" y="28"/>
                    <a:pt x="78" y="28"/>
                  </a:cubicBezTo>
                  <a:cubicBezTo>
                    <a:pt x="65" y="28"/>
                    <a:pt x="54" y="31"/>
                    <a:pt x="47" y="36"/>
                  </a:cubicBezTo>
                  <a:cubicBezTo>
                    <a:pt x="39" y="42"/>
                    <a:pt x="35" y="50"/>
                    <a:pt x="35" y="61"/>
                  </a:cubicBezTo>
                  <a:cubicBezTo>
                    <a:pt x="35" y="68"/>
                    <a:pt x="37" y="74"/>
                    <a:pt x="41" y="78"/>
                  </a:cubicBezTo>
                  <a:cubicBezTo>
                    <a:pt x="45" y="83"/>
                    <a:pt x="50" y="87"/>
                    <a:pt x="58" y="91"/>
                  </a:cubicBezTo>
                  <a:cubicBezTo>
                    <a:pt x="65" y="95"/>
                    <a:pt x="77" y="99"/>
                    <a:pt x="92" y="105"/>
                  </a:cubicBezTo>
                  <a:cubicBezTo>
                    <a:pt x="107" y="111"/>
                    <a:pt x="120" y="117"/>
                    <a:pt x="130" y="122"/>
                  </a:cubicBezTo>
                  <a:cubicBezTo>
                    <a:pt x="140" y="127"/>
                    <a:pt x="148" y="134"/>
                    <a:pt x="154" y="142"/>
                  </a:cubicBezTo>
                  <a:cubicBezTo>
                    <a:pt x="160" y="151"/>
                    <a:pt x="164" y="162"/>
                    <a:pt x="164" y="174"/>
                  </a:cubicBezTo>
                  <a:cubicBezTo>
                    <a:pt x="164" y="194"/>
                    <a:pt x="157" y="209"/>
                    <a:pt x="142" y="220"/>
                  </a:cubicBezTo>
                  <a:cubicBezTo>
                    <a:pt x="128" y="232"/>
                    <a:pt x="108" y="237"/>
                    <a:pt x="84" y="237"/>
                  </a:cubicBezTo>
                  <a:cubicBezTo>
                    <a:pt x="67" y="237"/>
                    <a:pt x="52" y="235"/>
                    <a:pt x="39" y="230"/>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2" name="Freeform 34">
              <a:extLst>
                <a:ext uri="{FF2B5EF4-FFF2-40B4-BE49-F238E27FC236}">
                  <a16:creationId xmlns:a16="http://schemas.microsoft.com/office/drawing/2014/main" id="{A37570D9-1883-D02F-69AD-783ED10778FC}"/>
                </a:ext>
              </a:extLst>
            </p:cNvPr>
            <p:cNvSpPr>
              <a:spLocks/>
            </p:cNvSpPr>
            <p:nvPr userDrawn="1"/>
          </p:nvSpPr>
          <p:spPr bwMode="auto">
            <a:xfrm>
              <a:off x="7139" y="2858"/>
              <a:ext cx="51" cy="72"/>
            </a:xfrm>
            <a:custGeom>
              <a:avLst/>
              <a:gdLst>
                <a:gd name="T0" fmla="*/ 165 w 165"/>
                <a:gd name="T1" fmla="*/ 3 h 232"/>
                <a:gd name="T2" fmla="*/ 165 w 165"/>
                <a:gd name="T3" fmla="*/ 24 h 232"/>
                <a:gd name="T4" fmla="*/ 161 w 165"/>
                <a:gd name="T5" fmla="*/ 28 h 232"/>
                <a:gd name="T6" fmla="*/ 98 w 165"/>
                <a:gd name="T7" fmla="*/ 28 h 232"/>
                <a:gd name="T8" fmla="*/ 97 w 165"/>
                <a:gd name="T9" fmla="*/ 29 h 232"/>
                <a:gd name="T10" fmla="*/ 97 w 165"/>
                <a:gd name="T11" fmla="*/ 228 h 232"/>
                <a:gd name="T12" fmla="*/ 94 w 165"/>
                <a:gd name="T13" fmla="*/ 232 h 232"/>
                <a:gd name="T14" fmla="*/ 69 w 165"/>
                <a:gd name="T15" fmla="*/ 232 h 232"/>
                <a:gd name="T16" fmla="*/ 65 w 165"/>
                <a:gd name="T17" fmla="*/ 228 h 232"/>
                <a:gd name="T18" fmla="*/ 65 w 165"/>
                <a:gd name="T19" fmla="*/ 29 h 232"/>
                <a:gd name="T20" fmla="*/ 64 w 165"/>
                <a:gd name="T21" fmla="*/ 28 h 232"/>
                <a:gd name="T22" fmla="*/ 3 w 165"/>
                <a:gd name="T23" fmla="*/ 28 h 232"/>
                <a:gd name="T24" fmla="*/ 0 w 165"/>
                <a:gd name="T25" fmla="*/ 24 h 232"/>
                <a:gd name="T26" fmla="*/ 0 w 165"/>
                <a:gd name="T27" fmla="*/ 3 h 232"/>
                <a:gd name="T28" fmla="*/ 3 w 165"/>
                <a:gd name="T29" fmla="*/ 0 h 232"/>
                <a:gd name="T30" fmla="*/ 161 w 165"/>
                <a:gd name="T31" fmla="*/ 0 h 232"/>
                <a:gd name="T32" fmla="*/ 165 w 165"/>
                <a:gd name="T33" fmla="*/ 3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5" h="232">
                  <a:moveTo>
                    <a:pt x="165" y="3"/>
                  </a:moveTo>
                  <a:cubicBezTo>
                    <a:pt x="165" y="24"/>
                    <a:pt x="165" y="24"/>
                    <a:pt x="165" y="24"/>
                  </a:cubicBezTo>
                  <a:cubicBezTo>
                    <a:pt x="165" y="26"/>
                    <a:pt x="164" y="28"/>
                    <a:pt x="161" y="28"/>
                  </a:cubicBezTo>
                  <a:cubicBezTo>
                    <a:pt x="98" y="28"/>
                    <a:pt x="98" y="28"/>
                    <a:pt x="98" y="28"/>
                  </a:cubicBezTo>
                  <a:cubicBezTo>
                    <a:pt x="97" y="28"/>
                    <a:pt x="97" y="28"/>
                    <a:pt x="97" y="29"/>
                  </a:cubicBezTo>
                  <a:cubicBezTo>
                    <a:pt x="97" y="228"/>
                    <a:pt x="97" y="228"/>
                    <a:pt x="97" y="228"/>
                  </a:cubicBezTo>
                  <a:cubicBezTo>
                    <a:pt x="97" y="231"/>
                    <a:pt x="96" y="232"/>
                    <a:pt x="94" y="232"/>
                  </a:cubicBezTo>
                  <a:cubicBezTo>
                    <a:pt x="69" y="232"/>
                    <a:pt x="69" y="232"/>
                    <a:pt x="69" y="232"/>
                  </a:cubicBezTo>
                  <a:cubicBezTo>
                    <a:pt x="66" y="232"/>
                    <a:pt x="65" y="231"/>
                    <a:pt x="65" y="228"/>
                  </a:cubicBezTo>
                  <a:cubicBezTo>
                    <a:pt x="65" y="29"/>
                    <a:pt x="65" y="29"/>
                    <a:pt x="65" y="29"/>
                  </a:cubicBezTo>
                  <a:cubicBezTo>
                    <a:pt x="65" y="28"/>
                    <a:pt x="65" y="28"/>
                    <a:pt x="64" y="28"/>
                  </a:cubicBezTo>
                  <a:cubicBezTo>
                    <a:pt x="3" y="28"/>
                    <a:pt x="3" y="28"/>
                    <a:pt x="3" y="28"/>
                  </a:cubicBezTo>
                  <a:cubicBezTo>
                    <a:pt x="1" y="28"/>
                    <a:pt x="0" y="27"/>
                    <a:pt x="0" y="24"/>
                  </a:cubicBezTo>
                  <a:cubicBezTo>
                    <a:pt x="0" y="3"/>
                    <a:pt x="0" y="3"/>
                    <a:pt x="0" y="3"/>
                  </a:cubicBezTo>
                  <a:cubicBezTo>
                    <a:pt x="0" y="1"/>
                    <a:pt x="1" y="0"/>
                    <a:pt x="3" y="0"/>
                  </a:cubicBezTo>
                  <a:cubicBezTo>
                    <a:pt x="161" y="0"/>
                    <a:pt x="161" y="0"/>
                    <a:pt x="161" y="0"/>
                  </a:cubicBezTo>
                  <a:cubicBezTo>
                    <a:pt x="164" y="0"/>
                    <a:pt x="165" y="1"/>
                    <a:pt x="165" y="3"/>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3" name="Freeform 35">
              <a:extLst>
                <a:ext uri="{FF2B5EF4-FFF2-40B4-BE49-F238E27FC236}">
                  <a16:creationId xmlns:a16="http://schemas.microsoft.com/office/drawing/2014/main" id="{2190D694-713E-EE4D-2E2B-9571E154C799}"/>
                </a:ext>
              </a:extLst>
            </p:cNvPr>
            <p:cNvSpPr>
              <a:spLocks/>
            </p:cNvSpPr>
            <p:nvPr userDrawn="1"/>
          </p:nvSpPr>
          <p:spPr bwMode="auto">
            <a:xfrm>
              <a:off x="7201" y="2858"/>
              <a:ext cx="47" cy="72"/>
            </a:xfrm>
            <a:custGeom>
              <a:avLst/>
              <a:gdLst>
                <a:gd name="T0" fmla="*/ 150 w 153"/>
                <a:gd name="T1" fmla="*/ 27 h 232"/>
                <a:gd name="T2" fmla="*/ 33 w 153"/>
                <a:gd name="T3" fmla="*/ 27 h 232"/>
                <a:gd name="T4" fmla="*/ 31 w 153"/>
                <a:gd name="T5" fmla="*/ 29 h 232"/>
                <a:gd name="T6" fmla="*/ 31 w 153"/>
                <a:gd name="T7" fmla="*/ 100 h 232"/>
                <a:gd name="T8" fmla="*/ 33 w 153"/>
                <a:gd name="T9" fmla="*/ 101 h 232"/>
                <a:gd name="T10" fmla="*/ 113 w 153"/>
                <a:gd name="T11" fmla="*/ 101 h 232"/>
                <a:gd name="T12" fmla="*/ 117 w 153"/>
                <a:gd name="T13" fmla="*/ 104 h 232"/>
                <a:gd name="T14" fmla="*/ 117 w 153"/>
                <a:gd name="T15" fmla="*/ 125 h 232"/>
                <a:gd name="T16" fmla="*/ 113 w 153"/>
                <a:gd name="T17" fmla="*/ 129 h 232"/>
                <a:gd name="T18" fmla="*/ 33 w 153"/>
                <a:gd name="T19" fmla="*/ 129 h 232"/>
                <a:gd name="T20" fmla="*/ 31 w 153"/>
                <a:gd name="T21" fmla="*/ 130 h 232"/>
                <a:gd name="T22" fmla="*/ 32 w 153"/>
                <a:gd name="T23" fmla="*/ 203 h 232"/>
                <a:gd name="T24" fmla="*/ 33 w 153"/>
                <a:gd name="T25" fmla="*/ 204 h 232"/>
                <a:gd name="T26" fmla="*/ 150 w 153"/>
                <a:gd name="T27" fmla="*/ 204 h 232"/>
                <a:gd name="T28" fmla="*/ 153 w 153"/>
                <a:gd name="T29" fmla="*/ 207 h 232"/>
                <a:gd name="T30" fmla="*/ 153 w 153"/>
                <a:gd name="T31" fmla="*/ 228 h 232"/>
                <a:gd name="T32" fmla="*/ 150 w 153"/>
                <a:gd name="T33" fmla="*/ 232 h 232"/>
                <a:gd name="T34" fmla="*/ 3 w 153"/>
                <a:gd name="T35" fmla="*/ 232 h 232"/>
                <a:gd name="T36" fmla="*/ 0 w 153"/>
                <a:gd name="T37" fmla="*/ 228 h 232"/>
                <a:gd name="T38" fmla="*/ 0 w 153"/>
                <a:gd name="T39" fmla="*/ 3 h 232"/>
                <a:gd name="T40" fmla="*/ 3 w 153"/>
                <a:gd name="T41" fmla="*/ 0 h 232"/>
                <a:gd name="T42" fmla="*/ 150 w 153"/>
                <a:gd name="T43" fmla="*/ 0 h 232"/>
                <a:gd name="T44" fmla="*/ 153 w 153"/>
                <a:gd name="T45" fmla="*/ 3 h 232"/>
                <a:gd name="T46" fmla="*/ 153 w 153"/>
                <a:gd name="T47" fmla="*/ 24 h 232"/>
                <a:gd name="T48" fmla="*/ 150 w 153"/>
                <a:gd name="T49" fmla="*/ 27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3" h="232">
                  <a:moveTo>
                    <a:pt x="150" y="27"/>
                  </a:moveTo>
                  <a:cubicBezTo>
                    <a:pt x="33" y="27"/>
                    <a:pt x="33" y="27"/>
                    <a:pt x="33" y="27"/>
                  </a:cubicBezTo>
                  <a:cubicBezTo>
                    <a:pt x="32" y="27"/>
                    <a:pt x="31" y="28"/>
                    <a:pt x="31" y="29"/>
                  </a:cubicBezTo>
                  <a:cubicBezTo>
                    <a:pt x="31" y="100"/>
                    <a:pt x="31" y="100"/>
                    <a:pt x="31" y="100"/>
                  </a:cubicBezTo>
                  <a:cubicBezTo>
                    <a:pt x="31" y="101"/>
                    <a:pt x="32" y="101"/>
                    <a:pt x="33" y="101"/>
                  </a:cubicBezTo>
                  <a:cubicBezTo>
                    <a:pt x="113" y="101"/>
                    <a:pt x="113" y="101"/>
                    <a:pt x="113" y="101"/>
                  </a:cubicBezTo>
                  <a:cubicBezTo>
                    <a:pt x="115" y="101"/>
                    <a:pt x="117" y="102"/>
                    <a:pt x="117" y="104"/>
                  </a:cubicBezTo>
                  <a:cubicBezTo>
                    <a:pt x="117" y="125"/>
                    <a:pt x="117" y="125"/>
                    <a:pt x="117" y="125"/>
                  </a:cubicBezTo>
                  <a:cubicBezTo>
                    <a:pt x="117" y="127"/>
                    <a:pt x="115" y="129"/>
                    <a:pt x="113" y="129"/>
                  </a:cubicBezTo>
                  <a:cubicBezTo>
                    <a:pt x="33" y="129"/>
                    <a:pt x="33" y="129"/>
                    <a:pt x="33" y="129"/>
                  </a:cubicBezTo>
                  <a:cubicBezTo>
                    <a:pt x="32" y="129"/>
                    <a:pt x="31" y="129"/>
                    <a:pt x="31" y="130"/>
                  </a:cubicBezTo>
                  <a:cubicBezTo>
                    <a:pt x="32" y="203"/>
                    <a:pt x="32" y="203"/>
                    <a:pt x="32" y="203"/>
                  </a:cubicBezTo>
                  <a:cubicBezTo>
                    <a:pt x="32" y="204"/>
                    <a:pt x="32" y="204"/>
                    <a:pt x="33" y="204"/>
                  </a:cubicBezTo>
                  <a:cubicBezTo>
                    <a:pt x="150" y="204"/>
                    <a:pt x="150" y="204"/>
                    <a:pt x="150" y="204"/>
                  </a:cubicBezTo>
                  <a:cubicBezTo>
                    <a:pt x="152" y="204"/>
                    <a:pt x="153" y="205"/>
                    <a:pt x="153" y="207"/>
                  </a:cubicBezTo>
                  <a:cubicBezTo>
                    <a:pt x="153" y="228"/>
                    <a:pt x="153" y="228"/>
                    <a:pt x="153" y="228"/>
                  </a:cubicBezTo>
                  <a:cubicBezTo>
                    <a:pt x="153" y="230"/>
                    <a:pt x="152" y="232"/>
                    <a:pt x="150" y="232"/>
                  </a:cubicBezTo>
                  <a:cubicBezTo>
                    <a:pt x="3" y="232"/>
                    <a:pt x="3" y="232"/>
                    <a:pt x="3" y="232"/>
                  </a:cubicBezTo>
                  <a:cubicBezTo>
                    <a:pt x="1" y="232"/>
                    <a:pt x="0" y="231"/>
                    <a:pt x="0" y="228"/>
                  </a:cubicBezTo>
                  <a:cubicBezTo>
                    <a:pt x="0" y="3"/>
                    <a:pt x="0" y="3"/>
                    <a:pt x="0" y="3"/>
                  </a:cubicBezTo>
                  <a:cubicBezTo>
                    <a:pt x="0" y="1"/>
                    <a:pt x="1" y="0"/>
                    <a:pt x="3" y="0"/>
                  </a:cubicBezTo>
                  <a:cubicBezTo>
                    <a:pt x="150" y="0"/>
                    <a:pt x="150" y="0"/>
                    <a:pt x="150" y="0"/>
                  </a:cubicBezTo>
                  <a:cubicBezTo>
                    <a:pt x="152" y="0"/>
                    <a:pt x="153" y="1"/>
                    <a:pt x="153" y="3"/>
                  </a:cubicBezTo>
                  <a:cubicBezTo>
                    <a:pt x="153" y="24"/>
                    <a:pt x="153" y="24"/>
                    <a:pt x="153" y="24"/>
                  </a:cubicBezTo>
                  <a:cubicBezTo>
                    <a:pt x="153" y="26"/>
                    <a:pt x="152" y="27"/>
                    <a:pt x="150" y="27"/>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4" name="Freeform 36">
              <a:extLst>
                <a:ext uri="{FF2B5EF4-FFF2-40B4-BE49-F238E27FC236}">
                  <a16:creationId xmlns:a16="http://schemas.microsoft.com/office/drawing/2014/main" id="{4D2828E4-E8B8-BDE3-BF7B-EFCAF9EBE8CA}"/>
                </a:ext>
              </a:extLst>
            </p:cNvPr>
            <p:cNvSpPr>
              <a:spLocks noEditPoints="1"/>
            </p:cNvSpPr>
            <p:nvPr userDrawn="1"/>
          </p:nvSpPr>
          <p:spPr bwMode="auto">
            <a:xfrm>
              <a:off x="7260" y="2858"/>
              <a:ext cx="50" cy="72"/>
            </a:xfrm>
            <a:custGeom>
              <a:avLst/>
              <a:gdLst>
                <a:gd name="T0" fmla="*/ 4 w 159"/>
                <a:gd name="T1" fmla="*/ 0 h 232"/>
                <a:gd name="T2" fmla="*/ 84 w 159"/>
                <a:gd name="T3" fmla="*/ 0 h 232"/>
                <a:gd name="T4" fmla="*/ 139 w 159"/>
                <a:gd name="T5" fmla="*/ 18 h 232"/>
                <a:gd name="T6" fmla="*/ 159 w 159"/>
                <a:gd name="T7" fmla="*/ 66 h 232"/>
                <a:gd name="T8" fmla="*/ 159 w 159"/>
                <a:gd name="T9" fmla="*/ 165 h 232"/>
                <a:gd name="T10" fmla="*/ 139 w 159"/>
                <a:gd name="T11" fmla="*/ 213 h 232"/>
                <a:gd name="T12" fmla="*/ 84 w 159"/>
                <a:gd name="T13" fmla="*/ 231 h 232"/>
                <a:gd name="T14" fmla="*/ 4 w 159"/>
                <a:gd name="T15" fmla="*/ 232 h 232"/>
                <a:gd name="T16" fmla="*/ 1 w 159"/>
                <a:gd name="T17" fmla="*/ 228 h 232"/>
                <a:gd name="T18" fmla="*/ 0 w 159"/>
                <a:gd name="T19" fmla="*/ 3 h 232"/>
                <a:gd name="T20" fmla="*/ 4 w 159"/>
                <a:gd name="T21" fmla="*/ 0 h 232"/>
                <a:gd name="T22" fmla="*/ 116 w 159"/>
                <a:gd name="T23" fmla="*/ 192 h 232"/>
                <a:gd name="T24" fmla="*/ 128 w 159"/>
                <a:gd name="T25" fmla="*/ 161 h 232"/>
                <a:gd name="T26" fmla="*/ 128 w 159"/>
                <a:gd name="T27" fmla="*/ 70 h 232"/>
                <a:gd name="T28" fmla="*/ 116 w 159"/>
                <a:gd name="T29" fmla="*/ 39 h 232"/>
                <a:gd name="T30" fmla="*/ 85 w 159"/>
                <a:gd name="T31" fmla="*/ 27 h 232"/>
                <a:gd name="T32" fmla="*/ 34 w 159"/>
                <a:gd name="T33" fmla="*/ 27 h 232"/>
                <a:gd name="T34" fmla="*/ 32 w 159"/>
                <a:gd name="T35" fmla="*/ 28 h 232"/>
                <a:gd name="T36" fmla="*/ 32 w 159"/>
                <a:gd name="T37" fmla="*/ 203 h 232"/>
                <a:gd name="T38" fmla="*/ 34 w 159"/>
                <a:gd name="T39" fmla="*/ 204 h 232"/>
                <a:gd name="T40" fmla="*/ 85 w 159"/>
                <a:gd name="T41" fmla="*/ 204 h 232"/>
                <a:gd name="T42" fmla="*/ 116 w 159"/>
                <a:gd name="T43" fmla="*/ 192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59" h="232">
                  <a:moveTo>
                    <a:pt x="4" y="0"/>
                  </a:moveTo>
                  <a:cubicBezTo>
                    <a:pt x="84" y="0"/>
                    <a:pt x="84" y="0"/>
                    <a:pt x="84" y="0"/>
                  </a:cubicBezTo>
                  <a:cubicBezTo>
                    <a:pt x="106" y="0"/>
                    <a:pt x="125" y="6"/>
                    <a:pt x="139" y="18"/>
                  </a:cubicBezTo>
                  <a:cubicBezTo>
                    <a:pt x="152" y="30"/>
                    <a:pt x="159" y="46"/>
                    <a:pt x="159" y="66"/>
                  </a:cubicBezTo>
                  <a:cubicBezTo>
                    <a:pt x="159" y="165"/>
                    <a:pt x="159" y="165"/>
                    <a:pt x="159" y="165"/>
                  </a:cubicBezTo>
                  <a:cubicBezTo>
                    <a:pt x="159" y="185"/>
                    <a:pt x="153" y="201"/>
                    <a:pt x="139" y="213"/>
                  </a:cubicBezTo>
                  <a:cubicBezTo>
                    <a:pt x="125" y="225"/>
                    <a:pt x="107" y="231"/>
                    <a:pt x="84" y="231"/>
                  </a:cubicBezTo>
                  <a:cubicBezTo>
                    <a:pt x="4" y="232"/>
                    <a:pt x="4" y="232"/>
                    <a:pt x="4" y="232"/>
                  </a:cubicBezTo>
                  <a:cubicBezTo>
                    <a:pt x="2" y="232"/>
                    <a:pt x="1" y="230"/>
                    <a:pt x="1" y="228"/>
                  </a:cubicBezTo>
                  <a:cubicBezTo>
                    <a:pt x="0" y="3"/>
                    <a:pt x="0" y="3"/>
                    <a:pt x="0" y="3"/>
                  </a:cubicBezTo>
                  <a:cubicBezTo>
                    <a:pt x="0" y="1"/>
                    <a:pt x="1" y="0"/>
                    <a:pt x="4" y="0"/>
                  </a:cubicBezTo>
                  <a:moveTo>
                    <a:pt x="116" y="192"/>
                  </a:moveTo>
                  <a:cubicBezTo>
                    <a:pt x="123" y="184"/>
                    <a:pt x="127" y="174"/>
                    <a:pt x="128" y="161"/>
                  </a:cubicBezTo>
                  <a:cubicBezTo>
                    <a:pt x="128" y="70"/>
                    <a:pt x="128" y="70"/>
                    <a:pt x="128" y="70"/>
                  </a:cubicBezTo>
                  <a:cubicBezTo>
                    <a:pt x="128" y="57"/>
                    <a:pt x="124" y="47"/>
                    <a:pt x="116" y="39"/>
                  </a:cubicBezTo>
                  <a:cubicBezTo>
                    <a:pt x="108" y="31"/>
                    <a:pt x="98" y="27"/>
                    <a:pt x="85" y="27"/>
                  </a:cubicBezTo>
                  <a:cubicBezTo>
                    <a:pt x="34" y="27"/>
                    <a:pt x="34" y="27"/>
                    <a:pt x="34" y="27"/>
                  </a:cubicBezTo>
                  <a:cubicBezTo>
                    <a:pt x="33" y="27"/>
                    <a:pt x="32" y="28"/>
                    <a:pt x="32" y="28"/>
                  </a:cubicBezTo>
                  <a:cubicBezTo>
                    <a:pt x="32" y="203"/>
                    <a:pt x="32" y="203"/>
                    <a:pt x="32" y="203"/>
                  </a:cubicBezTo>
                  <a:cubicBezTo>
                    <a:pt x="32" y="204"/>
                    <a:pt x="33" y="204"/>
                    <a:pt x="34" y="204"/>
                  </a:cubicBezTo>
                  <a:cubicBezTo>
                    <a:pt x="85" y="204"/>
                    <a:pt x="85" y="204"/>
                    <a:pt x="85" y="204"/>
                  </a:cubicBezTo>
                  <a:cubicBezTo>
                    <a:pt x="98" y="204"/>
                    <a:pt x="108" y="200"/>
                    <a:pt x="116" y="192"/>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5" name="Freeform 37">
              <a:extLst>
                <a:ext uri="{FF2B5EF4-FFF2-40B4-BE49-F238E27FC236}">
                  <a16:creationId xmlns:a16="http://schemas.microsoft.com/office/drawing/2014/main" id="{B9220D65-38CE-9421-7320-B9ED813FEDB5}"/>
                </a:ext>
              </a:extLst>
            </p:cNvPr>
            <p:cNvSpPr>
              <a:spLocks/>
            </p:cNvSpPr>
            <p:nvPr userDrawn="1"/>
          </p:nvSpPr>
          <p:spPr bwMode="auto">
            <a:xfrm>
              <a:off x="6436" y="2961"/>
              <a:ext cx="50" cy="74"/>
            </a:xfrm>
            <a:custGeom>
              <a:avLst/>
              <a:gdLst>
                <a:gd name="T0" fmla="*/ 39 w 161"/>
                <a:gd name="T1" fmla="*/ 228 h 237"/>
                <a:gd name="T2" fmla="*/ 10 w 161"/>
                <a:gd name="T3" fmla="*/ 201 h 237"/>
                <a:gd name="T4" fmla="*/ 0 w 161"/>
                <a:gd name="T5" fmla="*/ 161 h 237"/>
                <a:gd name="T6" fmla="*/ 0 w 161"/>
                <a:gd name="T7" fmla="*/ 75 h 237"/>
                <a:gd name="T8" fmla="*/ 10 w 161"/>
                <a:gd name="T9" fmla="*/ 36 h 237"/>
                <a:gd name="T10" fmla="*/ 38 w 161"/>
                <a:gd name="T11" fmla="*/ 9 h 237"/>
                <a:gd name="T12" fmla="*/ 81 w 161"/>
                <a:gd name="T13" fmla="*/ 0 h 237"/>
                <a:gd name="T14" fmla="*/ 123 w 161"/>
                <a:gd name="T15" fmla="*/ 9 h 237"/>
                <a:gd name="T16" fmla="*/ 151 w 161"/>
                <a:gd name="T17" fmla="*/ 34 h 237"/>
                <a:gd name="T18" fmla="*/ 161 w 161"/>
                <a:gd name="T19" fmla="*/ 73 h 237"/>
                <a:gd name="T20" fmla="*/ 161 w 161"/>
                <a:gd name="T21" fmla="*/ 73 h 237"/>
                <a:gd name="T22" fmla="*/ 160 w 161"/>
                <a:gd name="T23" fmla="*/ 76 h 237"/>
                <a:gd name="T24" fmla="*/ 158 w 161"/>
                <a:gd name="T25" fmla="*/ 77 h 237"/>
                <a:gd name="T26" fmla="*/ 133 w 161"/>
                <a:gd name="T27" fmla="*/ 78 h 237"/>
                <a:gd name="T28" fmla="*/ 129 w 161"/>
                <a:gd name="T29" fmla="*/ 75 h 237"/>
                <a:gd name="T30" fmla="*/ 129 w 161"/>
                <a:gd name="T31" fmla="*/ 74 h 237"/>
                <a:gd name="T32" fmla="*/ 116 w 161"/>
                <a:gd name="T33" fmla="*/ 40 h 237"/>
                <a:gd name="T34" fmla="*/ 81 w 161"/>
                <a:gd name="T35" fmla="*/ 27 h 237"/>
                <a:gd name="T36" fmla="*/ 45 w 161"/>
                <a:gd name="T37" fmla="*/ 40 h 237"/>
                <a:gd name="T38" fmla="*/ 32 w 161"/>
                <a:gd name="T39" fmla="*/ 74 h 237"/>
                <a:gd name="T40" fmla="*/ 32 w 161"/>
                <a:gd name="T41" fmla="*/ 162 h 237"/>
                <a:gd name="T42" fmla="*/ 45 w 161"/>
                <a:gd name="T43" fmla="*/ 196 h 237"/>
                <a:gd name="T44" fmla="*/ 81 w 161"/>
                <a:gd name="T45" fmla="*/ 209 h 237"/>
                <a:gd name="T46" fmla="*/ 116 w 161"/>
                <a:gd name="T47" fmla="*/ 196 h 237"/>
                <a:gd name="T48" fmla="*/ 129 w 161"/>
                <a:gd name="T49" fmla="*/ 162 h 237"/>
                <a:gd name="T50" fmla="*/ 129 w 161"/>
                <a:gd name="T51" fmla="*/ 162 h 237"/>
                <a:gd name="T52" fmla="*/ 133 w 161"/>
                <a:gd name="T53" fmla="*/ 159 h 237"/>
                <a:gd name="T54" fmla="*/ 158 w 161"/>
                <a:gd name="T55" fmla="*/ 160 h 237"/>
                <a:gd name="T56" fmla="*/ 161 w 161"/>
                <a:gd name="T57" fmla="*/ 163 h 237"/>
                <a:gd name="T58" fmla="*/ 151 w 161"/>
                <a:gd name="T59" fmla="*/ 202 h 237"/>
                <a:gd name="T60" fmla="*/ 123 w 161"/>
                <a:gd name="T61" fmla="*/ 228 h 237"/>
                <a:gd name="T62" fmla="*/ 81 w 161"/>
                <a:gd name="T63" fmla="*/ 237 h 237"/>
                <a:gd name="T64" fmla="*/ 39 w 161"/>
                <a:gd name="T65" fmla="*/ 228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61" h="237">
                  <a:moveTo>
                    <a:pt x="39" y="228"/>
                  </a:moveTo>
                  <a:cubicBezTo>
                    <a:pt x="26" y="221"/>
                    <a:pt x="17" y="212"/>
                    <a:pt x="10" y="201"/>
                  </a:cubicBezTo>
                  <a:cubicBezTo>
                    <a:pt x="3" y="189"/>
                    <a:pt x="0" y="176"/>
                    <a:pt x="0" y="161"/>
                  </a:cubicBezTo>
                  <a:cubicBezTo>
                    <a:pt x="0" y="75"/>
                    <a:pt x="0" y="75"/>
                    <a:pt x="0" y="75"/>
                  </a:cubicBezTo>
                  <a:cubicBezTo>
                    <a:pt x="0" y="60"/>
                    <a:pt x="3" y="47"/>
                    <a:pt x="10" y="36"/>
                  </a:cubicBezTo>
                  <a:cubicBezTo>
                    <a:pt x="17" y="24"/>
                    <a:pt x="26" y="15"/>
                    <a:pt x="38" y="9"/>
                  </a:cubicBezTo>
                  <a:cubicBezTo>
                    <a:pt x="51" y="3"/>
                    <a:pt x="65" y="0"/>
                    <a:pt x="81" y="0"/>
                  </a:cubicBezTo>
                  <a:cubicBezTo>
                    <a:pt x="97" y="0"/>
                    <a:pt x="111" y="3"/>
                    <a:pt x="123" y="9"/>
                  </a:cubicBezTo>
                  <a:cubicBezTo>
                    <a:pt x="135" y="15"/>
                    <a:pt x="144" y="23"/>
                    <a:pt x="151" y="34"/>
                  </a:cubicBezTo>
                  <a:cubicBezTo>
                    <a:pt x="158" y="45"/>
                    <a:pt x="161" y="58"/>
                    <a:pt x="161" y="73"/>
                  </a:cubicBezTo>
                  <a:cubicBezTo>
                    <a:pt x="161" y="73"/>
                    <a:pt x="161" y="73"/>
                    <a:pt x="161" y="73"/>
                  </a:cubicBezTo>
                  <a:cubicBezTo>
                    <a:pt x="161" y="74"/>
                    <a:pt x="161" y="75"/>
                    <a:pt x="160" y="76"/>
                  </a:cubicBezTo>
                  <a:cubicBezTo>
                    <a:pt x="160" y="76"/>
                    <a:pt x="159" y="77"/>
                    <a:pt x="158" y="77"/>
                  </a:cubicBezTo>
                  <a:cubicBezTo>
                    <a:pt x="133" y="78"/>
                    <a:pt x="133" y="78"/>
                    <a:pt x="133" y="78"/>
                  </a:cubicBezTo>
                  <a:cubicBezTo>
                    <a:pt x="131" y="78"/>
                    <a:pt x="129" y="77"/>
                    <a:pt x="129" y="75"/>
                  </a:cubicBezTo>
                  <a:cubicBezTo>
                    <a:pt x="129" y="74"/>
                    <a:pt x="129" y="74"/>
                    <a:pt x="129" y="74"/>
                  </a:cubicBezTo>
                  <a:cubicBezTo>
                    <a:pt x="129" y="60"/>
                    <a:pt x="125" y="49"/>
                    <a:pt x="116" y="40"/>
                  </a:cubicBezTo>
                  <a:cubicBezTo>
                    <a:pt x="107" y="31"/>
                    <a:pt x="96" y="27"/>
                    <a:pt x="81" y="27"/>
                  </a:cubicBezTo>
                  <a:cubicBezTo>
                    <a:pt x="66" y="27"/>
                    <a:pt x="54" y="31"/>
                    <a:pt x="45" y="40"/>
                  </a:cubicBezTo>
                  <a:cubicBezTo>
                    <a:pt x="36" y="49"/>
                    <a:pt x="32" y="60"/>
                    <a:pt x="32" y="74"/>
                  </a:cubicBezTo>
                  <a:cubicBezTo>
                    <a:pt x="32" y="162"/>
                    <a:pt x="32" y="162"/>
                    <a:pt x="32" y="162"/>
                  </a:cubicBezTo>
                  <a:cubicBezTo>
                    <a:pt x="32" y="176"/>
                    <a:pt x="36" y="188"/>
                    <a:pt x="45" y="196"/>
                  </a:cubicBezTo>
                  <a:cubicBezTo>
                    <a:pt x="54" y="205"/>
                    <a:pt x="66" y="209"/>
                    <a:pt x="81" y="209"/>
                  </a:cubicBezTo>
                  <a:cubicBezTo>
                    <a:pt x="96" y="209"/>
                    <a:pt x="107" y="205"/>
                    <a:pt x="116" y="196"/>
                  </a:cubicBezTo>
                  <a:cubicBezTo>
                    <a:pt x="125" y="188"/>
                    <a:pt x="129" y="176"/>
                    <a:pt x="129" y="162"/>
                  </a:cubicBezTo>
                  <a:cubicBezTo>
                    <a:pt x="129" y="162"/>
                    <a:pt x="129" y="162"/>
                    <a:pt x="129" y="162"/>
                  </a:cubicBezTo>
                  <a:cubicBezTo>
                    <a:pt x="129" y="160"/>
                    <a:pt x="131" y="159"/>
                    <a:pt x="133" y="159"/>
                  </a:cubicBezTo>
                  <a:cubicBezTo>
                    <a:pt x="158" y="160"/>
                    <a:pt x="158" y="160"/>
                    <a:pt x="158" y="160"/>
                  </a:cubicBezTo>
                  <a:cubicBezTo>
                    <a:pt x="160" y="160"/>
                    <a:pt x="161" y="161"/>
                    <a:pt x="161" y="163"/>
                  </a:cubicBezTo>
                  <a:cubicBezTo>
                    <a:pt x="161" y="178"/>
                    <a:pt x="158" y="191"/>
                    <a:pt x="151" y="202"/>
                  </a:cubicBezTo>
                  <a:cubicBezTo>
                    <a:pt x="144" y="213"/>
                    <a:pt x="135" y="222"/>
                    <a:pt x="123" y="228"/>
                  </a:cubicBezTo>
                  <a:cubicBezTo>
                    <a:pt x="111" y="234"/>
                    <a:pt x="97" y="237"/>
                    <a:pt x="81" y="237"/>
                  </a:cubicBezTo>
                  <a:cubicBezTo>
                    <a:pt x="65" y="237"/>
                    <a:pt x="51" y="234"/>
                    <a:pt x="39" y="228"/>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6" name="Freeform 38">
              <a:extLst>
                <a:ext uri="{FF2B5EF4-FFF2-40B4-BE49-F238E27FC236}">
                  <a16:creationId xmlns:a16="http://schemas.microsoft.com/office/drawing/2014/main" id="{C57FA2E4-DDDF-B24C-B646-0AF0DB071A3A}"/>
                </a:ext>
              </a:extLst>
            </p:cNvPr>
            <p:cNvSpPr>
              <a:spLocks noEditPoints="1"/>
            </p:cNvSpPr>
            <p:nvPr userDrawn="1"/>
          </p:nvSpPr>
          <p:spPr bwMode="auto">
            <a:xfrm>
              <a:off x="6495" y="2961"/>
              <a:ext cx="51" cy="74"/>
            </a:xfrm>
            <a:custGeom>
              <a:avLst/>
              <a:gdLst>
                <a:gd name="T0" fmla="*/ 39 w 164"/>
                <a:gd name="T1" fmla="*/ 227 h 237"/>
                <a:gd name="T2" fmla="*/ 10 w 164"/>
                <a:gd name="T3" fmla="*/ 199 h 237"/>
                <a:gd name="T4" fmla="*/ 0 w 164"/>
                <a:gd name="T5" fmla="*/ 158 h 237"/>
                <a:gd name="T6" fmla="*/ 0 w 164"/>
                <a:gd name="T7" fmla="*/ 79 h 237"/>
                <a:gd name="T8" fmla="*/ 10 w 164"/>
                <a:gd name="T9" fmla="*/ 37 h 237"/>
                <a:gd name="T10" fmla="*/ 39 w 164"/>
                <a:gd name="T11" fmla="*/ 9 h 237"/>
                <a:gd name="T12" fmla="*/ 81 w 164"/>
                <a:gd name="T13" fmla="*/ 0 h 237"/>
                <a:gd name="T14" fmla="*/ 125 w 164"/>
                <a:gd name="T15" fmla="*/ 9 h 237"/>
                <a:gd name="T16" fmla="*/ 154 w 164"/>
                <a:gd name="T17" fmla="*/ 37 h 237"/>
                <a:gd name="T18" fmla="*/ 164 w 164"/>
                <a:gd name="T19" fmla="*/ 79 h 237"/>
                <a:gd name="T20" fmla="*/ 164 w 164"/>
                <a:gd name="T21" fmla="*/ 157 h 237"/>
                <a:gd name="T22" fmla="*/ 154 w 164"/>
                <a:gd name="T23" fmla="*/ 199 h 237"/>
                <a:gd name="T24" fmla="*/ 125 w 164"/>
                <a:gd name="T25" fmla="*/ 227 h 237"/>
                <a:gd name="T26" fmla="*/ 82 w 164"/>
                <a:gd name="T27" fmla="*/ 237 h 237"/>
                <a:gd name="T28" fmla="*/ 39 w 164"/>
                <a:gd name="T29" fmla="*/ 227 h 237"/>
                <a:gd name="T30" fmla="*/ 118 w 164"/>
                <a:gd name="T31" fmla="*/ 196 h 237"/>
                <a:gd name="T32" fmla="*/ 132 w 164"/>
                <a:gd name="T33" fmla="*/ 159 h 237"/>
                <a:gd name="T34" fmla="*/ 132 w 164"/>
                <a:gd name="T35" fmla="*/ 78 h 237"/>
                <a:gd name="T36" fmla="*/ 118 w 164"/>
                <a:gd name="T37" fmla="*/ 41 h 237"/>
                <a:gd name="T38" fmla="*/ 82 w 164"/>
                <a:gd name="T39" fmla="*/ 27 h 237"/>
                <a:gd name="T40" fmla="*/ 45 w 164"/>
                <a:gd name="T41" fmla="*/ 41 h 237"/>
                <a:gd name="T42" fmla="*/ 32 w 164"/>
                <a:gd name="T43" fmla="*/ 78 h 237"/>
                <a:gd name="T44" fmla="*/ 32 w 164"/>
                <a:gd name="T45" fmla="*/ 159 h 237"/>
                <a:gd name="T46" fmla="*/ 45 w 164"/>
                <a:gd name="T47" fmla="*/ 196 h 237"/>
                <a:gd name="T48" fmla="*/ 82 w 164"/>
                <a:gd name="T49" fmla="*/ 210 h 237"/>
                <a:gd name="T50" fmla="*/ 118 w 164"/>
                <a:gd name="T51" fmla="*/ 196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64" h="237">
                  <a:moveTo>
                    <a:pt x="39" y="227"/>
                  </a:moveTo>
                  <a:cubicBezTo>
                    <a:pt x="27" y="220"/>
                    <a:pt x="17" y="211"/>
                    <a:pt x="10" y="199"/>
                  </a:cubicBezTo>
                  <a:cubicBezTo>
                    <a:pt x="3" y="187"/>
                    <a:pt x="0" y="173"/>
                    <a:pt x="0" y="158"/>
                  </a:cubicBezTo>
                  <a:cubicBezTo>
                    <a:pt x="0" y="79"/>
                    <a:pt x="0" y="79"/>
                    <a:pt x="0" y="79"/>
                  </a:cubicBezTo>
                  <a:cubicBezTo>
                    <a:pt x="0" y="63"/>
                    <a:pt x="3" y="49"/>
                    <a:pt x="10" y="37"/>
                  </a:cubicBezTo>
                  <a:cubicBezTo>
                    <a:pt x="17" y="25"/>
                    <a:pt x="26" y="16"/>
                    <a:pt x="39" y="9"/>
                  </a:cubicBezTo>
                  <a:cubicBezTo>
                    <a:pt x="51" y="3"/>
                    <a:pt x="65" y="0"/>
                    <a:pt x="81" y="0"/>
                  </a:cubicBezTo>
                  <a:cubicBezTo>
                    <a:pt x="98" y="0"/>
                    <a:pt x="112" y="3"/>
                    <a:pt x="125" y="9"/>
                  </a:cubicBezTo>
                  <a:cubicBezTo>
                    <a:pt x="137" y="16"/>
                    <a:pt x="147" y="25"/>
                    <a:pt x="154" y="37"/>
                  </a:cubicBezTo>
                  <a:cubicBezTo>
                    <a:pt x="161" y="49"/>
                    <a:pt x="164" y="63"/>
                    <a:pt x="164" y="79"/>
                  </a:cubicBezTo>
                  <a:cubicBezTo>
                    <a:pt x="164" y="157"/>
                    <a:pt x="164" y="157"/>
                    <a:pt x="164" y="157"/>
                  </a:cubicBezTo>
                  <a:cubicBezTo>
                    <a:pt x="164" y="173"/>
                    <a:pt x="161" y="187"/>
                    <a:pt x="154" y="199"/>
                  </a:cubicBezTo>
                  <a:cubicBezTo>
                    <a:pt x="147" y="211"/>
                    <a:pt x="137" y="220"/>
                    <a:pt x="125" y="227"/>
                  </a:cubicBezTo>
                  <a:cubicBezTo>
                    <a:pt x="112" y="234"/>
                    <a:pt x="98" y="237"/>
                    <a:pt x="82" y="237"/>
                  </a:cubicBezTo>
                  <a:cubicBezTo>
                    <a:pt x="66" y="237"/>
                    <a:pt x="51" y="234"/>
                    <a:pt x="39" y="227"/>
                  </a:cubicBezTo>
                  <a:moveTo>
                    <a:pt x="118" y="196"/>
                  </a:moveTo>
                  <a:cubicBezTo>
                    <a:pt x="128" y="186"/>
                    <a:pt x="132" y="174"/>
                    <a:pt x="132" y="159"/>
                  </a:cubicBezTo>
                  <a:cubicBezTo>
                    <a:pt x="132" y="78"/>
                    <a:pt x="132" y="78"/>
                    <a:pt x="132" y="78"/>
                  </a:cubicBezTo>
                  <a:cubicBezTo>
                    <a:pt x="132" y="63"/>
                    <a:pt x="128" y="50"/>
                    <a:pt x="118" y="41"/>
                  </a:cubicBezTo>
                  <a:cubicBezTo>
                    <a:pt x="109" y="32"/>
                    <a:pt x="97" y="27"/>
                    <a:pt x="82" y="27"/>
                  </a:cubicBezTo>
                  <a:cubicBezTo>
                    <a:pt x="67" y="27"/>
                    <a:pt x="54" y="32"/>
                    <a:pt x="45" y="41"/>
                  </a:cubicBezTo>
                  <a:cubicBezTo>
                    <a:pt x="36" y="51"/>
                    <a:pt x="32" y="63"/>
                    <a:pt x="32" y="78"/>
                  </a:cubicBezTo>
                  <a:cubicBezTo>
                    <a:pt x="32" y="159"/>
                    <a:pt x="32" y="159"/>
                    <a:pt x="32" y="159"/>
                  </a:cubicBezTo>
                  <a:cubicBezTo>
                    <a:pt x="32" y="174"/>
                    <a:pt x="36" y="186"/>
                    <a:pt x="45" y="196"/>
                  </a:cubicBezTo>
                  <a:cubicBezTo>
                    <a:pt x="55" y="205"/>
                    <a:pt x="67" y="210"/>
                    <a:pt x="82" y="210"/>
                  </a:cubicBezTo>
                  <a:cubicBezTo>
                    <a:pt x="97" y="210"/>
                    <a:pt x="109" y="205"/>
                    <a:pt x="118" y="196"/>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7" name="Freeform 39">
              <a:extLst>
                <a:ext uri="{FF2B5EF4-FFF2-40B4-BE49-F238E27FC236}">
                  <a16:creationId xmlns:a16="http://schemas.microsoft.com/office/drawing/2014/main" id="{0EDACDC8-7D9E-3EFB-B552-E3888681CB58}"/>
                </a:ext>
              </a:extLst>
            </p:cNvPr>
            <p:cNvSpPr>
              <a:spLocks/>
            </p:cNvSpPr>
            <p:nvPr userDrawn="1"/>
          </p:nvSpPr>
          <p:spPr bwMode="auto">
            <a:xfrm>
              <a:off x="6559" y="2962"/>
              <a:ext cx="57" cy="72"/>
            </a:xfrm>
            <a:custGeom>
              <a:avLst/>
              <a:gdLst>
                <a:gd name="T0" fmla="*/ 154 w 183"/>
                <a:gd name="T1" fmla="*/ 0 h 232"/>
                <a:gd name="T2" fmla="*/ 180 w 183"/>
                <a:gd name="T3" fmla="*/ 0 h 232"/>
                <a:gd name="T4" fmla="*/ 183 w 183"/>
                <a:gd name="T5" fmla="*/ 3 h 232"/>
                <a:gd name="T6" fmla="*/ 183 w 183"/>
                <a:gd name="T7" fmla="*/ 229 h 232"/>
                <a:gd name="T8" fmla="*/ 180 w 183"/>
                <a:gd name="T9" fmla="*/ 232 h 232"/>
                <a:gd name="T10" fmla="*/ 155 w 183"/>
                <a:gd name="T11" fmla="*/ 232 h 232"/>
                <a:gd name="T12" fmla="*/ 151 w 183"/>
                <a:gd name="T13" fmla="*/ 229 h 232"/>
                <a:gd name="T14" fmla="*/ 151 w 183"/>
                <a:gd name="T15" fmla="*/ 59 h 232"/>
                <a:gd name="T16" fmla="*/ 150 w 183"/>
                <a:gd name="T17" fmla="*/ 58 h 232"/>
                <a:gd name="T18" fmla="*/ 149 w 183"/>
                <a:gd name="T19" fmla="*/ 58 h 232"/>
                <a:gd name="T20" fmla="*/ 102 w 183"/>
                <a:gd name="T21" fmla="*/ 131 h 232"/>
                <a:gd name="T22" fmla="*/ 98 w 183"/>
                <a:gd name="T23" fmla="*/ 133 h 232"/>
                <a:gd name="T24" fmla="*/ 86 w 183"/>
                <a:gd name="T25" fmla="*/ 133 h 232"/>
                <a:gd name="T26" fmla="*/ 82 w 183"/>
                <a:gd name="T27" fmla="*/ 131 h 232"/>
                <a:gd name="T28" fmla="*/ 34 w 183"/>
                <a:gd name="T29" fmla="*/ 59 h 232"/>
                <a:gd name="T30" fmla="*/ 33 w 183"/>
                <a:gd name="T31" fmla="*/ 58 h 232"/>
                <a:gd name="T32" fmla="*/ 32 w 183"/>
                <a:gd name="T33" fmla="*/ 60 h 232"/>
                <a:gd name="T34" fmla="*/ 32 w 183"/>
                <a:gd name="T35" fmla="*/ 229 h 232"/>
                <a:gd name="T36" fmla="*/ 29 w 183"/>
                <a:gd name="T37" fmla="*/ 232 h 232"/>
                <a:gd name="T38" fmla="*/ 4 w 183"/>
                <a:gd name="T39" fmla="*/ 232 h 232"/>
                <a:gd name="T40" fmla="*/ 1 w 183"/>
                <a:gd name="T41" fmla="*/ 229 h 232"/>
                <a:gd name="T42" fmla="*/ 0 w 183"/>
                <a:gd name="T43" fmla="*/ 3 h 232"/>
                <a:gd name="T44" fmla="*/ 4 w 183"/>
                <a:gd name="T45" fmla="*/ 0 h 232"/>
                <a:gd name="T46" fmla="*/ 29 w 183"/>
                <a:gd name="T47" fmla="*/ 0 h 232"/>
                <a:gd name="T48" fmla="*/ 33 w 183"/>
                <a:gd name="T49" fmla="*/ 2 h 232"/>
                <a:gd name="T50" fmla="*/ 91 w 183"/>
                <a:gd name="T51" fmla="*/ 89 h 232"/>
                <a:gd name="T52" fmla="*/ 92 w 183"/>
                <a:gd name="T53" fmla="*/ 89 h 232"/>
                <a:gd name="T54" fmla="*/ 93 w 183"/>
                <a:gd name="T55" fmla="*/ 89 h 232"/>
                <a:gd name="T56" fmla="*/ 150 w 183"/>
                <a:gd name="T57" fmla="*/ 2 h 232"/>
                <a:gd name="T58" fmla="*/ 154 w 183"/>
                <a:gd name="T59" fmla="*/ 0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83" h="232">
                  <a:moveTo>
                    <a:pt x="154" y="0"/>
                  </a:moveTo>
                  <a:cubicBezTo>
                    <a:pt x="180" y="0"/>
                    <a:pt x="180" y="0"/>
                    <a:pt x="180" y="0"/>
                  </a:cubicBezTo>
                  <a:cubicBezTo>
                    <a:pt x="182" y="0"/>
                    <a:pt x="183" y="1"/>
                    <a:pt x="183" y="3"/>
                  </a:cubicBezTo>
                  <a:cubicBezTo>
                    <a:pt x="183" y="229"/>
                    <a:pt x="183" y="229"/>
                    <a:pt x="183" y="229"/>
                  </a:cubicBezTo>
                  <a:cubicBezTo>
                    <a:pt x="183" y="231"/>
                    <a:pt x="182" y="232"/>
                    <a:pt x="180" y="232"/>
                  </a:cubicBezTo>
                  <a:cubicBezTo>
                    <a:pt x="155" y="232"/>
                    <a:pt x="155" y="232"/>
                    <a:pt x="155" y="232"/>
                  </a:cubicBezTo>
                  <a:cubicBezTo>
                    <a:pt x="152" y="232"/>
                    <a:pt x="151" y="231"/>
                    <a:pt x="151" y="229"/>
                  </a:cubicBezTo>
                  <a:cubicBezTo>
                    <a:pt x="151" y="59"/>
                    <a:pt x="151" y="59"/>
                    <a:pt x="151" y="59"/>
                  </a:cubicBezTo>
                  <a:cubicBezTo>
                    <a:pt x="151" y="58"/>
                    <a:pt x="151" y="58"/>
                    <a:pt x="150" y="58"/>
                  </a:cubicBezTo>
                  <a:cubicBezTo>
                    <a:pt x="150" y="57"/>
                    <a:pt x="150" y="58"/>
                    <a:pt x="149" y="58"/>
                  </a:cubicBezTo>
                  <a:cubicBezTo>
                    <a:pt x="102" y="131"/>
                    <a:pt x="102" y="131"/>
                    <a:pt x="102" y="131"/>
                  </a:cubicBezTo>
                  <a:cubicBezTo>
                    <a:pt x="101" y="132"/>
                    <a:pt x="100" y="133"/>
                    <a:pt x="98" y="133"/>
                  </a:cubicBezTo>
                  <a:cubicBezTo>
                    <a:pt x="86" y="133"/>
                    <a:pt x="86" y="133"/>
                    <a:pt x="86" y="133"/>
                  </a:cubicBezTo>
                  <a:cubicBezTo>
                    <a:pt x="84" y="133"/>
                    <a:pt x="83" y="132"/>
                    <a:pt x="82" y="131"/>
                  </a:cubicBezTo>
                  <a:cubicBezTo>
                    <a:pt x="34" y="59"/>
                    <a:pt x="34" y="59"/>
                    <a:pt x="34" y="59"/>
                  </a:cubicBezTo>
                  <a:cubicBezTo>
                    <a:pt x="34" y="58"/>
                    <a:pt x="33" y="58"/>
                    <a:pt x="33" y="58"/>
                  </a:cubicBezTo>
                  <a:cubicBezTo>
                    <a:pt x="32" y="59"/>
                    <a:pt x="32" y="59"/>
                    <a:pt x="32" y="60"/>
                  </a:cubicBezTo>
                  <a:cubicBezTo>
                    <a:pt x="32" y="229"/>
                    <a:pt x="32" y="229"/>
                    <a:pt x="32" y="229"/>
                  </a:cubicBezTo>
                  <a:cubicBezTo>
                    <a:pt x="32" y="231"/>
                    <a:pt x="31" y="232"/>
                    <a:pt x="29" y="232"/>
                  </a:cubicBezTo>
                  <a:cubicBezTo>
                    <a:pt x="4" y="232"/>
                    <a:pt x="4" y="232"/>
                    <a:pt x="4" y="232"/>
                  </a:cubicBezTo>
                  <a:cubicBezTo>
                    <a:pt x="2" y="232"/>
                    <a:pt x="1" y="231"/>
                    <a:pt x="1" y="229"/>
                  </a:cubicBezTo>
                  <a:cubicBezTo>
                    <a:pt x="0" y="3"/>
                    <a:pt x="0" y="3"/>
                    <a:pt x="0" y="3"/>
                  </a:cubicBezTo>
                  <a:cubicBezTo>
                    <a:pt x="0" y="1"/>
                    <a:pt x="1" y="0"/>
                    <a:pt x="4" y="0"/>
                  </a:cubicBezTo>
                  <a:cubicBezTo>
                    <a:pt x="29" y="0"/>
                    <a:pt x="29" y="0"/>
                    <a:pt x="29" y="0"/>
                  </a:cubicBezTo>
                  <a:cubicBezTo>
                    <a:pt x="31" y="0"/>
                    <a:pt x="32" y="1"/>
                    <a:pt x="33" y="2"/>
                  </a:cubicBezTo>
                  <a:cubicBezTo>
                    <a:pt x="91" y="89"/>
                    <a:pt x="91" y="89"/>
                    <a:pt x="91" y="89"/>
                  </a:cubicBezTo>
                  <a:cubicBezTo>
                    <a:pt x="91" y="89"/>
                    <a:pt x="91" y="89"/>
                    <a:pt x="92" y="89"/>
                  </a:cubicBezTo>
                  <a:cubicBezTo>
                    <a:pt x="92" y="89"/>
                    <a:pt x="93" y="89"/>
                    <a:pt x="93" y="89"/>
                  </a:cubicBezTo>
                  <a:cubicBezTo>
                    <a:pt x="150" y="2"/>
                    <a:pt x="150" y="2"/>
                    <a:pt x="150" y="2"/>
                  </a:cubicBezTo>
                  <a:cubicBezTo>
                    <a:pt x="152" y="1"/>
                    <a:pt x="153" y="0"/>
                    <a:pt x="154" y="0"/>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8" name="Freeform 40">
              <a:extLst>
                <a:ext uri="{FF2B5EF4-FFF2-40B4-BE49-F238E27FC236}">
                  <a16:creationId xmlns:a16="http://schemas.microsoft.com/office/drawing/2014/main" id="{8C5C2A1A-5D73-79FE-BBA1-480EE88890A9}"/>
                </a:ext>
              </a:extLst>
            </p:cNvPr>
            <p:cNvSpPr>
              <a:spLocks noEditPoints="1"/>
            </p:cNvSpPr>
            <p:nvPr userDrawn="1"/>
          </p:nvSpPr>
          <p:spPr bwMode="auto">
            <a:xfrm>
              <a:off x="6632" y="2962"/>
              <a:ext cx="51" cy="72"/>
            </a:xfrm>
            <a:custGeom>
              <a:avLst/>
              <a:gdLst>
                <a:gd name="T0" fmla="*/ 129 w 161"/>
                <a:gd name="T1" fmla="*/ 8 h 232"/>
                <a:gd name="T2" fmla="*/ 152 w 161"/>
                <a:gd name="T3" fmla="*/ 32 h 232"/>
                <a:gd name="T4" fmla="*/ 161 w 161"/>
                <a:gd name="T5" fmla="*/ 67 h 232"/>
                <a:gd name="T6" fmla="*/ 152 w 161"/>
                <a:gd name="T7" fmla="*/ 102 h 232"/>
                <a:gd name="T8" fmla="*/ 128 w 161"/>
                <a:gd name="T9" fmla="*/ 125 h 232"/>
                <a:gd name="T10" fmla="*/ 92 w 161"/>
                <a:gd name="T11" fmla="*/ 133 h 232"/>
                <a:gd name="T12" fmla="*/ 33 w 161"/>
                <a:gd name="T13" fmla="*/ 133 h 232"/>
                <a:gd name="T14" fmla="*/ 32 w 161"/>
                <a:gd name="T15" fmla="*/ 134 h 232"/>
                <a:gd name="T16" fmla="*/ 32 w 161"/>
                <a:gd name="T17" fmla="*/ 229 h 232"/>
                <a:gd name="T18" fmla="*/ 29 w 161"/>
                <a:gd name="T19" fmla="*/ 232 h 232"/>
                <a:gd name="T20" fmla="*/ 4 w 161"/>
                <a:gd name="T21" fmla="*/ 232 h 232"/>
                <a:gd name="T22" fmla="*/ 0 w 161"/>
                <a:gd name="T23" fmla="*/ 229 h 232"/>
                <a:gd name="T24" fmla="*/ 0 w 161"/>
                <a:gd name="T25" fmla="*/ 3 h 232"/>
                <a:gd name="T26" fmla="*/ 4 w 161"/>
                <a:gd name="T27" fmla="*/ 0 h 232"/>
                <a:gd name="T28" fmla="*/ 93 w 161"/>
                <a:gd name="T29" fmla="*/ 0 h 232"/>
                <a:gd name="T30" fmla="*/ 129 w 161"/>
                <a:gd name="T31" fmla="*/ 8 h 232"/>
                <a:gd name="T32" fmla="*/ 118 w 161"/>
                <a:gd name="T33" fmla="*/ 96 h 232"/>
                <a:gd name="T34" fmla="*/ 129 w 161"/>
                <a:gd name="T35" fmla="*/ 67 h 232"/>
                <a:gd name="T36" fmla="*/ 118 w 161"/>
                <a:gd name="T37" fmla="*/ 38 h 232"/>
                <a:gd name="T38" fmla="*/ 89 w 161"/>
                <a:gd name="T39" fmla="*/ 27 h 232"/>
                <a:gd name="T40" fmla="*/ 33 w 161"/>
                <a:gd name="T41" fmla="*/ 27 h 232"/>
                <a:gd name="T42" fmla="*/ 32 w 161"/>
                <a:gd name="T43" fmla="*/ 28 h 232"/>
                <a:gd name="T44" fmla="*/ 32 w 161"/>
                <a:gd name="T45" fmla="*/ 106 h 232"/>
                <a:gd name="T46" fmla="*/ 33 w 161"/>
                <a:gd name="T47" fmla="*/ 107 h 232"/>
                <a:gd name="T48" fmla="*/ 89 w 161"/>
                <a:gd name="T49" fmla="*/ 107 h 232"/>
                <a:gd name="T50" fmla="*/ 118 w 161"/>
                <a:gd name="T51" fmla="*/ 96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61" h="232">
                  <a:moveTo>
                    <a:pt x="129" y="8"/>
                  </a:moveTo>
                  <a:cubicBezTo>
                    <a:pt x="139" y="14"/>
                    <a:pt x="147" y="22"/>
                    <a:pt x="152" y="32"/>
                  </a:cubicBezTo>
                  <a:cubicBezTo>
                    <a:pt x="158" y="42"/>
                    <a:pt x="161" y="54"/>
                    <a:pt x="161" y="67"/>
                  </a:cubicBezTo>
                  <a:cubicBezTo>
                    <a:pt x="161" y="80"/>
                    <a:pt x="158" y="92"/>
                    <a:pt x="152" y="102"/>
                  </a:cubicBezTo>
                  <a:cubicBezTo>
                    <a:pt x="147" y="112"/>
                    <a:pt x="138" y="119"/>
                    <a:pt x="128" y="125"/>
                  </a:cubicBezTo>
                  <a:cubicBezTo>
                    <a:pt x="118" y="130"/>
                    <a:pt x="105" y="133"/>
                    <a:pt x="92" y="133"/>
                  </a:cubicBezTo>
                  <a:cubicBezTo>
                    <a:pt x="33" y="133"/>
                    <a:pt x="33" y="133"/>
                    <a:pt x="33" y="133"/>
                  </a:cubicBezTo>
                  <a:cubicBezTo>
                    <a:pt x="33" y="133"/>
                    <a:pt x="32" y="134"/>
                    <a:pt x="32" y="134"/>
                  </a:cubicBezTo>
                  <a:cubicBezTo>
                    <a:pt x="32" y="229"/>
                    <a:pt x="32" y="229"/>
                    <a:pt x="32" y="229"/>
                  </a:cubicBezTo>
                  <a:cubicBezTo>
                    <a:pt x="32" y="231"/>
                    <a:pt x="31" y="232"/>
                    <a:pt x="29" y="232"/>
                  </a:cubicBezTo>
                  <a:cubicBezTo>
                    <a:pt x="4" y="232"/>
                    <a:pt x="4" y="232"/>
                    <a:pt x="4" y="232"/>
                  </a:cubicBezTo>
                  <a:cubicBezTo>
                    <a:pt x="1" y="232"/>
                    <a:pt x="0" y="231"/>
                    <a:pt x="0" y="229"/>
                  </a:cubicBezTo>
                  <a:cubicBezTo>
                    <a:pt x="0" y="3"/>
                    <a:pt x="0" y="3"/>
                    <a:pt x="0" y="3"/>
                  </a:cubicBezTo>
                  <a:cubicBezTo>
                    <a:pt x="0" y="1"/>
                    <a:pt x="1" y="0"/>
                    <a:pt x="4" y="0"/>
                  </a:cubicBezTo>
                  <a:cubicBezTo>
                    <a:pt x="93" y="0"/>
                    <a:pt x="93" y="0"/>
                    <a:pt x="93" y="0"/>
                  </a:cubicBezTo>
                  <a:cubicBezTo>
                    <a:pt x="106" y="0"/>
                    <a:pt x="118" y="2"/>
                    <a:pt x="129" y="8"/>
                  </a:cubicBezTo>
                  <a:moveTo>
                    <a:pt x="118" y="96"/>
                  </a:moveTo>
                  <a:cubicBezTo>
                    <a:pt x="125" y="89"/>
                    <a:pt x="129" y="79"/>
                    <a:pt x="129" y="67"/>
                  </a:cubicBezTo>
                  <a:cubicBezTo>
                    <a:pt x="129" y="55"/>
                    <a:pt x="125" y="46"/>
                    <a:pt x="118" y="38"/>
                  </a:cubicBezTo>
                  <a:cubicBezTo>
                    <a:pt x="111" y="31"/>
                    <a:pt x="101" y="27"/>
                    <a:pt x="89" y="27"/>
                  </a:cubicBezTo>
                  <a:cubicBezTo>
                    <a:pt x="33" y="27"/>
                    <a:pt x="33" y="27"/>
                    <a:pt x="33" y="27"/>
                  </a:cubicBezTo>
                  <a:cubicBezTo>
                    <a:pt x="32" y="27"/>
                    <a:pt x="32" y="28"/>
                    <a:pt x="32" y="28"/>
                  </a:cubicBezTo>
                  <a:cubicBezTo>
                    <a:pt x="32" y="106"/>
                    <a:pt x="32" y="106"/>
                    <a:pt x="32" y="106"/>
                  </a:cubicBezTo>
                  <a:cubicBezTo>
                    <a:pt x="32" y="107"/>
                    <a:pt x="33" y="107"/>
                    <a:pt x="33" y="107"/>
                  </a:cubicBezTo>
                  <a:cubicBezTo>
                    <a:pt x="89" y="107"/>
                    <a:pt x="89" y="107"/>
                    <a:pt x="89" y="107"/>
                  </a:cubicBezTo>
                  <a:cubicBezTo>
                    <a:pt x="101" y="107"/>
                    <a:pt x="111" y="104"/>
                    <a:pt x="118" y="96"/>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9" name="Freeform 41">
              <a:extLst>
                <a:ext uri="{FF2B5EF4-FFF2-40B4-BE49-F238E27FC236}">
                  <a16:creationId xmlns:a16="http://schemas.microsoft.com/office/drawing/2014/main" id="{14BFB97E-3E2F-7D09-AE9E-8B0893382753}"/>
                </a:ext>
              </a:extLst>
            </p:cNvPr>
            <p:cNvSpPr>
              <a:spLocks noEditPoints="1"/>
            </p:cNvSpPr>
            <p:nvPr userDrawn="1"/>
          </p:nvSpPr>
          <p:spPr bwMode="auto">
            <a:xfrm>
              <a:off x="6681" y="2962"/>
              <a:ext cx="59" cy="72"/>
            </a:xfrm>
            <a:custGeom>
              <a:avLst/>
              <a:gdLst>
                <a:gd name="T0" fmla="*/ 154 w 188"/>
                <a:gd name="T1" fmla="*/ 229 h 232"/>
                <a:gd name="T2" fmla="*/ 142 w 188"/>
                <a:gd name="T3" fmla="*/ 190 h 232"/>
                <a:gd name="T4" fmla="*/ 140 w 188"/>
                <a:gd name="T5" fmla="*/ 189 h 232"/>
                <a:gd name="T6" fmla="*/ 47 w 188"/>
                <a:gd name="T7" fmla="*/ 189 h 232"/>
                <a:gd name="T8" fmla="*/ 46 w 188"/>
                <a:gd name="T9" fmla="*/ 190 h 232"/>
                <a:gd name="T10" fmla="*/ 34 w 188"/>
                <a:gd name="T11" fmla="*/ 229 h 232"/>
                <a:gd name="T12" fmla="*/ 30 w 188"/>
                <a:gd name="T13" fmla="*/ 232 h 232"/>
                <a:gd name="T14" fmla="*/ 3 w 188"/>
                <a:gd name="T15" fmla="*/ 232 h 232"/>
                <a:gd name="T16" fmla="*/ 0 w 188"/>
                <a:gd name="T17" fmla="*/ 228 h 232"/>
                <a:gd name="T18" fmla="*/ 73 w 188"/>
                <a:gd name="T19" fmla="*/ 2 h 232"/>
                <a:gd name="T20" fmla="*/ 77 w 188"/>
                <a:gd name="T21" fmla="*/ 0 h 232"/>
                <a:gd name="T22" fmla="*/ 110 w 188"/>
                <a:gd name="T23" fmla="*/ 0 h 232"/>
                <a:gd name="T24" fmla="*/ 114 w 188"/>
                <a:gd name="T25" fmla="*/ 2 h 232"/>
                <a:gd name="T26" fmla="*/ 187 w 188"/>
                <a:gd name="T27" fmla="*/ 228 h 232"/>
                <a:gd name="T28" fmla="*/ 188 w 188"/>
                <a:gd name="T29" fmla="*/ 229 h 232"/>
                <a:gd name="T30" fmla="*/ 185 w 188"/>
                <a:gd name="T31" fmla="*/ 232 h 232"/>
                <a:gd name="T32" fmla="*/ 158 w 188"/>
                <a:gd name="T33" fmla="*/ 232 h 232"/>
                <a:gd name="T34" fmla="*/ 154 w 188"/>
                <a:gd name="T35" fmla="*/ 229 h 232"/>
                <a:gd name="T36" fmla="*/ 55 w 188"/>
                <a:gd name="T37" fmla="*/ 164 h 232"/>
                <a:gd name="T38" fmla="*/ 56 w 188"/>
                <a:gd name="T39" fmla="*/ 164 h 232"/>
                <a:gd name="T40" fmla="*/ 132 w 188"/>
                <a:gd name="T41" fmla="*/ 164 h 232"/>
                <a:gd name="T42" fmla="*/ 133 w 188"/>
                <a:gd name="T43" fmla="*/ 164 h 232"/>
                <a:gd name="T44" fmla="*/ 133 w 188"/>
                <a:gd name="T45" fmla="*/ 162 h 232"/>
                <a:gd name="T46" fmla="*/ 94 w 188"/>
                <a:gd name="T47" fmla="*/ 40 h 232"/>
                <a:gd name="T48" fmla="*/ 93 w 188"/>
                <a:gd name="T49" fmla="*/ 39 h 232"/>
                <a:gd name="T50" fmla="*/ 92 w 188"/>
                <a:gd name="T51" fmla="*/ 40 h 232"/>
                <a:gd name="T52" fmla="*/ 54 w 188"/>
                <a:gd name="T53" fmla="*/ 163 h 232"/>
                <a:gd name="T54" fmla="*/ 55 w 188"/>
                <a:gd name="T55" fmla="*/ 164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88" h="232">
                  <a:moveTo>
                    <a:pt x="154" y="229"/>
                  </a:moveTo>
                  <a:cubicBezTo>
                    <a:pt x="142" y="190"/>
                    <a:pt x="142" y="190"/>
                    <a:pt x="142" y="190"/>
                  </a:cubicBezTo>
                  <a:cubicBezTo>
                    <a:pt x="142" y="190"/>
                    <a:pt x="141" y="189"/>
                    <a:pt x="140" y="189"/>
                  </a:cubicBezTo>
                  <a:cubicBezTo>
                    <a:pt x="47" y="189"/>
                    <a:pt x="47" y="189"/>
                    <a:pt x="47" y="189"/>
                  </a:cubicBezTo>
                  <a:cubicBezTo>
                    <a:pt x="46" y="189"/>
                    <a:pt x="46" y="190"/>
                    <a:pt x="46" y="190"/>
                  </a:cubicBezTo>
                  <a:cubicBezTo>
                    <a:pt x="34" y="229"/>
                    <a:pt x="34" y="229"/>
                    <a:pt x="34" y="229"/>
                  </a:cubicBezTo>
                  <a:cubicBezTo>
                    <a:pt x="33" y="231"/>
                    <a:pt x="32" y="232"/>
                    <a:pt x="30" y="232"/>
                  </a:cubicBezTo>
                  <a:cubicBezTo>
                    <a:pt x="3" y="232"/>
                    <a:pt x="3" y="232"/>
                    <a:pt x="3" y="232"/>
                  </a:cubicBezTo>
                  <a:cubicBezTo>
                    <a:pt x="1" y="232"/>
                    <a:pt x="0" y="231"/>
                    <a:pt x="0" y="228"/>
                  </a:cubicBezTo>
                  <a:cubicBezTo>
                    <a:pt x="73" y="2"/>
                    <a:pt x="73" y="2"/>
                    <a:pt x="73" y="2"/>
                  </a:cubicBezTo>
                  <a:cubicBezTo>
                    <a:pt x="73" y="1"/>
                    <a:pt x="75" y="0"/>
                    <a:pt x="77" y="0"/>
                  </a:cubicBezTo>
                  <a:cubicBezTo>
                    <a:pt x="110" y="0"/>
                    <a:pt x="110" y="0"/>
                    <a:pt x="110" y="0"/>
                  </a:cubicBezTo>
                  <a:cubicBezTo>
                    <a:pt x="112" y="0"/>
                    <a:pt x="114" y="1"/>
                    <a:pt x="114" y="2"/>
                  </a:cubicBezTo>
                  <a:cubicBezTo>
                    <a:pt x="187" y="228"/>
                    <a:pt x="187" y="228"/>
                    <a:pt x="187" y="228"/>
                  </a:cubicBezTo>
                  <a:cubicBezTo>
                    <a:pt x="188" y="229"/>
                    <a:pt x="188" y="229"/>
                    <a:pt x="188" y="229"/>
                  </a:cubicBezTo>
                  <a:cubicBezTo>
                    <a:pt x="188" y="231"/>
                    <a:pt x="187" y="232"/>
                    <a:pt x="185" y="232"/>
                  </a:cubicBezTo>
                  <a:cubicBezTo>
                    <a:pt x="158" y="232"/>
                    <a:pt x="158" y="232"/>
                    <a:pt x="158" y="232"/>
                  </a:cubicBezTo>
                  <a:cubicBezTo>
                    <a:pt x="156" y="232"/>
                    <a:pt x="154" y="231"/>
                    <a:pt x="154" y="229"/>
                  </a:cubicBezTo>
                  <a:moveTo>
                    <a:pt x="55" y="164"/>
                  </a:moveTo>
                  <a:cubicBezTo>
                    <a:pt x="55" y="164"/>
                    <a:pt x="55" y="164"/>
                    <a:pt x="56" y="164"/>
                  </a:cubicBezTo>
                  <a:cubicBezTo>
                    <a:pt x="132" y="164"/>
                    <a:pt x="132" y="164"/>
                    <a:pt x="132" y="164"/>
                  </a:cubicBezTo>
                  <a:cubicBezTo>
                    <a:pt x="132" y="164"/>
                    <a:pt x="133" y="164"/>
                    <a:pt x="133" y="164"/>
                  </a:cubicBezTo>
                  <a:cubicBezTo>
                    <a:pt x="133" y="163"/>
                    <a:pt x="133" y="163"/>
                    <a:pt x="133" y="162"/>
                  </a:cubicBezTo>
                  <a:cubicBezTo>
                    <a:pt x="94" y="40"/>
                    <a:pt x="94" y="40"/>
                    <a:pt x="94" y="40"/>
                  </a:cubicBezTo>
                  <a:cubicBezTo>
                    <a:pt x="94" y="39"/>
                    <a:pt x="94" y="39"/>
                    <a:pt x="93" y="39"/>
                  </a:cubicBezTo>
                  <a:cubicBezTo>
                    <a:pt x="93" y="39"/>
                    <a:pt x="93" y="39"/>
                    <a:pt x="92" y="40"/>
                  </a:cubicBezTo>
                  <a:cubicBezTo>
                    <a:pt x="54" y="163"/>
                    <a:pt x="54" y="163"/>
                    <a:pt x="54" y="163"/>
                  </a:cubicBezTo>
                  <a:cubicBezTo>
                    <a:pt x="54" y="163"/>
                    <a:pt x="54" y="163"/>
                    <a:pt x="55" y="164"/>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0" name="Freeform 42">
              <a:extLst>
                <a:ext uri="{FF2B5EF4-FFF2-40B4-BE49-F238E27FC236}">
                  <a16:creationId xmlns:a16="http://schemas.microsoft.com/office/drawing/2014/main" id="{C1C3A59F-967D-7DA9-7678-966E40870238}"/>
                </a:ext>
              </a:extLst>
            </p:cNvPr>
            <p:cNvSpPr>
              <a:spLocks/>
            </p:cNvSpPr>
            <p:nvPr userDrawn="1"/>
          </p:nvSpPr>
          <p:spPr bwMode="auto">
            <a:xfrm>
              <a:off x="6750" y="2962"/>
              <a:ext cx="52" cy="72"/>
            </a:xfrm>
            <a:custGeom>
              <a:avLst/>
              <a:gdLst>
                <a:gd name="T0" fmla="*/ 140 w 168"/>
                <a:gd name="T1" fmla="*/ 0 h 232"/>
                <a:gd name="T2" fmla="*/ 165 w 168"/>
                <a:gd name="T3" fmla="*/ 0 h 232"/>
                <a:gd name="T4" fmla="*/ 168 w 168"/>
                <a:gd name="T5" fmla="*/ 3 h 232"/>
                <a:gd name="T6" fmla="*/ 168 w 168"/>
                <a:gd name="T7" fmla="*/ 228 h 232"/>
                <a:gd name="T8" fmla="*/ 165 w 168"/>
                <a:gd name="T9" fmla="*/ 232 h 232"/>
                <a:gd name="T10" fmla="*/ 141 w 168"/>
                <a:gd name="T11" fmla="*/ 232 h 232"/>
                <a:gd name="T12" fmla="*/ 137 w 168"/>
                <a:gd name="T13" fmla="*/ 229 h 232"/>
                <a:gd name="T14" fmla="*/ 33 w 168"/>
                <a:gd name="T15" fmla="*/ 60 h 232"/>
                <a:gd name="T16" fmla="*/ 32 w 168"/>
                <a:gd name="T17" fmla="*/ 59 h 232"/>
                <a:gd name="T18" fmla="*/ 31 w 168"/>
                <a:gd name="T19" fmla="*/ 60 h 232"/>
                <a:gd name="T20" fmla="*/ 32 w 168"/>
                <a:gd name="T21" fmla="*/ 228 h 232"/>
                <a:gd name="T22" fmla="*/ 28 w 168"/>
                <a:gd name="T23" fmla="*/ 232 h 232"/>
                <a:gd name="T24" fmla="*/ 3 w 168"/>
                <a:gd name="T25" fmla="*/ 232 h 232"/>
                <a:gd name="T26" fmla="*/ 0 w 168"/>
                <a:gd name="T27" fmla="*/ 228 h 232"/>
                <a:gd name="T28" fmla="*/ 0 w 168"/>
                <a:gd name="T29" fmla="*/ 3 h 232"/>
                <a:gd name="T30" fmla="*/ 3 w 168"/>
                <a:gd name="T31" fmla="*/ 0 h 232"/>
                <a:gd name="T32" fmla="*/ 28 w 168"/>
                <a:gd name="T33" fmla="*/ 0 h 232"/>
                <a:gd name="T34" fmla="*/ 32 w 168"/>
                <a:gd name="T35" fmla="*/ 2 h 232"/>
                <a:gd name="T36" fmla="*/ 135 w 168"/>
                <a:gd name="T37" fmla="*/ 171 h 232"/>
                <a:gd name="T38" fmla="*/ 136 w 168"/>
                <a:gd name="T39" fmla="*/ 172 h 232"/>
                <a:gd name="T40" fmla="*/ 137 w 168"/>
                <a:gd name="T41" fmla="*/ 171 h 232"/>
                <a:gd name="T42" fmla="*/ 136 w 168"/>
                <a:gd name="T43" fmla="*/ 3 h 232"/>
                <a:gd name="T44" fmla="*/ 140 w 168"/>
                <a:gd name="T45" fmla="*/ 0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8" h="232">
                  <a:moveTo>
                    <a:pt x="140" y="0"/>
                  </a:moveTo>
                  <a:cubicBezTo>
                    <a:pt x="165" y="0"/>
                    <a:pt x="165" y="0"/>
                    <a:pt x="165" y="0"/>
                  </a:cubicBezTo>
                  <a:cubicBezTo>
                    <a:pt x="167" y="0"/>
                    <a:pt x="168" y="1"/>
                    <a:pt x="168" y="3"/>
                  </a:cubicBezTo>
                  <a:cubicBezTo>
                    <a:pt x="168" y="228"/>
                    <a:pt x="168" y="228"/>
                    <a:pt x="168" y="228"/>
                  </a:cubicBezTo>
                  <a:cubicBezTo>
                    <a:pt x="168" y="230"/>
                    <a:pt x="167" y="232"/>
                    <a:pt x="165" y="232"/>
                  </a:cubicBezTo>
                  <a:cubicBezTo>
                    <a:pt x="141" y="232"/>
                    <a:pt x="141" y="232"/>
                    <a:pt x="141" y="232"/>
                  </a:cubicBezTo>
                  <a:cubicBezTo>
                    <a:pt x="139" y="232"/>
                    <a:pt x="138" y="231"/>
                    <a:pt x="137" y="229"/>
                  </a:cubicBezTo>
                  <a:cubicBezTo>
                    <a:pt x="33" y="60"/>
                    <a:pt x="33" y="60"/>
                    <a:pt x="33" y="60"/>
                  </a:cubicBezTo>
                  <a:cubicBezTo>
                    <a:pt x="33" y="59"/>
                    <a:pt x="32" y="59"/>
                    <a:pt x="32" y="59"/>
                  </a:cubicBezTo>
                  <a:cubicBezTo>
                    <a:pt x="32" y="59"/>
                    <a:pt x="31" y="60"/>
                    <a:pt x="31" y="60"/>
                  </a:cubicBezTo>
                  <a:cubicBezTo>
                    <a:pt x="32" y="228"/>
                    <a:pt x="32" y="228"/>
                    <a:pt x="32" y="228"/>
                  </a:cubicBezTo>
                  <a:cubicBezTo>
                    <a:pt x="32" y="231"/>
                    <a:pt x="31" y="232"/>
                    <a:pt x="28" y="232"/>
                  </a:cubicBezTo>
                  <a:cubicBezTo>
                    <a:pt x="3" y="232"/>
                    <a:pt x="3" y="232"/>
                    <a:pt x="3" y="232"/>
                  </a:cubicBezTo>
                  <a:cubicBezTo>
                    <a:pt x="1" y="232"/>
                    <a:pt x="0" y="231"/>
                    <a:pt x="0" y="228"/>
                  </a:cubicBezTo>
                  <a:cubicBezTo>
                    <a:pt x="0" y="3"/>
                    <a:pt x="0" y="3"/>
                    <a:pt x="0" y="3"/>
                  </a:cubicBezTo>
                  <a:cubicBezTo>
                    <a:pt x="0" y="1"/>
                    <a:pt x="1" y="0"/>
                    <a:pt x="3" y="0"/>
                  </a:cubicBezTo>
                  <a:cubicBezTo>
                    <a:pt x="28" y="0"/>
                    <a:pt x="28" y="0"/>
                    <a:pt x="28" y="0"/>
                  </a:cubicBezTo>
                  <a:cubicBezTo>
                    <a:pt x="29" y="0"/>
                    <a:pt x="31" y="1"/>
                    <a:pt x="32" y="2"/>
                  </a:cubicBezTo>
                  <a:cubicBezTo>
                    <a:pt x="135" y="171"/>
                    <a:pt x="135" y="171"/>
                    <a:pt x="135" y="171"/>
                  </a:cubicBezTo>
                  <a:cubicBezTo>
                    <a:pt x="135" y="172"/>
                    <a:pt x="136" y="172"/>
                    <a:pt x="136" y="172"/>
                  </a:cubicBezTo>
                  <a:cubicBezTo>
                    <a:pt x="137" y="172"/>
                    <a:pt x="137" y="172"/>
                    <a:pt x="137" y="171"/>
                  </a:cubicBezTo>
                  <a:cubicBezTo>
                    <a:pt x="136" y="3"/>
                    <a:pt x="136" y="3"/>
                    <a:pt x="136" y="3"/>
                  </a:cubicBezTo>
                  <a:cubicBezTo>
                    <a:pt x="136" y="1"/>
                    <a:pt x="137" y="0"/>
                    <a:pt x="140" y="0"/>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1" name="Freeform 43">
              <a:extLst>
                <a:ext uri="{FF2B5EF4-FFF2-40B4-BE49-F238E27FC236}">
                  <a16:creationId xmlns:a16="http://schemas.microsoft.com/office/drawing/2014/main" id="{8DD6E6FA-EAA0-BB94-52DB-314499465D7A}"/>
                </a:ext>
              </a:extLst>
            </p:cNvPr>
            <p:cNvSpPr>
              <a:spLocks/>
            </p:cNvSpPr>
            <p:nvPr userDrawn="1"/>
          </p:nvSpPr>
          <p:spPr bwMode="auto">
            <a:xfrm>
              <a:off x="6819" y="2962"/>
              <a:ext cx="9" cy="72"/>
            </a:xfrm>
            <a:custGeom>
              <a:avLst/>
              <a:gdLst>
                <a:gd name="T0" fmla="*/ 3 w 32"/>
                <a:gd name="T1" fmla="*/ 0 h 232"/>
                <a:gd name="T2" fmla="*/ 29 w 32"/>
                <a:gd name="T3" fmla="*/ 0 h 232"/>
                <a:gd name="T4" fmla="*/ 32 w 32"/>
                <a:gd name="T5" fmla="*/ 3 h 232"/>
                <a:gd name="T6" fmla="*/ 32 w 32"/>
                <a:gd name="T7" fmla="*/ 228 h 232"/>
                <a:gd name="T8" fmla="*/ 29 w 32"/>
                <a:gd name="T9" fmla="*/ 232 h 232"/>
                <a:gd name="T10" fmla="*/ 4 w 32"/>
                <a:gd name="T11" fmla="*/ 232 h 232"/>
                <a:gd name="T12" fmla="*/ 0 w 32"/>
                <a:gd name="T13" fmla="*/ 228 h 232"/>
                <a:gd name="T14" fmla="*/ 0 w 32"/>
                <a:gd name="T15" fmla="*/ 3 h 232"/>
                <a:gd name="T16" fmla="*/ 3 w 32"/>
                <a:gd name="T17" fmla="*/ 0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232">
                  <a:moveTo>
                    <a:pt x="3" y="0"/>
                  </a:moveTo>
                  <a:cubicBezTo>
                    <a:pt x="29" y="0"/>
                    <a:pt x="29" y="0"/>
                    <a:pt x="29" y="0"/>
                  </a:cubicBezTo>
                  <a:cubicBezTo>
                    <a:pt x="31" y="0"/>
                    <a:pt x="32" y="1"/>
                    <a:pt x="32" y="3"/>
                  </a:cubicBezTo>
                  <a:cubicBezTo>
                    <a:pt x="32" y="228"/>
                    <a:pt x="32" y="228"/>
                    <a:pt x="32" y="228"/>
                  </a:cubicBezTo>
                  <a:cubicBezTo>
                    <a:pt x="32" y="230"/>
                    <a:pt x="31" y="232"/>
                    <a:pt x="29" y="232"/>
                  </a:cubicBezTo>
                  <a:cubicBezTo>
                    <a:pt x="4" y="232"/>
                    <a:pt x="4" y="232"/>
                    <a:pt x="4" y="232"/>
                  </a:cubicBezTo>
                  <a:cubicBezTo>
                    <a:pt x="1" y="232"/>
                    <a:pt x="0" y="230"/>
                    <a:pt x="0" y="228"/>
                  </a:cubicBezTo>
                  <a:cubicBezTo>
                    <a:pt x="0" y="3"/>
                    <a:pt x="0" y="3"/>
                    <a:pt x="0" y="3"/>
                  </a:cubicBezTo>
                  <a:cubicBezTo>
                    <a:pt x="0" y="1"/>
                    <a:pt x="1" y="0"/>
                    <a:pt x="3" y="0"/>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2" name="Freeform 44">
              <a:extLst>
                <a:ext uri="{FF2B5EF4-FFF2-40B4-BE49-F238E27FC236}">
                  <a16:creationId xmlns:a16="http://schemas.microsoft.com/office/drawing/2014/main" id="{FB7F66F6-1663-4002-C68E-1737516A70A8}"/>
                </a:ext>
              </a:extLst>
            </p:cNvPr>
            <p:cNvSpPr>
              <a:spLocks/>
            </p:cNvSpPr>
            <p:nvPr userDrawn="1"/>
          </p:nvSpPr>
          <p:spPr bwMode="auto">
            <a:xfrm>
              <a:off x="6845" y="2962"/>
              <a:ext cx="48" cy="72"/>
            </a:xfrm>
            <a:custGeom>
              <a:avLst/>
              <a:gdLst>
                <a:gd name="T0" fmla="*/ 150 w 154"/>
                <a:gd name="T1" fmla="*/ 27 h 231"/>
                <a:gd name="T2" fmla="*/ 33 w 154"/>
                <a:gd name="T3" fmla="*/ 27 h 231"/>
                <a:gd name="T4" fmla="*/ 32 w 154"/>
                <a:gd name="T5" fmla="*/ 28 h 231"/>
                <a:gd name="T6" fmla="*/ 32 w 154"/>
                <a:gd name="T7" fmla="*/ 100 h 231"/>
                <a:gd name="T8" fmla="*/ 33 w 154"/>
                <a:gd name="T9" fmla="*/ 101 h 231"/>
                <a:gd name="T10" fmla="*/ 114 w 154"/>
                <a:gd name="T11" fmla="*/ 101 h 231"/>
                <a:gd name="T12" fmla="*/ 117 w 154"/>
                <a:gd name="T13" fmla="*/ 104 h 231"/>
                <a:gd name="T14" fmla="*/ 117 w 154"/>
                <a:gd name="T15" fmla="*/ 125 h 231"/>
                <a:gd name="T16" fmla="*/ 114 w 154"/>
                <a:gd name="T17" fmla="*/ 128 h 231"/>
                <a:gd name="T18" fmla="*/ 33 w 154"/>
                <a:gd name="T19" fmla="*/ 128 h 231"/>
                <a:gd name="T20" fmla="*/ 32 w 154"/>
                <a:gd name="T21" fmla="*/ 130 h 231"/>
                <a:gd name="T22" fmla="*/ 32 w 154"/>
                <a:gd name="T23" fmla="*/ 203 h 231"/>
                <a:gd name="T24" fmla="*/ 33 w 154"/>
                <a:gd name="T25" fmla="*/ 204 h 231"/>
                <a:gd name="T26" fmla="*/ 150 w 154"/>
                <a:gd name="T27" fmla="*/ 204 h 231"/>
                <a:gd name="T28" fmla="*/ 154 w 154"/>
                <a:gd name="T29" fmla="*/ 207 h 231"/>
                <a:gd name="T30" fmla="*/ 154 w 154"/>
                <a:gd name="T31" fmla="*/ 228 h 231"/>
                <a:gd name="T32" fmla="*/ 150 w 154"/>
                <a:gd name="T33" fmla="*/ 231 h 231"/>
                <a:gd name="T34" fmla="*/ 3 w 154"/>
                <a:gd name="T35" fmla="*/ 231 h 231"/>
                <a:gd name="T36" fmla="*/ 0 w 154"/>
                <a:gd name="T37" fmla="*/ 228 h 231"/>
                <a:gd name="T38" fmla="*/ 0 w 154"/>
                <a:gd name="T39" fmla="*/ 3 h 231"/>
                <a:gd name="T40" fmla="*/ 3 w 154"/>
                <a:gd name="T41" fmla="*/ 0 h 231"/>
                <a:gd name="T42" fmla="*/ 150 w 154"/>
                <a:gd name="T43" fmla="*/ 0 h 231"/>
                <a:gd name="T44" fmla="*/ 154 w 154"/>
                <a:gd name="T45" fmla="*/ 3 h 231"/>
                <a:gd name="T46" fmla="*/ 154 w 154"/>
                <a:gd name="T47" fmla="*/ 24 h 231"/>
                <a:gd name="T48" fmla="*/ 150 w 154"/>
                <a:gd name="T49" fmla="*/ 27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231">
                  <a:moveTo>
                    <a:pt x="150" y="27"/>
                  </a:moveTo>
                  <a:cubicBezTo>
                    <a:pt x="33" y="27"/>
                    <a:pt x="33" y="27"/>
                    <a:pt x="33" y="27"/>
                  </a:cubicBezTo>
                  <a:cubicBezTo>
                    <a:pt x="32" y="27"/>
                    <a:pt x="32" y="28"/>
                    <a:pt x="32" y="28"/>
                  </a:cubicBezTo>
                  <a:cubicBezTo>
                    <a:pt x="32" y="100"/>
                    <a:pt x="32" y="100"/>
                    <a:pt x="32" y="100"/>
                  </a:cubicBezTo>
                  <a:cubicBezTo>
                    <a:pt x="32" y="101"/>
                    <a:pt x="32" y="101"/>
                    <a:pt x="33" y="101"/>
                  </a:cubicBezTo>
                  <a:cubicBezTo>
                    <a:pt x="114" y="101"/>
                    <a:pt x="114" y="101"/>
                    <a:pt x="114" y="101"/>
                  </a:cubicBezTo>
                  <a:cubicBezTo>
                    <a:pt x="116" y="101"/>
                    <a:pt x="117" y="102"/>
                    <a:pt x="117" y="104"/>
                  </a:cubicBezTo>
                  <a:cubicBezTo>
                    <a:pt x="117" y="125"/>
                    <a:pt x="117" y="125"/>
                    <a:pt x="117" y="125"/>
                  </a:cubicBezTo>
                  <a:cubicBezTo>
                    <a:pt x="117" y="127"/>
                    <a:pt x="116" y="128"/>
                    <a:pt x="114" y="128"/>
                  </a:cubicBezTo>
                  <a:cubicBezTo>
                    <a:pt x="33" y="128"/>
                    <a:pt x="33" y="128"/>
                    <a:pt x="33" y="128"/>
                  </a:cubicBezTo>
                  <a:cubicBezTo>
                    <a:pt x="32" y="128"/>
                    <a:pt x="32" y="129"/>
                    <a:pt x="32" y="130"/>
                  </a:cubicBezTo>
                  <a:cubicBezTo>
                    <a:pt x="32" y="203"/>
                    <a:pt x="32" y="203"/>
                    <a:pt x="32" y="203"/>
                  </a:cubicBezTo>
                  <a:cubicBezTo>
                    <a:pt x="32" y="204"/>
                    <a:pt x="32" y="204"/>
                    <a:pt x="33" y="204"/>
                  </a:cubicBezTo>
                  <a:cubicBezTo>
                    <a:pt x="150" y="204"/>
                    <a:pt x="150" y="204"/>
                    <a:pt x="150" y="204"/>
                  </a:cubicBezTo>
                  <a:cubicBezTo>
                    <a:pt x="153" y="204"/>
                    <a:pt x="154" y="205"/>
                    <a:pt x="154" y="207"/>
                  </a:cubicBezTo>
                  <a:cubicBezTo>
                    <a:pt x="154" y="228"/>
                    <a:pt x="154" y="228"/>
                    <a:pt x="154" y="228"/>
                  </a:cubicBezTo>
                  <a:cubicBezTo>
                    <a:pt x="154" y="230"/>
                    <a:pt x="153" y="231"/>
                    <a:pt x="150" y="231"/>
                  </a:cubicBezTo>
                  <a:cubicBezTo>
                    <a:pt x="3" y="231"/>
                    <a:pt x="3" y="231"/>
                    <a:pt x="3" y="231"/>
                  </a:cubicBezTo>
                  <a:cubicBezTo>
                    <a:pt x="1" y="231"/>
                    <a:pt x="0" y="230"/>
                    <a:pt x="0" y="228"/>
                  </a:cubicBezTo>
                  <a:cubicBezTo>
                    <a:pt x="0" y="3"/>
                    <a:pt x="0" y="3"/>
                    <a:pt x="0" y="3"/>
                  </a:cubicBezTo>
                  <a:cubicBezTo>
                    <a:pt x="0" y="1"/>
                    <a:pt x="1" y="0"/>
                    <a:pt x="3" y="0"/>
                  </a:cubicBezTo>
                  <a:cubicBezTo>
                    <a:pt x="150" y="0"/>
                    <a:pt x="150" y="0"/>
                    <a:pt x="150" y="0"/>
                  </a:cubicBezTo>
                  <a:cubicBezTo>
                    <a:pt x="153" y="0"/>
                    <a:pt x="154" y="1"/>
                    <a:pt x="154" y="3"/>
                  </a:cubicBezTo>
                  <a:cubicBezTo>
                    <a:pt x="154" y="24"/>
                    <a:pt x="154" y="24"/>
                    <a:pt x="154" y="24"/>
                  </a:cubicBezTo>
                  <a:cubicBezTo>
                    <a:pt x="154" y="26"/>
                    <a:pt x="153" y="27"/>
                    <a:pt x="150" y="27"/>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3" name="Freeform 45">
              <a:extLst>
                <a:ext uri="{FF2B5EF4-FFF2-40B4-BE49-F238E27FC236}">
                  <a16:creationId xmlns:a16="http://schemas.microsoft.com/office/drawing/2014/main" id="{8E5733B2-48D7-AFFC-BE87-0F71D3E0FF94}"/>
                </a:ext>
              </a:extLst>
            </p:cNvPr>
            <p:cNvSpPr>
              <a:spLocks/>
            </p:cNvSpPr>
            <p:nvPr userDrawn="1"/>
          </p:nvSpPr>
          <p:spPr bwMode="auto">
            <a:xfrm>
              <a:off x="6900" y="2961"/>
              <a:ext cx="51" cy="74"/>
            </a:xfrm>
            <a:custGeom>
              <a:avLst/>
              <a:gdLst>
                <a:gd name="T0" fmla="*/ 39 w 164"/>
                <a:gd name="T1" fmla="*/ 229 h 237"/>
                <a:gd name="T2" fmla="*/ 10 w 164"/>
                <a:gd name="T3" fmla="*/ 207 h 237"/>
                <a:gd name="T4" fmla="*/ 0 w 164"/>
                <a:gd name="T5" fmla="*/ 172 h 237"/>
                <a:gd name="T6" fmla="*/ 0 w 164"/>
                <a:gd name="T7" fmla="*/ 163 h 237"/>
                <a:gd name="T8" fmla="*/ 4 w 164"/>
                <a:gd name="T9" fmla="*/ 160 h 237"/>
                <a:gd name="T10" fmla="*/ 28 w 164"/>
                <a:gd name="T11" fmla="*/ 160 h 237"/>
                <a:gd name="T12" fmla="*/ 31 w 164"/>
                <a:gd name="T13" fmla="*/ 163 h 237"/>
                <a:gd name="T14" fmla="*/ 31 w 164"/>
                <a:gd name="T15" fmla="*/ 171 h 237"/>
                <a:gd name="T16" fmla="*/ 46 w 164"/>
                <a:gd name="T17" fmla="*/ 199 h 237"/>
                <a:gd name="T18" fmla="*/ 86 w 164"/>
                <a:gd name="T19" fmla="*/ 210 h 237"/>
                <a:gd name="T20" fmla="*/ 120 w 164"/>
                <a:gd name="T21" fmla="*/ 200 h 237"/>
                <a:gd name="T22" fmla="*/ 132 w 164"/>
                <a:gd name="T23" fmla="*/ 175 h 237"/>
                <a:gd name="T24" fmla="*/ 126 w 164"/>
                <a:gd name="T25" fmla="*/ 157 h 237"/>
                <a:gd name="T26" fmla="*/ 108 w 164"/>
                <a:gd name="T27" fmla="*/ 144 h 237"/>
                <a:gd name="T28" fmla="*/ 75 w 164"/>
                <a:gd name="T29" fmla="*/ 129 h 237"/>
                <a:gd name="T30" fmla="*/ 37 w 164"/>
                <a:gd name="T31" fmla="*/ 112 h 237"/>
                <a:gd name="T32" fmla="*/ 13 w 164"/>
                <a:gd name="T33" fmla="*/ 92 h 237"/>
                <a:gd name="T34" fmla="*/ 4 w 164"/>
                <a:gd name="T35" fmla="*/ 61 h 237"/>
                <a:gd name="T36" fmla="*/ 25 w 164"/>
                <a:gd name="T37" fmla="*/ 16 h 237"/>
                <a:gd name="T38" fmla="*/ 80 w 164"/>
                <a:gd name="T39" fmla="*/ 0 h 237"/>
                <a:gd name="T40" fmla="*/ 123 w 164"/>
                <a:gd name="T41" fmla="*/ 8 h 237"/>
                <a:gd name="T42" fmla="*/ 151 w 164"/>
                <a:gd name="T43" fmla="*/ 31 h 237"/>
                <a:gd name="T44" fmla="*/ 162 w 164"/>
                <a:gd name="T45" fmla="*/ 66 h 237"/>
                <a:gd name="T46" fmla="*/ 162 w 164"/>
                <a:gd name="T47" fmla="*/ 72 h 237"/>
                <a:gd name="T48" fmla="*/ 158 w 164"/>
                <a:gd name="T49" fmla="*/ 76 h 237"/>
                <a:gd name="T50" fmla="*/ 133 w 164"/>
                <a:gd name="T51" fmla="*/ 76 h 237"/>
                <a:gd name="T52" fmla="*/ 130 w 164"/>
                <a:gd name="T53" fmla="*/ 72 h 237"/>
                <a:gd name="T54" fmla="*/ 130 w 164"/>
                <a:gd name="T55" fmla="*/ 67 h 237"/>
                <a:gd name="T56" fmla="*/ 116 w 164"/>
                <a:gd name="T57" fmla="*/ 39 h 237"/>
                <a:gd name="T58" fmla="*/ 78 w 164"/>
                <a:gd name="T59" fmla="*/ 27 h 237"/>
                <a:gd name="T60" fmla="*/ 47 w 164"/>
                <a:gd name="T61" fmla="*/ 36 h 237"/>
                <a:gd name="T62" fmla="*/ 35 w 164"/>
                <a:gd name="T63" fmla="*/ 60 h 237"/>
                <a:gd name="T64" fmla="*/ 41 w 164"/>
                <a:gd name="T65" fmla="*/ 78 h 237"/>
                <a:gd name="T66" fmla="*/ 58 w 164"/>
                <a:gd name="T67" fmla="*/ 90 h 237"/>
                <a:gd name="T68" fmla="*/ 92 w 164"/>
                <a:gd name="T69" fmla="*/ 104 h 237"/>
                <a:gd name="T70" fmla="*/ 130 w 164"/>
                <a:gd name="T71" fmla="*/ 122 h 237"/>
                <a:gd name="T72" fmla="*/ 154 w 164"/>
                <a:gd name="T73" fmla="*/ 142 h 237"/>
                <a:gd name="T74" fmla="*/ 164 w 164"/>
                <a:gd name="T75" fmla="*/ 174 h 237"/>
                <a:gd name="T76" fmla="*/ 142 w 164"/>
                <a:gd name="T77" fmla="*/ 220 h 237"/>
                <a:gd name="T78" fmla="*/ 83 w 164"/>
                <a:gd name="T79" fmla="*/ 237 h 237"/>
                <a:gd name="T80" fmla="*/ 39 w 164"/>
                <a:gd name="T81" fmla="*/ 229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64" h="237">
                  <a:moveTo>
                    <a:pt x="39" y="229"/>
                  </a:moveTo>
                  <a:cubicBezTo>
                    <a:pt x="27" y="224"/>
                    <a:pt x="17" y="216"/>
                    <a:pt x="10" y="207"/>
                  </a:cubicBezTo>
                  <a:cubicBezTo>
                    <a:pt x="4" y="197"/>
                    <a:pt x="0" y="185"/>
                    <a:pt x="0" y="172"/>
                  </a:cubicBezTo>
                  <a:cubicBezTo>
                    <a:pt x="0" y="163"/>
                    <a:pt x="0" y="163"/>
                    <a:pt x="0" y="163"/>
                  </a:cubicBezTo>
                  <a:cubicBezTo>
                    <a:pt x="0" y="161"/>
                    <a:pt x="1" y="160"/>
                    <a:pt x="4" y="160"/>
                  </a:cubicBezTo>
                  <a:cubicBezTo>
                    <a:pt x="28" y="160"/>
                    <a:pt x="28" y="160"/>
                    <a:pt x="28" y="160"/>
                  </a:cubicBezTo>
                  <a:cubicBezTo>
                    <a:pt x="30" y="160"/>
                    <a:pt x="31" y="161"/>
                    <a:pt x="31" y="163"/>
                  </a:cubicBezTo>
                  <a:cubicBezTo>
                    <a:pt x="31" y="171"/>
                    <a:pt x="31" y="171"/>
                    <a:pt x="31" y="171"/>
                  </a:cubicBezTo>
                  <a:cubicBezTo>
                    <a:pt x="31" y="182"/>
                    <a:pt x="36" y="191"/>
                    <a:pt x="46" y="199"/>
                  </a:cubicBezTo>
                  <a:cubicBezTo>
                    <a:pt x="55" y="206"/>
                    <a:pt x="69" y="210"/>
                    <a:pt x="86" y="210"/>
                  </a:cubicBezTo>
                  <a:cubicBezTo>
                    <a:pt x="101" y="210"/>
                    <a:pt x="112" y="206"/>
                    <a:pt x="120" y="200"/>
                  </a:cubicBezTo>
                  <a:cubicBezTo>
                    <a:pt x="128" y="193"/>
                    <a:pt x="132" y="185"/>
                    <a:pt x="132" y="175"/>
                  </a:cubicBezTo>
                  <a:cubicBezTo>
                    <a:pt x="132" y="168"/>
                    <a:pt x="130" y="162"/>
                    <a:pt x="126" y="157"/>
                  </a:cubicBezTo>
                  <a:cubicBezTo>
                    <a:pt x="122" y="152"/>
                    <a:pt x="116" y="148"/>
                    <a:pt x="108" y="144"/>
                  </a:cubicBezTo>
                  <a:cubicBezTo>
                    <a:pt x="101" y="140"/>
                    <a:pt x="90" y="135"/>
                    <a:pt x="75" y="129"/>
                  </a:cubicBezTo>
                  <a:cubicBezTo>
                    <a:pt x="59" y="123"/>
                    <a:pt x="46" y="117"/>
                    <a:pt x="37" y="112"/>
                  </a:cubicBezTo>
                  <a:cubicBezTo>
                    <a:pt x="27" y="107"/>
                    <a:pt x="20" y="100"/>
                    <a:pt x="13" y="92"/>
                  </a:cubicBezTo>
                  <a:cubicBezTo>
                    <a:pt x="7" y="84"/>
                    <a:pt x="4" y="73"/>
                    <a:pt x="4" y="61"/>
                  </a:cubicBezTo>
                  <a:cubicBezTo>
                    <a:pt x="4" y="42"/>
                    <a:pt x="11" y="27"/>
                    <a:pt x="25" y="16"/>
                  </a:cubicBezTo>
                  <a:cubicBezTo>
                    <a:pt x="38" y="5"/>
                    <a:pt x="56" y="0"/>
                    <a:pt x="80" y="0"/>
                  </a:cubicBezTo>
                  <a:cubicBezTo>
                    <a:pt x="96" y="0"/>
                    <a:pt x="110" y="3"/>
                    <a:pt x="123" y="8"/>
                  </a:cubicBezTo>
                  <a:cubicBezTo>
                    <a:pt x="135" y="14"/>
                    <a:pt x="145" y="21"/>
                    <a:pt x="151" y="31"/>
                  </a:cubicBezTo>
                  <a:cubicBezTo>
                    <a:pt x="158" y="41"/>
                    <a:pt x="162" y="53"/>
                    <a:pt x="162" y="66"/>
                  </a:cubicBezTo>
                  <a:cubicBezTo>
                    <a:pt x="162" y="72"/>
                    <a:pt x="162" y="72"/>
                    <a:pt x="162" y="72"/>
                  </a:cubicBezTo>
                  <a:cubicBezTo>
                    <a:pt x="162" y="75"/>
                    <a:pt x="160" y="76"/>
                    <a:pt x="158" y="76"/>
                  </a:cubicBezTo>
                  <a:cubicBezTo>
                    <a:pt x="133" y="76"/>
                    <a:pt x="133" y="76"/>
                    <a:pt x="133" y="76"/>
                  </a:cubicBezTo>
                  <a:cubicBezTo>
                    <a:pt x="131" y="76"/>
                    <a:pt x="130" y="75"/>
                    <a:pt x="130" y="72"/>
                  </a:cubicBezTo>
                  <a:cubicBezTo>
                    <a:pt x="130" y="67"/>
                    <a:pt x="130" y="67"/>
                    <a:pt x="130" y="67"/>
                  </a:cubicBezTo>
                  <a:cubicBezTo>
                    <a:pt x="130" y="56"/>
                    <a:pt x="125" y="46"/>
                    <a:pt x="116" y="39"/>
                  </a:cubicBezTo>
                  <a:cubicBezTo>
                    <a:pt x="107" y="31"/>
                    <a:pt x="94" y="27"/>
                    <a:pt x="78" y="27"/>
                  </a:cubicBezTo>
                  <a:cubicBezTo>
                    <a:pt x="65" y="27"/>
                    <a:pt x="54" y="30"/>
                    <a:pt x="47" y="36"/>
                  </a:cubicBezTo>
                  <a:cubicBezTo>
                    <a:pt x="39" y="41"/>
                    <a:pt x="35" y="50"/>
                    <a:pt x="35" y="60"/>
                  </a:cubicBezTo>
                  <a:cubicBezTo>
                    <a:pt x="35" y="67"/>
                    <a:pt x="37" y="73"/>
                    <a:pt x="41" y="78"/>
                  </a:cubicBezTo>
                  <a:cubicBezTo>
                    <a:pt x="45" y="83"/>
                    <a:pt x="50" y="87"/>
                    <a:pt x="58" y="90"/>
                  </a:cubicBezTo>
                  <a:cubicBezTo>
                    <a:pt x="65" y="94"/>
                    <a:pt x="76" y="99"/>
                    <a:pt x="92" y="104"/>
                  </a:cubicBezTo>
                  <a:cubicBezTo>
                    <a:pt x="107" y="111"/>
                    <a:pt x="120" y="116"/>
                    <a:pt x="130" y="122"/>
                  </a:cubicBezTo>
                  <a:cubicBezTo>
                    <a:pt x="139" y="127"/>
                    <a:pt x="148" y="134"/>
                    <a:pt x="154" y="142"/>
                  </a:cubicBezTo>
                  <a:cubicBezTo>
                    <a:pt x="160" y="151"/>
                    <a:pt x="164" y="161"/>
                    <a:pt x="164" y="174"/>
                  </a:cubicBezTo>
                  <a:cubicBezTo>
                    <a:pt x="164" y="193"/>
                    <a:pt x="156" y="209"/>
                    <a:pt x="142" y="220"/>
                  </a:cubicBezTo>
                  <a:cubicBezTo>
                    <a:pt x="128" y="231"/>
                    <a:pt x="108" y="237"/>
                    <a:pt x="83" y="237"/>
                  </a:cubicBezTo>
                  <a:cubicBezTo>
                    <a:pt x="66" y="237"/>
                    <a:pt x="52" y="234"/>
                    <a:pt x="39" y="229"/>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4" name="Freeform 46">
              <a:extLst>
                <a:ext uri="{FF2B5EF4-FFF2-40B4-BE49-F238E27FC236}">
                  <a16:creationId xmlns:a16="http://schemas.microsoft.com/office/drawing/2014/main" id="{2641855E-7CEA-3A8B-B9A7-E05D94C47B37}"/>
                </a:ext>
              </a:extLst>
            </p:cNvPr>
            <p:cNvSpPr>
              <a:spLocks/>
            </p:cNvSpPr>
            <p:nvPr userDrawn="1"/>
          </p:nvSpPr>
          <p:spPr bwMode="auto">
            <a:xfrm>
              <a:off x="6980" y="2962"/>
              <a:ext cx="47" cy="72"/>
            </a:xfrm>
            <a:custGeom>
              <a:avLst/>
              <a:gdLst>
                <a:gd name="T0" fmla="*/ 51 w 150"/>
                <a:gd name="T1" fmla="*/ 113 h 230"/>
                <a:gd name="T2" fmla="*/ 1 w 150"/>
                <a:gd name="T3" fmla="*/ 12 h 230"/>
                <a:gd name="T4" fmla="*/ 0 w 150"/>
                <a:gd name="T5" fmla="*/ 7 h 230"/>
                <a:gd name="T6" fmla="*/ 8 w 150"/>
                <a:gd name="T7" fmla="*/ 0 h 230"/>
                <a:gd name="T8" fmla="*/ 89 w 150"/>
                <a:gd name="T9" fmla="*/ 0 h 230"/>
                <a:gd name="T10" fmla="*/ 100 w 150"/>
                <a:gd name="T11" fmla="*/ 7 h 230"/>
                <a:gd name="T12" fmla="*/ 149 w 150"/>
                <a:gd name="T13" fmla="*/ 108 h 230"/>
                <a:gd name="T14" fmla="*/ 150 w 150"/>
                <a:gd name="T15" fmla="*/ 115 h 230"/>
                <a:gd name="T16" fmla="*/ 149 w 150"/>
                <a:gd name="T17" fmla="*/ 121 h 230"/>
                <a:gd name="T18" fmla="*/ 100 w 150"/>
                <a:gd name="T19" fmla="*/ 222 h 230"/>
                <a:gd name="T20" fmla="*/ 89 w 150"/>
                <a:gd name="T21" fmla="*/ 230 h 230"/>
                <a:gd name="T22" fmla="*/ 8 w 150"/>
                <a:gd name="T23" fmla="*/ 230 h 230"/>
                <a:gd name="T24" fmla="*/ 0 w 150"/>
                <a:gd name="T25" fmla="*/ 223 h 230"/>
                <a:gd name="T26" fmla="*/ 1 w 150"/>
                <a:gd name="T27" fmla="*/ 218 h 230"/>
                <a:gd name="T28" fmla="*/ 51 w 150"/>
                <a:gd name="T29" fmla="*/ 117 h 230"/>
                <a:gd name="T30" fmla="*/ 51 w 150"/>
                <a:gd name="T31" fmla="*/ 113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50" h="230">
                  <a:moveTo>
                    <a:pt x="51" y="113"/>
                  </a:moveTo>
                  <a:cubicBezTo>
                    <a:pt x="1" y="12"/>
                    <a:pt x="1" y="12"/>
                    <a:pt x="1" y="12"/>
                  </a:cubicBezTo>
                  <a:cubicBezTo>
                    <a:pt x="0" y="7"/>
                    <a:pt x="0" y="7"/>
                    <a:pt x="0" y="7"/>
                  </a:cubicBezTo>
                  <a:cubicBezTo>
                    <a:pt x="0" y="2"/>
                    <a:pt x="3" y="0"/>
                    <a:pt x="8" y="0"/>
                  </a:cubicBezTo>
                  <a:cubicBezTo>
                    <a:pt x="89" y="0"/>
                    <a:pt x="89" y="0"/>
                    <a:pt x="89" y="0"/>
                  </a:cubicBezTo>
                  <a:cubicBezTo>
                    <a:pt x="94" y="0"/>
                    <a:pt x="98" y="2"/>
                    <a:pt x="100" y="7"/>
                  </a:cubicBezTo>
                  <a:cubicBezTo>
                    <a:pt x="149" y="108"/>
                    <a:pt x="149" y="108"/>
                    <a:pt x="149" y="108"/>
                  </a:cubicBezTo>
                  <a:cubicBezTo>
                    <a:pt x="150" y="110"/>
                    <a:pt x="150" y="112"/>
                    <a:pt x="150" y="115"/>
                  </a:cubicBezTo>
                  <a:cubicBezTo>
                    <a:pt x="150" y="117"/>
                    <a:pt x="150" y="120"/>
                    <a:pt x="149" y="121"/>
                  </a:cubicBezTo>
                  <a:cubicBezTo>
                    <a:pt x="100" y="222"/>
                    <a:pt x="100" y="222"/>
                    <a:pt x="100" y="222"/>
                  </a:cubicBezTo>
                  <a:cubicBezTo>
                    <a:pt x="98" y="227"/>
                    <a:pt x="94" y="230"/>
                    <a:pt x="89" y="230"/>
                  </a:cubicBezTo>
                  <a:cubicBezTo>
                    <a:pt x="8" y="230"/>
                    <a:pt x="8" y="230"/>
                    <a:pt x="8" y="230"/>
                  </a:cubicBezTo>
                  <a:cubicBezTo>
                    <a:pt x="3" y="230"/>
                    <a:pt x="0" y="227"/>
                    <a:pt x="0" y="223"/>
                  </a:cubicBezTo>
                  <a:cubicBezTo>
                    <a:pt x="1" y="218"/>
                    <a:pt x="1" y="218"/>
                    <a:pt x="1" y="218"/>
                  </a:cubicBezTo>
                  <a:cubicBezTo>
                    <a:pt x="51" y="117"/>
                    <a:pt x="51" y="117"/>
                    <a:pt x="51" y="117"/>
                  </a:cubicBezTo>
                  <a:cubicBezTo>
                    <a:pt x="52" y="116"/>
                    <a:pt x="52" y="114"/>
                    <a:pt x="51" y="113"/>
                  </a:cubicBezTo>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5" name="Freeform 47">
              <a:extLst>
                <a:ext uri="{FF2B5EF4-FFF2-40B4-BE49-F238E27FC236}">
                  <a16:creationId xmlns:a16="http://schemas.microsoft.com/office/drawing/2014/main" id="{A7F9DFCA-CC73-2FCA-110B-540176DB0793}"/>
                </a:ext>
              </a:extLst>
            </p:cNvPr>
            <p:cNvSpPr>
              <a:spLocks/>
            </p:cNvSpPr>
            <p:nvPr userDrawn="1"/>
          </p:nvSpPr>
          <p:spPr bwMode="auto">
            <a:xfrm>
              <a:off x="7027" y="2962"/>
              <a:ext cx="46" cy="72"/>
            </a:xfrm>
            <a:custGeom>
              <a:avLst/>
              <a:gdLst>
                <a:gd name="T0" fmla="*/ 51 w 150"/>
                <a:gd name="T1" fmla="*/ 113 h 230"/>
                <a:gd name="T2" fmla="*/ 1 w 150"/>
                <a:gd name="T3" fmla="*/ 12 h 230"/>
                <a:gd name="T4" fmla="*/ 0 w 150"/>
                <a:gd name="T5" fmla="*/ 7 h 230"/>
                <a:gd name="T6" fmla="*/ 8 w 150"/>
                <a:gd name="T7" fmla="*/ 0 h 230"/>
                <a:gd name="T8" fmla="*/ 89 w 150"/>
                <a:gd name="T9" fmla="*/ 0 h 230"/>
                <a:gd name="T10" fmla="*/ 100 w 150"/>
                <a:gd name="T11" fmla="*/ 7 h 230"/>
                <a:gd name="T12" fmla="*/ 149 w 150"/>
                <a:gd name="T13" fmla="*/ 108 h 230"/>
                <a:gd name="T14" fmla="*/ 150 w 150"/>
                <a:gd name="T15" fmla="*/ 115 h 230"/>
                <a:gd name="T16" fmla="*/ 149 w 150"/>
                <a:gd name="T17" fmla="*/ 121 h 230"/>
                <a:gd name="T18" fmla="*/ 100 w 150"/>
                <a:gd name="T19" fmla="*/ 222 h 230"/>
                <a:gd name="T20" fmla="*/ 89 w 150"/>
                <a:gd name="T21" fmla="*/ 230 h 230"/>
                <a:gd name="T22" fmla="*/ 8 w 150"/>
                <a:gd name="T23" fmla="*/ 230 h 230"/>
                <a:gd name="T24" fmla="*/ 0 w 150"/>
                <a:gd name="T25" fmla="*/ 223 h 230"/>
                <a:gd name="T26" fmla="*/ 1 w 150"/>
                <a:gd name="T27" fmla="*/ 218 h 230"/>
                <a:gd name="T28" fmla="*/ 51 w 150"/>
                <a:gd name="T29" fmla="*/ 117 h 230"/>
                <a:gd name="T30" fmla="*/ 51 w 150"/>
                <a:gd name="T31" fmla="*/ 113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50" h="230">
                  <a:moveTo>
                    <a:pt x="51" y="113"/>
                  </a:moveTo>
                  <a:cubicBezTo>
                    <a:pt x="1" y="12"/>
                    <a:pt x="1" y="12"/>
                    <a:pt x="1" y="12"/>
                  </a:cubicBezTo>
                  <a:cubicBezTo>
                    <a:pt x="0" y="7"/>
                    <a:pt x="0" y="7"/>
                    <a:pt x="0" y="7"/>
                  </a:cubicBezTo>
                  <a:cubicBezTo>
                    <a:pt x="0" y="2"/>
                    <a:pt x="3" y="0"/>
                    <a:pt x="8" y="0"/>
                  </a:cubicBezTo>
                  <a:cubicBezTo>
                    <a:pt x="89" y="0"/>
                    <a:pt x="89" y="0"/>
                    <a:pt x="89" y="0"/>
                  </a:cubicBezTo>
                  <a:cubicBezTo>
                    <a:pt x="94" y="0"/>
                    <a:pt x="98" y="2"/>
                    <a:pt x="100" y="7"/>
                  </a:cubicBezTo>
                  <a:cubicBezTo>
                    <a:pt x="149" y="108"/>
                    <a:pt x="149" y="108"/>
                    <a:pt x="149" y="108"/>
                  </a:cubicBezTo>
                  <a:cubicBezTo>
                    <a:pt x="150" y="110"/>
                    <a:pt x="150" y="112"/>
                    <a:pt x="150" y="115"/>
                  </a:cubicBezTo>
                  <a:cubicBezTo>
                    <a:pt x="150" y="117"/>
                    <a:pt x="150" y="120"/>
                    <a:pt x="149" y="121"/>
                  </a:cubicBezTo>
                  <a:cubicBezTo>
                    <a:pt x="100" y="222"/>
                    <a:pt x="100" y="222"/>
                    <a:pt x="100" y="222"/>
                  </a:cubicBezTo>
                  <a:cubicBezTo>
                    <a:pt x="98" y="227"/>
                    <a:pt x="94" y="230"/>
                    <a:pt x="89" y="230"/>
                  </a:cubicBezTo>
                  <a:cubicBezTo>
                    <a:pt x="8" y="230"/>
                    <a:pt x="8" y="230"/>
                    <a:pt x="8" y="230"/>
                  </a:cubicBezTo>
                  <a:cubicBezTo>
                    <a:pt x="3" y="230"/>
                    <a:pt x="0" y="227"/>
                    <a:pt x="0" y="223"/>
                  </a:cubicBezTo>
                  <a:cubicBezTo>
                    <a:pt x="1" y="218"/>
                    <a:pt x="1" y="218"/>
                    <a:pt x="1" y="218"/>
                  </a:cubicBezTo>
                  <a:cubicBezTo>
                    <a:pt x="51" y="117"/>
                    <a:pt x="51" y="117"/>
                    <a:pt x="51" y="117"/>
                  </a:cubicBezTo>
                  <a:cubicBezTo>
                    <a:pt x="52" y="116"/>
                    <a:pt x="52" y="114"/>
                    <a:pt x="51" y="113"/>
                  </a:cubicBezTo>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6" name="Freeform 48">
              <a:extLst>
                <a:ext uri="{FF2B5EF4-FFF2-40B4-BE49-F238E27FC236}">
                  <a16:creationId xmlns:a16="http://schemas.microsoft.com/office/drawing/2014/main" id="{30E6E93D-270B-CB7B-1BDF-1D5F48CABFAE}"/>
                </a:ext>
              </a:extLst>
            </p:cNvPr>
            <p:cNvSpPr>
              <a:spLocks/>
            </p:cNvSpPr>
            <p:nvPr userDrawn="1"/>
          </p:nvSpPr>
          <p:spPr bwMode="auto">
            <a:xfrm>
              <a:off x="6291" y="2858"/>
              <a:ext cx="111" cy="176"/>
            </a:xfrm>
            <a:custGeom>
              <a:avLst/>
              <a:gdLst>
                <a:gd name="T0" fmla="*/ 174 w 355"/>
                <a:gd name="T1" fmla="*/ 141 h 564"/>
                <a:gd name="T2" fmla="*/ 161 w 355"/>
                <a:gd name="T3" fmla="*/ 179 h 564"/>
                <a:gd name="T4" fmla="*/ 284 w 355"/>
                <a:gd name="T5" fmla="*/ 277 h 564"/>
                <a:gd name="T6" fmla="*/ 355 w 355"/>
                <a:gd name="T7" fmla="*/ 422 h 564"/>
                <a:gd name="T8" fmla="*/ 314 w 355"/>
                <a:gd name="T9" fmla="*/ 522 h 564"/>
                <a:gd name="T10" fmla="*/ 214 w 355"/>
                <a:gd name="T11" fmla="*/ 564 h 564"/>
                <a:gd name="T12" fmla="*/ 7 w 355"/>
                <a:gd name="T13" fmla="*/ 564 h 564"/>
                <a:gd name="T14" fmla="*/ 0 w 355"/>
                <a:gd name="T15" fmla="*/ 557 h 564"/>
                <a:gd name="T16" fmla="*/ 0 w 355"/>
                <a:gd name="T17" fmla="*/ 429 h 564"/>
                <a:gd name="T18" fmla="*/ 7 w 355"/>
                <a:gd name="T19" fmla="*/ 422 h 564"/>
                <a:gd name="T20" fmla="*/ 181 w 355"/>
                <a:gd name="T21" fmla="*/ 422 h 564"/>
                <a:gd name="T22" fmla="*/ 194 w 355"/>
                <a:gd name="T23" fmla="*/ 385 h 564"/>
                <a:gd name="T24" fmla="*/ 70 w 355"/>
                <a:gd name="T25" fmla="*/ 287 h 564"/>
                <a:gd name="T26" fmla="*/ 0 w 355"/>
                <a:gd name="T27" fmla="*/ 141 h 564"/>
                <a:gd name="T28" fmla="*/ 141 w 355"/>
                <a:gd name="T29" fmla="*/ 0 h 564"/>
                <a:gd name="T30" fmla="*/ 320 w 355"/>
                <a:gd name="T31" fmla="*/ 0 h 564"/>
                <a:gd name="T32" fmla="*/ 334 w 355"/>
                <a:gd name="T33" fmla="*/ 14 h 564"/>
                <a:gd name="T34" fmla="*/ 334 w 355"/>
                <a:gd name="T35" fmla="*/ 127 h 564"/>
                <a:gd name="T36" fmla="*/ 320 w 355"/>
                <a:gd name="T37" fmla="*/ 141 h 564"/>
                <a:gd name="T38" fmla="*/ 174 w 355"/>
                <a:gd name="T39" fmla="*/ 141 h 5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55" h="564">
                  <a:moveTo>
                    <a:pt x="174" y="141"/>
                  </a:moveTo>
                  <a:cubicBezTo>
                    <a:pt x="154" y="141"/>
                    <a:pt x="145" y="166"/>
                    <a:pt x="161" y="179"/>
                  </a:cubicBezTo>
                  <a:cubicBezTo>
                    <a:pt x="284" y="277"/>
                    <a:pt x="284" y="277"/>
                    <a:pt x="284" y="277"/>
                  </a:cubicBezTo>
                  <a:cubicBezTo>
                    <a:pt x="329" y="312"/>
                    <a:pt x="355" y="366"/>
                    <a:pt x="355" y="422"/>
                  </a:cubicBezTo>
                  <a:cubicBezTo>
                    <a:pt x="355" y="461"/>
                    <a:pt x="339" y="497"/>
                    <a:pt x="314" y="522"/>
                  </a:cubicBezTo>
                  <a:cubicBezTo>
                    <a:pt x="288" y="548"/>
                    <a:pt x="253" y="564"/>
                    <a:pt x="214" y="564"/>
                  </a:cubicBezTo>
                  <a:cubicBezTo>
                    <a:pt x="7" y="564"/>
                    <a:pt x="7" y="564"/>
                    <a:pt x="7" y="564"/>
                  </a:cubicBezTo>
                  <a:cubicBezTo>
                    <a:pt x="3" y="564"/>
                    <a:pt x="0" y="560"/>
                    <a:pt x="0" y="557"/>
                  </a:cubicBezTo>
                  <a:cubicBezTo>
                    <a:pt x="0" y="429"/>
                    <a:pt x="0" y="429"/>
                    <a:pt x="0" y="429"/>
                  </a:cubicBezTo>
                  <a:cubicBezTo>
                    <a:pt x="0" y="426"/>
                    <a:pt x="3" y="422"/>
                    <a:pt x="7" y="422"/>
                  </a:cubicBezTo>
                  <a:cubicBezTo>
                    <a:pt x="181" y="422"/>
                    <a:pt x="181" y="422"/>
                    <a:pt x="181" y="422"/>
                  </a:cubicBezTo>
                  <a:cubicBezTo>
                    <a:pt x="201" y="422"/>
                    <a:pt x="210" y="397"/>
                    <a:pt x="194" y="385"/>
                  </a:cubicBezTo>
                  <a:cubicBezTo>
                    <a:pt x="70" y="287"/>
                    <a:pt x="70" y="287"/>
                    <a:pt x="70" y="287"/>
                  </a:cubicBezTo>
                  <a:cubicBezTo>
                    <a:pt x="25" y="251"/>
                    <a:pt x="0" y="198"/>
                    <a:pt x="0" y="141"/>
                  </a:cubicBezTo>
                  <a:cubicBezTo>
                    <a:pt x="0" y="63"/>
                    <a:pt x="63" y="0"/>
                    <a:pt x="141" y="0"/>
                  </a:cubicBezTo>
                  <a:cubicBezTo>
                    <a:pt x="320" y="0"/>
                    <a:pt x="320" y="0"/>
                    <a:pt x="320" y="0"/>
                  </a:cubicBezTo>
                  <a:cubicBezTo>
                    <a:pt x="327" y="0"/>
                    <a:pt x="334" y="6"/>
                    <a:pt x="334" y="14"/>
                  </a:cubicBezTo>
                  <a:cubicBezTo>
                    <a:pt x="334" y="127"/>
                    <a:pt x="334" y="127"/>
                    <a:pt x="334" y="127"/>
                  </a:cubicBezTo>
                  <a:cubicBezTo>
                    <a:pt x="334" y="135"/>
                    <a:pt x="327" y="141"/>
                    <a:pt x="320" y="141"/>
                  </a:cubicBezTo>
                  <a:lnTo>
                    <a:pt x="174" y="141"/>
                  </a:lnTo>
                  <a:close/>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7" name="Freeform 49">
              <a:extLst>
                <a:ext uri="{FF2B5EF4-FFF2-40B4-BE49-F238E27FC236}">
                  <a16:creationId xmlns:a16="http://schemas.microsoft.com/office/drawing/2014/main" id="{CB4456E5-3EB1-6D05-9A04-8CCF8EA0E9CF}"/>
                </a:ext>
              </a:extLst>
            </p:cNvPr>
            <p:cNvSpPr>
              <a:spLocks/>
            </p:cNvSpPr>
            <p:nvPr userDrawn="1"/>
          </p:nvSpPr>
          <p:spPr bwMode="auto">
            <a:xfrm>
              <a:off x="6017" y="2858"/>
              <a:ext cx="263" cy="209"/>
            </a:xfrm>
            <a:custGeom>
              <a:avLst/>
              <a:gdLst>
                <a:gd name="T0" fmla="*/ 704 w 845"/>
                <a:gd name="T1" fmla="*/ 0 h 669"/>
                <a:gd name="T2" fmla="*/ 528 w 845"/>
                <a:gd name="T3" fmla="*/ 0 h 669"/>
                <a:gd name="T4" fmla="*/ 387 w 845"/>
                <a:gd name="T5" fmla="*/ 141 h 669"/>
                <a:gd name="T6" fmla="*/ 387 w 845"/>
                <a:gd name="T7" fmla="*/ 422 h 669"/>
                <a:gd name="T8" fmla="*/ 387 w 845"/>
                <a:gd name="T9" fmla="*/ 423 h 669"/>
                <a:gd name="T10" fmla="*/ 197 w 845"/>
                <a:gd name="T11" fmla="*/ 423 h 669"/>
                <a:gd name="T12" fmla="*/ 140 w 845"/>
                <a:gd name="T13" fmla="*/ 366 h 669"/>
                <a:gd name="T14" fmla="*/ 140 w 845"/>
                <a:gd name="T15" fmla="*/ 344 h 669"/>
                <a:gd name="T16" fmla="*/ 147 w 845"/>
                <a:gd name="T17" fmla="*/ 337 h 669"/>
                <a:gd name="T18" fmla="*/ 239 w 845"/>
                <a:gd name="T19" fmla="*/ 337 h 669"/>
                <a:gd name="T20" fmla="*/ 253 w 845"/>
                <a:gd name="T21" fmla="*/ 323 h 669"/>
                <a:gd name="T22" fmla="*/ 253 w 845"/>
                <a:gd name="T23" fmla="*/ 238 h 669"/>
                <a:gd name="T24" fmla="*/ 239 w 845"/>
                <a:gd name="T25" fmla="*/ 224 h 669"/>
                <a:gd name="T26" fmla="*/ 147 w 845"/>
                <a:gd name="T27" fmla="*/ 224 h 669"/>
                <a:gd name="T28" fmla="*/ 140 w 845"/>
                <a:gd name="T29" fmla="*/ 217 h 669"/>
                <a:gd name="T30" fmla="*/ 140 w 845"/>
                <a:gd name="T31" fmla="*/ 197 h 669"/>
                <a:gd name="T32" fmla="*/ 197 w 845"/>
                <a:gd name="T33" fmla="*/ 141 h 669"/>
                <a:gd name="T34" fmla="*/ 338 w 845"/>
                <a:gd name="T35" fmla="*/ 141 h 669"/>
                <a:gd name="T36" fmla="*/ 352 w 845"/>
                <a:gd name="T37" fmla="*/ 127 h 669"/>
                <a:gd name="T38" fmla="*/ 352 w 845"/>
                <a:gd name="T39" fmla="*/ 14 h 669"/>
                <a:gd name="T40" fmla="*/ 338 w 845"/>
                <a:gd name="T41" fmla="*/ 0 h 669"/>
                <a:gd name="T42" fmla="*/ 141 w 845"/>
                <a:gd name="T43" fmla="*/ 0 h 669"/>
                <a:gd name="T44" fmla="*/ 0 w 845"/>
                <a:gd name="T45" fmla="*/ 141 h 669"/>
                <a:gd name="T46" fmla="*/ 0 w 845"/>
                <a:gd name="T47" fmla="*/ 423 h 669"/>
                <a:gd name="T48" fmla="*/ 141 w 845"/>
                <a:gd name="T49" fmla="*/ 564 h 669"/>
                <a:gd name="T50" fmla="*/ 662 w 845"/>
                <a:gd name="T51" fmla="*/ 564 h 669"/>
                <a:gd name="T52" fmla="*/ 670 w 845"/>
                <a:gd name="T53" fmla="*/ 557 h 669"/>
                <a:gd name="T54" fmla="*/ 670 w 845"/>
                <a:gd name="T55" fmla="*/ 430 h 669"/>
                <a:gd name="T56" fmla="*/ 662 w 845"/>
                <a:gd name="T57" fmla="*/ 423 h 669"/>
                <a:gd name="T58" fmla="*/ 584 w 845"/>
                <a:gd name="T59" fmla="*/ 423 h 669"/>
                <a:gd name="T60" fmla="*/ 528 w 845"/>
                <a:gd name="T61" fmla="*/ 366 h 669"/>
                <a:gd name="T62" fmla="*/ 528 w 845"/>
                <a:gd name="T63" fmla="*/ 197 h 669"/>
                <a:gd name="T64" fmla="*/ 584 w 845"/>
                <a:gd name="T65" fmla="*/ 141 h 669"/>
                <a:gd name="T66" fmla="*/ 648 w 845"/>
                <a:gd name="T67" fmla="*/ 141 h 669"/>
                <a:gd name="T68" fmla="*/ 705 w 845"/>
                <a:gd name="T69" fmla="*/ 197 h 669"/>
                <a:gd name="T70" fmla="*/ 705 w 845"/>
                <a:gd name="T71" fmla="*/ 562 h 669"/>
                <a:gd name="T72" fmla="*/ 705 w 845"/>
                <a:gd name="T73" fmla="*/ 655 h 669"/>
                <a:gd name="T74" fmla="*/ 719 w 845"/>
                <a:gd name="T75" fmla="*/ 669 h 669"/>
                <a:gd name="T76" fmla="*/ 831 w 845"/>
                <a:gd name="T77" fmla="*/ 669 h 669"/>
                <a:gd name="T78" fmla="*/ 845 w 845"/>
                <a:gd name="T79" fmla="*/ 655 h 669"/>
                <a:gd name="T80" fmla="*/ 845 w 845"/>
                <a:gd name="T81" fmla="*/ 422 h 669"/>
                <a:gd name="T82" fmla="*/ 845 w 845"/>
                <a:gd name="T83" fmla="*/ 141 h 669"/>
                <a:gd name="T84" fmla="*/ 704 w 845"/>
                <a:gd name="T85" fmla="*/ 0 h 6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45" h="669">
                  <a:moveTo>
                    <a:pt x="704" y="0"/>
                  </a:moveTo>
                  <a:cubicBezTo>
                    <a:pt x="528" y="0"/>
                    <a:pt x="528" y="0"/>
                    <a:pt x="528" y="0"/>
                  </a:cubicBezTo>
                  <a:cubicBezTo>
                    <a:pt x="450" y="0"/>
                    <a:pt x="387" y="63"/>
                    <a:pt x="387" y="141"/>
                  </a:cubicBezTo>
                  <a:cubicBezTo>
                    <a:pt x="387" y="422"/>
                    <a:pt x="387" y="422"/>
                    <a:pt x="387" y="422"/>
                  </a:cubicBezTo>
                  <a:cubicBezTo>
                    <a:pt x="387" y="422"/>
                    <a:pt x="387" y="422"/>
                    <a:pt x="387" y="423"/>
                  </a:cubicBezTo>
                  <a:cubicBezTo>
                    <a:pt x="197" y="423"/>
                    <a:pt x="197" y="423"/>
                    <a:pt x="197" y="423"/>
                  </a:cubicBezTo>
                  <a:cubicBezTo>
                    <a:pt x="166" y="423"/>
                    <a:pt x="140" y="397"/>
                    <a:pt x="140" y="366"/>
                  </a:cubicBezTo>
                  <a:cubicBezTo>
                    <a:pt x="140" y="344"/>
                    <a:pt x="140" y="344"/>
                    <a:pt x="140" y="344"/>
                  </a:cubicBezTo>
                  <a:cubicBezTo>
                    <a:pt x="140" y="340"/>
                    <a:pt x="144" y="337"/>
                    <a:pt x="147" y="337"/>
                  </a:cubicBezTo>
                  <a:cubicBezTo>
                    <a:pt x="239" y="337"/>
                    <a:pt x="239" y="337"/>
                    <a:pt x="239" y="337"/>
                  </a:cubicBezTo>
                  <a:cubicBezTo>
                    <a:pt x="247" y="337"/>
                    <a:pt x="253" y="330"/>
                    <a:pt x="253" y="323"/>
                  </a:cubicBezTo>
                  <a:cubicBezTo>
                    <a:pt x="253" y="238"/>
                    <a:pt x="253" y="238"/>
                    <a:pt x="253" y="238"/>
                  </a:cubicBezTo>
                  <a:cubicBezTo>
                    <a:pt x="253" y="231"/>
                    <a:pt x="247" y="224"/>
                    <a:pt x="239" y="224"/>
                  </a:cubicBezTo>
                  <a:cubicBezTo>
                    <a:pt x="147" y="224"/>
                    <a:pt x="147" y="224"/>
                    <a:pt x="147" y="224"/>
                  </a:cubicBezTo>
                  <a:cubicBezTo>
                    <a:pt x="144" y="224"/>
                    <a:pt x="140" y="221"/>
                    <a:pt x="140" y="217"/>
                  </a:cubicBezTo>
                  <a:cubicBezTo>
                    <a:pt x="140" y="197"/>
                    <a:pt x="140" y="197"/>
                    <a:pt x="140" y="197"/>
                  </a:cubicBezTo>
                  <a:cubicBezTo>
                    <a:pt x="140" y="166"/>
                    <a:pt x="166" y="141"/>
                    <a:pt x="197" y="141"/>
                  </a:cubicBezTo>
                  <a:cubicBezTo>
                    <a:pt x="338" y="141"/>
                    <a:pt x="338" y="141"/>
                    <a:pt x="338" y="141"/>
                  </a:cubicBezTo>
                  <a:cubicBezTo>
                    <a:pt x="346" y="141"/>
                    <a:pt x="352" y="135"/>
                    <a:pt x="352" y="127"/>
                  </a:cubicBezTo>
                  <a:cubicBezTo>
                    <a:pt x="352" y="14"/>
                    <a:pt x="352" y="14"/>
                    <a:pt x="352" y="14"/>
                  </a:cubicBezTo>
                  <a:cubicBezTo>
                    <a:pt x="352" y="6"/>
                    <a:pt x="346" y="0"/>
                    <a:pt x="338" y="0"/>
                  </a:cubicBezTo>
                  <a:cubicBezTo>
                    <a:pt x="141" y="0"/>
                    <a:pt x="141" y="0"/>
                    <a:pt x="141" y="0"/>
                  </a:cubicBezTo>
                  <a:cubicBezTo>
                    <a:pt x="63" y="0"/>
                    <a:pt x="0" y="63"/>
                    <a:pt x="0" y="141"/>
                  </a:cubicBezTo>
                  <a:cubicBezTo>
                    <a:pt x="0" y="423"/>
                    <a:pt x="0" y="423"/>
                    <a:pt x="0" y="423"/>
                  </a:cubicBezTo>
                  <a:cubicBezTo>
                    <a:pt x="0" y="501"/>
                    <a:pt x="63" y="564"/>
                    <a:pt x="141" y="564"/>
                  </a:cubicBezTo>
                  <a:cubicBezTo>
                    <a:pt x="662" y="564"/>
                    <a:pt x="662" y="564"/>
                    <a:pt x="662" y="564"/>
                  </a:cubicBezTo>
                  <a:cubicBezTo>
                    <a:pt x="666" y="564"/>
                    <a:pt x="670" y="560"/>
                    <a:pt x="670" y="557"/>
                  </a:cubicBezTo>
                  <a:cubicBezTo>
                    <a:pt x="670" y="430"/>
                    <a:pt x="670" y="430"/>
                    <a:pt x="670" y="430"/>
                  </a:cubicBezTo>
                  <a:cubicBezTo>
                    <a:pt x="670" y="426"/>
                    <a:pt x="666" y="423"/>
                    <a:pt x="662" y="423"/>
                  </a:cubicBezTo>
                  <a:cubicBezTo>
                    <a:pt x="584" y="423"/>
                    <a:pt x="584" y="423"/>
                    <a:pt x="584" y="423"/>
                  </a:cubicBezTo>
                  <a:cubicBezTo>
                    <a:pt x="553" y="423"/>
                    <a:pt x="528" y="397"/>
                    <a:pt x="528" y="366"/>
                  </a:cubicBezTo>
                  <a:cubicBezTo>
                    <a:pt x="528" y="197"/>
                    <a:pt x="528" y="197"/>
                    <a:pt x="528" y="197"/>
                  </a:cubicBezTo>
                  <a:cubicBezTo>
                    <a:pt x="528" y="166"/>
                    <a:pt x="553" y="141"/>
                    <a:pt x="584" y="141"/>
                  </a:cubicBezTo>
                  <a:cubicBezTo>
                    <a:pt x="648" y="141"/>
                    <a:pt x="648" y="141"/>
                    <a:pt x="648" y="141"/>
                  </a:cubicBezTo>
                  <a:cubicBezTo>
                    <a:pt x="679" y="141"/>
                    <a:pt x="705" y="166"/>
                    <a:pt x="705" y="197"/>
                  </a:cubicBezTo>
                  <a:cubicBezTo>
                    <a:pt x="705" y="562"/>
                    <a:pt x="705" y="562"/>
                    <a:pt x="705" y="562"/>
                  </a:cubicBezTo>
                  <a:cubicBezTo>
                    <a:pt x="705" y="655"/>
                    <a:pt x="705" y="655"/>
                    <a:pt x="705" y="655"/>
                  </a:cubicBezTo>
                  <a:cubicBezTo>
                    <a:pt x="705" y="663"/>
                    <a:pt x="711" y="669"/>
                    <a:pt x="719" y="669"/>
                  </a:cubicBezTo>
                  <a:cubicBezTo>
                    <a:pt x="831" y="669"/>
                    <a:pt x="831" y="669"/>
                    <a:pt x="831" y="669"/>
                  </a:cubicBezTo>
                  <a:cubicBezTo>
                    <a:pt x="839" y="669"/>
                    <a:pt x="845" y="663"/>
                    <a:pt x="845" y="655"/>
                  </a:cubicBezTo>
                  <a:cubicBezTo>
                    <a:pt x="845" y="422"/>
                    <a:pt x="845" y="422"/>
                    <a:pt x="845" y="422"/>
                  </a:cubicBezTo>
                  <a:cubicBezTo>
                    <a:pt x="845" y="141"/>
                    <a:pt x="845" y="141"/>
                    <a:pt x="845" y="141"/>
                  </a:cubicBezTo>
                  <a:cubicBezTo>
                    <a:pt x="845" y="63"/>
                    <a:pt x="782" y="0"/>
                    <a:pt x="704" y="0"/>
                  </a:cubicBezTo>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grpSp>
    </p:spTree>
    <p:extLst>
      <p:ext uri="{BB962C8B-B14F-4D97-AF65-F5344CB8AC3E}">
        <p14:creationId xmlns:p14="http://schemas.microsoft.com/office/powerpoint/2010/main" val="4110062219"/>
      </p:ext>
    </p:extLst>
  </p:cSld>
  <p:clrMapOvr>
    <a:masterClrMapping/>
  </p:clrMapOvr>
  <p:extLst>
    <p:ext uri="{DCECCB84-F9BA-43D5-87BE-67443E8EF086}">
      <p15:sldGuideLst xmlns:p15="http://schemas.microsoft.com/office/powerpoint/2012/main"/>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3 Contacts">
    <p:bg>
      <p:bgPr>
        <a:solidFill>
          <a:schemeClr val="accent1"/>
        </a:solidFill>
        <a:effectLst/>
      </p:bgPr>
    </p:bg>
    <p:spTree>
      <p:nvGrpSpPr>
        <p:cNvPr id="1" name=""/>
        <p:cNvGrpSpPr/>
        <p:nvPr/>
      </p:nvGrpSpPr>
      <p:grpSpPr>
        <a:xfrm>
          <a:off x="0" y="0"/>
          <a:ext cx="0" cy="0"/>
          <a:chOff x="0" y="0"/>
          <a:chExt cx="0" cy="0"/>
        </a:xfrm>
      </p:grpSpPr>
      <p:sp>
        <p:nvSpPr>
          <p:cNvPr id="5" name="Grafik 3">
            <a:extLst>
              <a:ext uri="{FF2B5EF4-FFF2-40B4-BE49-F238E27FC236}">
                <a16:creationId xmlns:a16="http://schemas.microsoft.com/office/drawing/2014/main" id="{AC6CE3B9-A1F4-AEFA-B347-F7EBDC4FFF6F}"/>
              </a:ext>
            </a:extLst>
          </p:cNvPr>
          <p:cNvSpPr/>
          <p:nvPr/>
        </p:nvSpPr>
        <p:spPr bwMode="gray">
          <a:xfrm>
            <a:off x="0" y="0"/>
            <a:ext cx="10245444" cy="6857999"/>
          </a:xfrm>
          <a:custGeom>
            <a:avLst/>
            <a:gdLst>
              <a:gd name="connsiteX0" fmla="*/ 3139398 w 10245444"/>
              <a:gd name="connsiteY0" fmla="*/ 6835395 h 6857999"/>
              <a:gd name="connsiteX1" fmla="*/ 3216637 w 10245444"/>
              <a:gd name="connsiteY1" fmla="*/ 6822567 h 6857999"/>
              <a:gd name="connsiteX2" fmla="*/ 3293877 w 10245444"/>
              <a:gd name="connsiteY2" fmla="*/ 6809740 h 6857999"/>
              <a:gd name="connsiteX3" fmla="*/ 3371117 w 10245444"/>
              <a:gd name="connsiteY3" fmla="*/ 6796913 h 6857999"/>
              <a:gd name="connsiteX4" fmla="*/ 3448357 w 10245444"/>
              <a:gd name="connsiteY4" fmla="*/ 6784086 h 6857999"/>
              <a:gd name="connsiteX5" fmla="*/ 3525597 w 10245444"/>
              <a:gd name="connsiteY5" fmla="*/ 6771259 h 6857999"/>
              <a:gd name="connsiteX6" fmla="*/ 3602837 w 10245444"/>
              <a:gd name="connsiteY6" fmla="*/ 6758433 h 6857999"/>
              <a:gd name="connsiteX7" fmla="*/ 3680077 w 10245444"/>
              <a:gd name="connsiteY7" fmla="*/ 6745605 h 6857999"/>
              <a:gd name="connsiteX8" fmla="*/ 3757317 w 10245444"/>
              <a:gd name="connsiteY8" fmla="*/ 6732778 h 6857999"/>
              <a:gd name="connsiteX9" fmla="*/ 3834557 w 10245444"/>
              <a:gd name="connsiteY9" fmla="*/ 6719951 h 6857999"/>
              <a:gd name="connsiteX10" fmla="*/ 3911797 w 10245444"/>
              <a:gd name="connsiteY10" fmla="*/ 6707124 h 6857999"/>
              <a:gd name="connsiteX11" fmla="*/ 3989037 w 10245444"/>
              <a:gd name="connsiteY11" fmla="*/ 6694297 h 6857999"/>
              <a:gd name="connsiteX12" fmla="*/ 4066277 w 10245444"/>
              <a:gd name="connsiteY12" fmla="*/ 6681470 h 6857999"/>
              <a:gd name="connsiteX13" fmla="*/ 4143517 w 10245444"/>
              <a:gd name="connsiteY13" fmla="*/ 6668644 h 6857999"/>
              <a:gd name="connsiteX14" fmla="*/ 4220757 w 10245444"/>
              <a:gd name="connsiteY14" fmla="*/ 6655816 h 6857999"/>
              <a:gd name="connsiteX15" fmla="*/ 4297997 w 10245444"/>
              <a:gd name="connsiteY15" fmla="*/ 6642989 h 6857999"/>
              <a:gd name="connsiteX16" fmla="*/ 4375237 w 10245444"/>
              <a:gd name="connsiteY16" fmla="*/ 6630162 h 6857999"/>
              <a:gd name="connsiteX17" fmla="*/ 4452477 w 10245444"/>
              <a:gd name="connsiteY17" fmla="*/ 6617335 h 6857999"/>
              <a:gd name="connsiteX18" fmla="*/ 4529717 w 10245444"/>
              <a:gd name="connsiteY18" fmla="*/ 6604508 h 6857999"/>
              <a:gd name="connsiteX19" fmla="*/ 4606957 w 10245444"/>
              <a:gd name="connsiteY19" fmla="*/ 6591682 h 6857999"/>
              <a:gd name="connsiteX20" fmla="*/ 4684197 w 10245444"/>
              <a:gd name="connsiteY20" fmla="*/ 6578854 h 6857999"/>
              <a:gd name="connsiteX21" fmla="*/ 4761437 w 10245444"/>
              <a:gd name="connsiteY21" fmla="*/ 6566027 h 6857999"/>
              <a:gd name="connsiteX22" fmla="*/ 4838677 w 10245444"/>
              <a:gd name="connsiteY22" fmla="*/ 6553200 h 6857999"/>
              <a:gd name="connsiteX23" fmla="*/ 4915916 w 10245444"/>
              <a:gd name="connsiteY23" fmla="*/ 6540373 h 6857999"/>
              <a:gd name="connsiteX24" fmla="*/ 4993157 w 10245444"/>
              <a:gd name="connsiteY24" fmla="*/ 6527546 h 6857999"/>
              <a:gd name="connsiteX25" fmla="*/ 5070396 w 10245444"/>
              <a:gd name="connsiteY25" fmla="*/ 6514720 h 6857999"/>
              <a:gd name="connsiteX26" fmla="*/ 5147637 w 10245444"/>
              <a:gd name="connsiteY26" fmla="*/ 6501892 h 6857999"/>
              <a:gd name="connsiteX27" fmla="*/ 5224876 w 10245444"/>
              <a:gd name="connsiteY27" fmla="*/ 6489065 h 6857999"/>
              <a:gd name="connsiteX28" fmla="*/ 5302116 w 10245444"/>
              <a:gd name="connsiteY28" fmla="*/ 6476238 h 6857999"/>
              <a:gd name="connsiteX29" fmla="*/ 5379356 w 10245444"/>
              <a:gd name="connsiteY29" fmla="*/ 6463411 h 6857999"/>
              <a:gd name="connsiteX30" fmla="*/ 5456596 w 10245444"/>
              <a:gd name="connsiteY30" fmla="*/ 6450584 h 6857999"/>
              <a:gd name="connsiteX31" fmla="*/ 5533836 w 10245444"/>
              <a:gd name="connsiteY31" fmla="*/ 6437757 h 6857999"/>
              <a:gd name="connsiteX32" fmla="*/ 5611076 w 10245444"/>
              <a:gd name="connsiteY32" fmla="*/ 6424930 h 6857999"/>
              <a:gd name="connsiteX33" fmla="*/ 5688316 w 10245444"/>
              <a:gd name="connsiteY33" fmla="*/ 6412103 h 6857999"/>
              <a:gd name="connsiteX34" fmla="*/ 5765556 w 10245444"/>
              <a:gd name="connsiteY34" fmla="*/ 6399276 h 6857999"/>
              <a:gd name="connsiteX35" fmla="*/ 5842796 w 10245444"/>
              <a:gd name="connsiteY35" fmla="*/ 6386449 h 6857999"/>
              <a:gd name="connsiteX36" fmla="*/ 5920036 w 10245444"/>
              <a:gd name="connsiteY36" fmla="*/ 6373622 h 6857999"/>
              <a:gd name="connsiteX37" fmla="*/ 5997276 w 10245444"/>
              <a:gd name="connsiteY37" fmla="*/ 6360795 h 6857999"/>
              <a:gd name="connsiteX38" fmla="*/ 6074516 w 10245444"/>
              <a:gd name="connsiteY38" fmla="*/ 6347968 h 6857999"/>
              <a:gd name="connsiteX39" fmla="*/ 6151756 w 10245444"/>
              <a:gd name="connsiteY39" fmla="*/ 6335141 h 6857999"/>
              <a:gd name="connsiteX40" fmla="*/ 6228996 w 10245444"/>
              <a:gd name="connsiteY40" fmla="*/ 6322314 h 6857999"/>
              <a:gd name="connsiteX41" fmla="*/ 6306363 w 10245444"/>
              <a:gd name="connsiteY41" fmla="*/ 6309487 h 6857999"/>
              <a:gd name="connsiteX42" fmla="*/ 6383603 w 10245444"/>
              <a:gd name="connsiteY42" fmla="*/ 6296660 h 6857999"/>
              <a:gd name="connsiteX43" fmla="*/ 6460843 w 10245444"/>
              <a:gd name="connsiteY43" fmla="*/ 6283833 h 6857999"/>
              <a:gd name="connsiteX44" fmla="*/ 6538083 w 10245444"/>
              <a:gd name="connsiteY44" fmla="*/ 6271006 h 6857999"/>
              <a:gd name="connsiteX45" fmla="*/ 6615322 w 10245444"/>
              <a:gd name="connsiteY45" fmla="*/ 6258179 h 6857999"/>
              <a:gd name="connsiteX46" fmla="*/ 6692562 w 10245444"/>
              <a:gd name="connsiteY46" fmla="*/ 6245352 h 6857999"/>
              <a:gd name="connsiteX47" fmla="*/ 6769803 w 10245444"/>
              <a:gd name="connsiteY47" fmla="*/ 6232525 h 6857999"/>
              <a:gd name="connsiteX48" fmla="*/ 6847042 w 10245444"/>
              <a:gd name="connsiteY48" fmla="*/ 6219698 h 6857999"/>
              <a:gd name="connsiteX49" fmla="*/ 6924282 w 10245444"/>
              <a:gd name="connsiteY49" fmla="*/ 6206871 h 6857999"/>
              <a:gd name="connsiteX50" fmla="*/ 7001522 w 10245444"/>
              <a:gd name="connsiteY50" fmla="*/ 6194044 h 6857999"/>
              <a:gd name="connsiteX51" fmla="*/ 7078762 w 10245444"/>
              <a:gd name="connsiteY51" fmla="*/ 6181217 h 6857999"/>
              <a:gd name="connsiteX52" fmla="*/ 7156002 w 10245444"/>
              <a:gd name="connsiteY52" fmla="*/ 6168390 h 6857999"/>
              <a:gd name="connsiteX53" fmla="*/ 7233242 w 10245444"/>
              <a:gd name="connsiteY53" fmla="*/ 6155563 h 6857999"/>
              <a:gd name="connsiteX54" fmla="*/ 7310482 w 10245444"/>
              <a:gd name="connsiteY54" fmla="*/ 6142736 h 6857999"/>
              <a:gd name="connsiteX55" fmla="*/ 7387722 w 10245444"/>
              <a:gd name="connsiteY55" fmla="*/ 6129909 h 6857999"/>
              <a:gd name="connsiteX56" fmla="*/ 7465089 w 10245444"/>
              <a:gd name="connsiteY56" fmla="*/ 6117082 h 6857999"/>
              <a:gd name="connsiteX57" fmla="*/ 7542329 w 10245444"/>
              <a:gd name="connsiteY57" fmla="*/ 6104255 h 6857999"/>
              <a:gd name="connsiteX58" fmla="*/ 7619569 w 10245444"/>
              <a:gd name="connsiteY58" fmla="*/ 6091428 h 6857999"/>
              <a:gd name="connsiteX59" fmla="*/ 7696809 w 10245444"/>
              <a:gd name="connsiteY59" fmla="*/ 6078601 h 6857999"/>
              <a:gd name="connsiteX60" fmla="*/ 7774049 w 10245444"/>
              <a:gd name="connsiteY60" fmla="*/ 6065774 h 6857999"/>
              <a:gd name="connsiteX61" fmla="*/ 7851289 w 10245444"/>
              <a:gd name="connsiteY61" fmla="*/ 6052947 h 6857999"/>
              <a:gd name="connsiteX62" fmla="*/ 8446468 w 10245444"/>
              <a:gd name="connsiteY62" fmla="*/ 5594223 h 6857999"/>
              <a:gd name="connsiteX63" fmla="*/ 10196563 w 10245444"/>
              <a:gd name="connsiteY63" fmla="*/ 1065911 h 6857999"/>
              <a:gd name="connsiteX64" fmla="*/ 9781906 w 10245444"/>
              <a:gd name="connsiteY64" fmla="*/ 129413 h 6857999"/>
              <a:gd name="connsiteX65" fmla="*/ 9446903 w 10245444"/>
              <a:gd name="connsiteY65" fmla="*/ 0 h 6857999"/>
              <a:gd name="connsiteX66" fmla="*/ 0 w 10245444"/>
              <a:gd name="connsiteY66" fmla="*/ 0 h 6857999"/>
              <a:gd name="connsiteX67" fmla="*/ 0 w 10245444"/>
              <a:gd name="connsiteY67" fmla="*/ 6858000 h 6857999"/>
              <a:gd name="connsiteX68" fmla="*/ 3018456 w 10245444"/>
              <a:gd name="connsiteY68" fmla="*/ 6858000 h 6857999"/>
              <a:gd name="connsiteX69" fmla="*/ 3062158 w 10245444"/>
              <a:gd name="connsiteY69" fmla="*/ 6849745 h 6857999"/>
              <a:gd name="connsiteX70" fmla="*/ 3139398 w 10245444"/>
              <a:gd name="connsiteY70" fmla="*/ 6836919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Lst>
            <a:rect l="l" t="t" r="r" b="b"/>
            <a:pathLst>
              <a:path w="10245444" h="6857999">
                <a:moveTo>
                  <a:pt x="3139398" y="6835395"/>
                </a:moveTo>
                <a:cubicBezTo>
                  <a:pt x="3165441" y="6832473"/>
                  <a:pt x="3191230" y="6828283"/>
                  <a:pt x="3216637" y="6822567"/>
                </a:cubicBezTo>
                <a:cubicBezTo>
                  <a:pt x="3242681" y="6819646"/>
                  <a:pt x="3268470" y="6815455"/>
                  <a:pt x="3293877" y="6809740"/>
                </a:cubicBezTo>
                <a:cubicBezTo>
                  <a:pt x="3319920" y="6806820"/>
                  <a:pt x="3345709" y="6802628"/>
                  <a:pt x="3371117" y="6796913"/>
                </a:cubicBezTo>
                <a:cubicBezTo>
                  <a:pt x="3397161" y="6793992"/>
                  <a:pt x="3422950" y="6789801"/>
                  <a:pt x="3448357" y="6784086"/>
                </a:cubicBezTo>
                <a:cubicBezTo>
                  <a:pt x="3474400" y="6781165"/>
                  <a:pt x="3500189" y="6776974"/>
                  <a:pt x="3525597" y="6771259"/>
                </a:cubicBezTo>
                <a:cubicBezTo>
                  <a:pt x="3551641" y="6768338"/>
                  <a:pt x="3577429" y="6764147"/>
                  <a:pt x="3602837" y="6758433"/>
                </a:cubicBezTo>
                <a:cubicBezTo>
                  <a:pt x="3628880" y="6755511"/>
                  <a:pt x="3654669" y="6751320"/>
                  <a:pt x="3680077" y="6745605"/>
                </a:cubicBezTo>
                <a:cubicBezTo>
                  <a:pt x="3706120" y="6742684"/>
                  <a:pt x="3731909" y="6738494"/>
                  <a:pt x="3757317" y="6732778"/>
                </a:cubicBezTo>
                <a:cubicBezTo>
                  <a:pt x="3783360" y="6729858"/>
                  <a:pt x="3809149" y="6725666"/>
                  <a:pt x="3834557" y="6719951"/>
                </a:cubicBezTo>
                <a:cubicBezTo>
                  <a:pt x="3860600" y="6717030"/>
                  <a:pt x="3886389" y="6712839"/>
                  <a:pt x="3911797" y="6707124"/>
                </a:cubicBezTo>
                <a:cubicBezTo>
                  <a:pt x="3937840" y="6704203"/>
                  <a:pt x="3963629" y="6700012"/>
                  <a:pt x="3989037" y="6694297"/>
                </a:cubicBezTo>
                <a:cubicBezTo>
                  <a:pt x="4015080" y="6691376"/>
                  <a:pt x="4040869" y="6687185"/>
                  <a:pt x="4066277" y="6681470"/>
                </a:cubicBezTo>
                <a:cubicBezTo>
                  <a:pt x="4092320" y="6678549"/>
                  <a:pt x="4118109" y="6674358"/>
                  <a:pt x="4143517" y="6668644"/>
                </a:cubicBezTo>
                <a:cubicBezTo>
                  <a:pt x="4169560" y="6665722"/>
                  <a:pt x="4195349" y="6661532"/>
                  <a:pt x="4220757" y="6655816"/>
                </a:cubicBezTo>
                <a:cubicBezTo>
                  <a:pt x="4246800" y="6652895"/>
                  <a:pt x="4272589" y="6648704"/>
                  <a:pt x="4297997" y="6642989"/>
                </a:cubicBezTo>
                <a:cubicBezTo>
                  <a:pt x="4324040" y="6640069"/>
                  <a:pt x="4349829" y="6635877"/>
                  <a:pt x="4375237" y="6630162"/>
                </a:cubicBezTo>
                <a:cubicBezTo>
                  <a:pt x="4401280" y="6627241"/>
                  <a:pt x="4427069" y="6623050"/>
                  <a:pt x="4452477" y="6617335"/>
                </a:cubicBezTo>
                <a:cubicBezTo>
                  <a:pt x="4478520" y="6614414"/>
                  <a:pt x="4504309" y="6610223"/>
                  <a:pt x="4529717" y="6604508"/>
                </a:cubicBezTo>
                <a:cubicBezTo>
                  <a:pt x="4555760" y="6601587"/>
                  <a:pt x="4581549" y="6597396"/>
                  <a:pt x="4606957" y="6591682"/>
                </a:cubicBezTo>
                <a:cubicBezTo>
                  <a:pt x="4633000" y="6588760"/>
                  <a:pt x="4658789" y="6584570"/>
                  <a:pt x="4684197" y="6578854"/>
                </a:cubicBezTo>
                <a:cubicBezTo>
                  <a:pt x="4710240" y="6575933"/>
                  <a:pt x="4736029" y="6571742"/>
                  <a:pt x="4761437" y="6566027"/>
                </a:cubicBezTo>
                <a:cubicBezTo>
                  <a:pt x="4787480" y="6563107"/>
                  <a:pt x="4813269" y="6558915"/>
                  <a:pt x="4838677" y="6553200"/>
                </a:cubicBezTo>
                <a:cubicBezTo>
                  <a:pt x="4864720" y="6550279"/>
                  <a:pt x="4890509" y="6546088"/>
                  <a:pt x="4915916" y="6540373"/>
                </a:cubicBezTo>
                <a:cubicBezTo>
                  <a:pt x="4941960" y="6537452"/>
                  <a:pt x="4967749" y="6533261"/>
                  <a:pt x="4993157" y="6527546"/>
                </a:cubicBezTo>
                <a:cubicBezTo>
                  <a:pt x="5019200" y="6524625"/>
                  <a:pt x="5044989" y="6520434"/>
                  <a:pt x="5070396" y="6514720"/>
                </a:cubicBezTo>
                <a:cubicBezTo>
                  <a:pt x="5096440" y="6511798"/>
                  <a:pt x="5122229" y="6507608"/>
                  <a:pt x="5147637" y="6501892"/>
                </a:cubicBezTo>
                <a:cubicBezTo>
                  <a:pt x="5173679" y="6498971"/>
                  <a:pt x="5199468" y="6494780"/>
                  <a:pt x="5224876" y="6489065"/>
                </a:cubicBezTo>
                <a:cubicBezTo>
                  <a:pt x="5250919" y="6486144"/>
                  <a:pt x="5276708" y="6481953"/>
                  <a:pt x="5302116" y="6476238"/>
                </a:cubicBezTo>
                <a:cubicBezTo>
                  <a:pt x="5328159" y="6473317"/>
                  <a:pt x="5353948" y="6469126"/>
                  <a:pt x="5379356" y="6463411"/>
                </a:cubicBezTo>
                <a:cubicBezTo>
                  <a:pt x="5405399" y="6460490"/>
                  <a:pt x="5431188" y="6456299"/>
                  <a:pt x="5456596" y="6450584"/>
                </a:cubicBezTo>
                <a:cubicBezTo>
                  <a:pt x="5482639" y="6447663"/>
                  <a:pt x="5508428" y="6443472"/>
                  <a:pt x="5533836" y="6437757"/>
                </a:cubicBezTo>
                <a:cubicBezTo>
                  <a:pt x="5559879" y="6434836"/>
                  <a:pt x="5585668" y="6430645"/>
                  <a:pt x="5611076" y="6424930"/>
                </a:cubicBezTo>
                <a:cubicBezTo>
                  <a:pt x="5637119" y="6422009"/>
                  <a:pt x="5662908" y="6417818"/>
                  <a:pt x="5688316" y="6412103"/>
                </a:cubicBezTo>
                <a:cubicBezTo>
                  <a:pt x="5714359" y="6409182"/>
                  <a:pt x="5740148" y="6404991"/>
                  <a:pt x="5765556" y="6399276"/>
                </a:cubicBezTo>
                <a:cubicBezTo>
                  <a:pt x="5791599" y="6396355"/>
                  <a:pt x="5817388" y="6392164"/>
                  <a:pt x="5842796" y="6386449"/>
                </a:cubicBezTo>
                <a:cubicBezTo>
                  <a:pt x="5868839" y="6383528"/>
                  <a:pt x="5894628" y="6379337"/>
                  <a:pt x="5920036" y="6373622"/>
                </a:cubicBezTo>
                <a:cubicBezTo>
                  <a:pt x="5946079" y="6370701"/>
                  <a:pt x="5971868" y="6366510"/>
                  <a:pt x="5997276" y="6360795"/>
                </a:cubicBezTo>
                <a:cubicBezTo>
                  <a:pt x="6023319" y="6357874"/>
                  <a:pt x="6049108" y="6353683"/>
                  <a:pt x="6074516" y="6347968"/>
                </a:cubicBezTo>
                <a:cubicBezTo>
                  <a:pt x="6100559" y="6345047"/>
                  <a:pt x="6126348" y="6340856"/>
                  <a:pt x="6151756" y="6335141"/>
                </a:cubicBezTo>
                <a:cubicBezTo>
                  <a:pt x="6177799" y="6332220"/>
                  <a:pt x="6203588" y="6328029"/>
                  <a:pt x="6228996" y="6322314"/>
                </a:cubicBezTo>
                <a:cubicBezTo>
                  <a:pt x="6255039" y="6319393"/>
                  <a:pt x="6280828" y="6315202"/>
                  <a:pt x="6306363" y="6309487"/>
                </a:cubicBezTo>
                <a:cubicBezTo>
                  <a:pt x="6332406" y="6306566"/>
                  <a:pt x="6358195" y="6302375"/>
                  <a:pt x="6383603" y="6296660"/>
                </a:cubicBezTo>
                <a:cubicBezTo>
                  <a:pt x="6409646" y="6293739"/>
                  <a:pt x="6435435" y="6289548"/>
                  <a:pt x="6460843" y="6283833"/>
                </a:cubicBezTo>
                <a:cubicBezTo>
                  <a:pt x="6486886" y="6280912"/>
                  <a:pt x="6512675" y="6276721"/>
                  <a:pt x="6538083" y="6271006"/>
                </a:cubicBezTo>
                <a:cubicBezTo>
                  <a:pt x="6564126" y="6268085"/>
                  <a:pt x="6589914" y="6263894"/>
                  <a:pt x="6615322" y="6258179"/>
                </a:cubicBezTo>
                <a:cubicBezTo>
                  <a:pt x="6641366" y="6255258"/>
                  <a:pt x="6667155" y="6251067"/>
                  <a:pt x="6692562" y="6245352"/>
                </a:cubicBezTo>
                <a:cubicBezTo>
                  <a:pt x="6718605" y="6242431"/>
                  <a:pt x="6744395" y="6238240"/>
                  <a:pt x="6769803" y="6232525"/>
                </a:cubicBezTo>
                <a:cubicBezTo>
                  <a:pt x="6795846" y="6229604"/>
                  <a:pt x="6821634" y="6225413"/>
                  <a:pt x="6847042" y="6219698"/>
                </a:cubicBezTo>
                <a:cubicBezTo>
                  <a:pt x="6873086" y="6216777"/>
                  <a:pt x="6898874" y="6212586"/>
                  <a:pt x="6924282" y="6206871"/>
                </a:cubicBezTo>
                <a:cubicBezTo>
                  <a:pt x="6950325" y="6203950"/>
                  <a:pt x="6976114" y="6199759"/>
                  <a:pt x="7001522" y="6194044"/>
                </a:cubicBezTo>
                <a:cubicBezTo>
                  <a:pt x="7027565" y="6191123"/>
                  <a:pt x="7053355" y="6186932"/>
                  <a:pt x="7078762" y="6181217"/>
                </a:cubicBezTo>
                <a:cubicBezTo>
                  <a:pt x="7104805" y="6178296"/>
                  <a:pt x="7130594" y="6174105"/>
                  <a:pt x="7156002" y="6168390"/>
                </a:cubicBezTo>
                <a:cubicBezTo>
                  <a:pt x="7182046" y="6165469"/>
                  <a:pt x="7207834" y="6161278"/>
                  <a:pt x="7233242" y="6155563"/>
                </a:cubicBezTo>
                <a:cubicBezTo>
                  <a:pt x="7259285" y="6152642"/>
                  <a:pt x="7285074" y="6148451"/>
                  <a:pt x="7310482" y="6142736"/>
                </a:cubicBezTo>
                <a:cubicBezTo>
                  <a:pt x="7336525" y="6139815"/>
                  <a:pt x="7362315" y="6135624"/>
                  <a:pt x="7387722" y="6129909"/>
                </a:cubicBezTo>
                <a:cubicBezTo>
                  <a:pt x="7413765" y="6126988"/>
                  <a:pt x="7439554" y="6122797"/>
                  <a:pt x="7465089" y="6117082"/>
                </a:cubicBezTo>
                <a:cubicBezTo>
                  <a:pt x="7491132" y="6114161"/>
                  <a:pt x="7516921" y="6109970"/>
                  <a:pt x="7542329" y="6104255"/>
                </a:cubicBezTo>
                <a:cubicBezTo>
                  <a:pt x="7568372" y="6101334"/>
                  <a:pt x="7594161" y="6097143"/>
                  <a:pt x="7619569" y="6091428"/>
                </a:cubicBezTo>
                <a:cubicBezTo>
                  <a:pt x="7645612" y="6088507"/>
                  <a:pt x="7671401" y="6084316"/>
                  <a:pt x="7696809" y="6078601"/>
                </a:cubicBezTo>
                <a:cubicBezTo>
                  <a:pt x="7722852" y="6075680"/>
                  <a:pt x="7748641" y="6071489"/>
                  <a:pt x="7774049" y="6065774"/>
                </a:cubicBezTo>
                <a:cubicBezTo>
                  <a:pt x="7800092" y="6062853"/>
                  <a:pt x="7825881" y="6058662"/>
                  <a:pt x="7851289" y="6052947"/>
                </a:cubicBezTo>
                <a:cubicBezTo>
                  <a:pt x="8110958" y="6023737"/>
                  <a:pt x="8345853" y="5854827"/>
                  <a:pt x="8446468" y="5594223"/>
                </a:cubicBezTo>
                <a:lnTo>
                  <a:pt x="10196563" y="1065911"/>
                </a:lnTo>
                <a:cubicBezTo>
                  <a:pt x="10340752" y="692785"/>
                  <a:pt x="10155148" y="273558"/>
                  <a:pt x="9781906" y="129413"/>
                </a:cubicBezTo>
                <a:lnTo>
                  <a:pt x="9446903" y="0"/>
                </a:lnTo>
                <a:lnTo>
                  <a:pt x="0" y="0"/>
                </a:lnTo>
                <a:lnTo>
                  <a:pt x="0" y="6858000"/>
                </a:lnTo>
                <a:lnTo>
                  <a:pt x="3018456" y="6858000"/>
                </a:lnTo>
                <a:cubicBezTo>
                  <a:pt x="3033193" y="6855714"/>
                  <a:pt x="3047802" y="6853047"/>
                  <a:pt x="3062158" y="6849745"/>
                </a:cubicBezTo>
                <a:cubicBezTo>
                  <a:pt x="3088201" y="6846824"/>
                  <a:pt x="3113990" y="6842633"/>
                  <a:pt x="3139398" y="6836919"/>
                </a:cubicBezTo>
                <a:close/>
              </a:path>
            </a:pathLst>
          </a:custGeom>
          <a:solidFill>
            <a:srgbClr val="FFFFFF"/>
          </a:solidFill>
          <a:ln w="0" cap="flat">
            <a:noFill/>
            <a:prstDash val="solid"/>
            <a:miter/>
          </a:ln>
        </p:spPr>
        <p:txBody>
          <a:bodyPr rtlCol="0" anchor="ctr"/>
          <a:lstStyle/>
          <a:p>
            <a:endParaRPr lang="de-DE"/>
          </a:p>
        </p:txBody>
      </p:sp>
      <p:sp>
        <p:nvSpPr>
          <p:cNvPr id="12" name="Grafik 5">
            <a:extLst>
              <a:ext uri="{FF2B5EF4-FFF2-40B4-BE49-F238E27FC236}">
                <a16:creationId xmlns:a16="http://schemas.microsoft.com/office/drawing/2014/main" id="{1ED5DE0F-2D02-56EB-BAC9-1332051464BB}"/>
              </a:ext>
            </a:extLst>
          </p:cNvPr>
          <p:cNvSpPr/>
          <p:nvPr userDrawn="1"/>
        </p:nvSpPr>
        <p:spPr bwMode="gray">
          <a:xfrm>
            <a:off x="8791597" y="3448037"/>
            <a:ext cx="3397103" cy="3415179"/>
          </a:xfrm>
          <a:custGeom>
            <a:avLst/>
            <a:gdLst>
              <a:gd name="connsiteX0" fmla="*/ 3396216 w 3397103"/>
              <a:gd name="connsiteY0" fmla="*/ 789518 h 3415179"/>
              <a:gd name="connsiteX1" fmla="*/ 3217820 w 3397103"/>
              <a:gd name="connsiteY1" fmla="*/ 678694 h 3415179"/>
              <a:gd name="connsiteX2" fmla="*/ 1250014 w 3397103"/>
              <a:gd name="connsiteY2" fmla="*/ 23297 h 3415179"/>
              <a:gd name="connsiteX3" fmla="*/ 676763 w 3397103"/>
              <a:gd name="connsiteY3" fmla="*/ 311488 h 3415179"/>
              <a:gd name="connsiteX4" fmla="*/ 23197 w 3397103"/>
              <a:gd name="connsiteY4" fmla="*/ 2284679 h 3415179"/>
              <a:gd name="connsiteX5" fmla="*/ 16218 w 3397103"/>
              <a:gd name="connsiteY5" fmla="*/ 2548187 h 3415179"/>
              <a:gd name="connsiteX6" fmla="*/ 26622 w 3397103"/>
              <a:gd name="connsiteY6" fmla="*/ 2596155 h 3415179"/>
              <a:gd name="connsiteX7" fmla="*/ 37027 w 3397103"/>
              <a:gd name="connsiteY7" fmla="*/ 2644251 h 3415179"/>
              <a:gd name="connsiteX8" fmla="*/ 47431 w 3397103"/>
              <a:gd name="connsiteY8" fmla="*/ 2692219 h 3415179"/>
              <a:gd name="connsiteX9" fmla="*/ 57835 w 3397103"/>
              <a:gd name="connsiteY9" fmla="*/ 2740314 h 3415179"/>
              <a:gd name="connsiteX10" fmla="*/ 68240 w 3397103"/>
              <a:gd name="connsiteY10" fmla="*/ 2788283 h 3415179"/>
              <a:gd name="connsiteX11" fmla="*/ 78644 w 3397103"/>
              <a:gd name="connsiteY11" fmla="*/ 2836378 h 3415179"/>
              <a:gd name="connsiteX12" fmla="*/ 89048 w 3397103"/>
              <a:gd name="connsiteY12" fmla="*/ 2884474 h 3415179"/>
              <a:gd name="connsiteX13" fmla="*/ 99452 w 3397103"/>
              <a:gd name="connsiteY13" fmla="*/ 2932442 h 3415179"/>
              <a:gd name="connsiteX14" fmla="*/ 109857 w 3397103"/>
              <a:gd name="connsiteY14" fmla="*/ 2980538 h 3415179"/>
              <a:gd name="connsiteX15" fmla="*/ 120261 w 3397103"/>
              <a:gd name="connsiteY15" fmla="*/ 3028506 h 3415179"/>
              <a:gd name="connsiteX16" fmla="*/ 130665 w 3397103"/>
              <a:gd name="connsiteY16" fmla="*/ 3076602 h 3415179"/>
              <a:gd name="connsiteX17" fmla="*/ 141070 w 3397103"/>
              <a:gd name="connsiteY17" fmla="*/ 3124570 h 3415179"/>
              <a:gd name="connsiteX18" fmla="*/ 151474 w 3397103"/>
              <a:gd name="connsiteY18" fmla="*/ 3172666 h 3415179"/>
              <a:gd name="connsiteX19" fmla="*/ 161878 w 3397103"/>
              <a:gd name="connsiteY19" fmla="*/ 3220761 h 3415179"/>
              <a:gd name="connsiteX20" fmla="*/ 172282 w 3397103"/>
              <a:gd name="connsiteY20" fmla="*/ 3268729 h 3415179"/>
              <a:gd name="connsiteX21" fmla="*/ 182687 w 3397103"/>
              <a:gd name="connsiteY21" fmla="*/ 3316825 h 3415179"/>
              <a:gd name="connsiteX22" fmla="*/ 193091 w 3397103"/>
              <a:gd name="connsiteY22" fmla="*/ 3364793 h 3415179"/>
              <a:gd name="connsiteX23" fmla="*/ 203495 w 3397103"/>
              <a:gd name="connsiteY23" fmla="*/ 3412889 h 3415179"/>
              <a:gd name="connsiteX24" fmla="*/ 204003 w 3397103"/>
              <a:gd name="connsiteY24" fmla="*/ 3415179 h 3415179"/>
              <a:gd name="connsiteX25" fmla="*/ 3397103 w 3397103"/>
              <a:gd name="connsiteY25" fmla="*/ 3415179 h 3415179"/>
              <a:gd name="connsiteX26" fmla="*/ 3397103 w 3397103"/>
              <a:gd name="connsiteY26" fmla="*/ 789518 h 34151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397103" h="3415179">
                <a:moveTo>
                  <a:pt x="3396216" y="789518"/>
                </a:moveTo>
                <a:cubicBezTo>
                  <a:pt x="3347747" y="740531"/>
                  <a:pt x="3287478" y="701979"/>
                  <a:pt x="3217820" y="678694"/>
                </a:cubicBezTo>
                <a:lnTo>
                  <a:pt x="1250014" y="23297"/>
                </a:lnTo>
                <a:cubicBezTo>
                  <a:pt x="1012365" y="-55845"/>
                  <a:pt x="755684" y="73174"/>
                  <a:pt x="676763" y="311488"/>
                </a:cubicBezTo>
                <a:lnTo>
                  <a:pt x="23197" y="2284679"/>
                </a:lnTo>
                <a:cubicBezTo>
                  <a:pt x="-6113" y="2373236"/>
                  <a:pt x="-6747" y="2464465"/>
                  <a:pt x="16218" y="2548187"/>
                </a:cubicBezTo>
                <a:cubicBezTo>
                  <a:pt x="18883" y="2564473"/>
                  <a:pt x="22308" y="2580505"/>
                  <a:pt x="26622" y="2596155"/>
                </a:cubicBezTo>
                <a:cubicBezTo>
                  <a:pt x="29287" y="2612441"/>
                  <a:pt x="32713" y="2628473"/>
                  <a:pt x="37027" y="2644251"/>
                </a:cubicBezTo>
                <a:cubicBezTo>
                  <a:pt x="39691" y="2660537"/>
                  <a:pt x="42990" y="2676569"/>
                  <a:pt x="47431" y="2692219"/>
                </a:cubicBezTo>
                <a:cubicBezTo>
                  <a:pt x="50096" y="2708505"/>
                  <a:pt x="53521" y="2724537"/>
                  <a:pt x="57835" y="2740314"/>
                </a:cubicBezTo>
                <a:cubicBezTo>
                  <a:pt x="60500" y="2756601"/>
                  <a:pt x="63926" y="2772633"/>
                  <a:pt x="68240" y="2788283"/>
                </a:cubicBezTo>
                <a:cubicBezTo>
                  <a:pt x="70904" y="2804569"/>
                  <a:pt x="74330" y="2820601"/>
                  <a:pt x="78644" y="2836378"/>
                </a:cubicBezTo>
                <a:cubicBezTo>
                  <a:pt x="81308" y="2852665"/>
                  <a:pt x="84734" y="2868697"/>
                  <a:pt x="89048" y="2884474"/>
                </a:cubicBezTo>
                <a:cubicBezTo>
                  <a:pt x="91713" y="2900760"/>
                  <a:pt x="95138" y="2916792"/>
                  <a:pt x="99452" y="2932442"/>
                </a:cubicBezTo>
                <a:cubicBezTo>
                  <a:pt x="102117" y="2948729"/>
                  <a:pt x="105416" y="2964760"/>
                  <a:pt x="109857" y="2980538"/>
                </a:cubicBezTo>
                <a:cubicBezTo>
                  <a:pt x="112521" y="2996824"/>
                  <a:pt x="115820" y="3012856"/>
                  <a:pt x="120261" y="3028506"/>
                </a:cubicBezTo>
                <a:cubicBezTo>
                  <a:pt x="122926" y="3044792"/>
                  <a:pt x="126351" y="3060824"/>
                  <a:pt x="130665" y="3076602"/>
                </a:cubicBezTo>
                <a:cubicBezTo>
                  <a:pt x="133330" y="3092888"/>
                  <a:pt x="136756" y="3108920"/>
                  <a:pt x="141070" y="3124570"/>
                </a:cubicBezTo>
                <a:cubicBezTo>
                  <a:pt x="143734" y="3140856"/>
                  <a:pt x="147160" y="3156888"/>
                  <a:pt x="151474" y="3172666"/>
                </a:cubicBezTo>
                <a:cubicBezTo>
                  <a:pt x="154138" y="3188952"/>
                  <a:pt x="157564" y="3204984"/>
                  <a:pt x="161878" y="3220761"/>
                </a:cubicBezTo>
                <a:cubicBezTo>
                  <a:pt x="164543" y="3237047"/>
                  <a:pt x="167968" y="3253079"/>
                  <a:pt x="172282" y="3268729"/>
                </a:cubicBezTo>
                <a:cubicBezTo>
                  <a:pt x="174947" y="3285016"/>
                  <a:pt x="178373" y="3301048"/>
                  <a:pt x="182687" y="3316825"/>
                </a:cubicBezTo>
                <a:cubicBezTo>
                  <a:pt x="185351" y="3333111"/>
                  <a:pt x="188777" y="3349143"/>
                  <a:pt x="193091" y="3364793"/>
                </a:cubicBezTo>
                <a:cubicBezTo>
                  <a:pt x="195756" y="3381080"/>
                  <a:pt x="199181" y="3397111"/>
                  <a:pt x="203495" y="3412889"/>
                </a:cubicBezTo>
                <a:cubicBezTo>
                  <a:pt x="203495" y="3413652"/>
                  <a:pt x="203749" y="3414416"/>
                  <a:pt x="204003" y="3415179"/>
                </a:cubicBezTo>
                <a:lnTo>
                  <a:pt x="3397103" y="3415179"/>
                </a:lnTo>
                <a:lnTo>
                  <a:pt x="3397103" y="789518"/>
                </a:lnTo>
                <a:close/>
              </a:path>
            </a:pathLst>
          </a:custGeom>
          <a:solidFill>
            <a:srgbClr val="FFFFFF"/>
          </a:solidFill>
          <a:ln w="0" cap="flat">
            <a:noFill/>
            <a:prstDash val="solid"/>
            <a:miter/>
          </a:ln>
        </p:spPr>
        <p:txBody>
          <a:bodyPr rtlCol="0" anchor="ctr"/>
          <a:lstStyle/>
          <a:p>
            <a:endParaRPr lang="de-DE"/>
          </a:p>
        </p:txBody>
      </p:sp>
      <p:sp>
        <p:nvSpPr>
          <p:cNvPr id="3" name="Titel 2">
            <a:extLst>
              <a:ext uri="{FF2B5EF4-FFF2-40B4-BE49-F238E27FC236}">
                <a16:creationId xmlns:a16="http://schemas.microsoft.com/office/drawing/2014/main" id="{1793D331-ACA0-31E5-4452-A4AFF995CAD1}"/>
              </a:ext>
            </a:extLst>
          </p:cNvPr>
          <p:cNvSpPr>
            <a:spLocks noGrp="1"/>
          </p:cNvSpPr>
          <p:nvPr>
            <p:ph type="title" hasCustomPrompt="1"/>
          </p:nvPr>
        </p:nvSpPr>
        <p:spPr bwMode="gray">
          <a:xfrm>
            <a:off x="1092200" y="788400"/>
            <a:ext cx="7416068" cy="1224136"/>
          </a:xfrm>
        </p:spPr>
        <p:txBody>
          <a:bodyPr/>
          <a:lstStyle/>
          <a:p>
            <a:r>
              <a:rPr lang="de-DE"/>
              <a:t>Closing </a:t>
            </a:r>
            <a:br>
              <a:rPr lang="de-DE"/>
            </a:br>
            <a:r>
              <a:rPr lang="de-DE"/>
              <a:t>Words</a:t>
            </a:r>
          </a:p>
        </p:txBody>
      </p:sp>
      <p:sp>
        <p:nvSpPr>
          <p:cNvPr id="6" name="Textplatzhalter 8">
            <a:extLst>
              <a:ext uri="{FF2B5EF4-FFF2-40B4-BE49-F238E27FC236}">
                <a16:creationId xmlns:a16="http://schemas.microsoft.com/office/drawing/2014/main" id="{4B0F7301-64C3-C97D-9ABC-91CB555449C2}"/>
              </a:ext>
            </a:extLst>
          </p:cNvPr>
          <p:cNvSpPr>
            <a:spLocks noGrp="1"/>
          </p:cNvSpPr>
          <p:nvPr>
            <p:ph type="body" sz="quarter" idx="11" hasCustomPrompt="1"/>
          </p:nvPr>
        </p:nvSpPr>
        <p:spPr bwMode="gray">
          <a:xfrm>
            <a:off x="1091444" y="3933056"/>
            <a:ext cx="2124000" cy="1836204"/>
          </a:xfrm>
          <a:prstGeom prst="rect">
            <a:avLst/>
          </a:prstGeom>
        </p:spPr>
        <p:txBody>
          <a:bodyPr/>
          <a:lstStyle>
            <a:lvl1pPr>
              <a:lnSpc>
                <a:spcPct val="118000"/>
              </a:lnSpc>
              <a:spcBef>
                <a:spcPts val="0"/>
              </a:spcBef>
              <a:spcAft>
                <a:spcPts val="0"/>
              </a:spcAft>
              <a:defRPr sz="1200" b="1">
                <a:solidFill>
                  <a:schemeClr val="tx1"/>
                </a:solidFill>
                <a:latin typeface="+mn-lt"/>
              </a:defRPr>
            </a:lvl1pPr>
            <a:lvl2pPr>
              <a:lnSpc>
                <a:spcPct val="118000"/>
              </a:lnSpc>
              <a:spcBef>
                <a:spcPts val="0"/>
              </a:spcBef>
              <a:spcAft>
                <a:spcPts val="0"/>
              </a:spcAft>
              <a:defRPr sz="1200">
                <a:solidFill>
                  <a:schemeClr val="tx1"/>
                </a:solidFill>
              </a:defRPr>
            </a:lvl2pPr>
            <a:lvl3pPr marL="0" indent="0">
              <a:lnSpc>
                <a:spcPct val="118000"/>
              </a:lnSpc>
              <a:spcBef>
                <a:spcPts val="0"/>
              </a:spcBef>
              <a:spcAft>
                <a:spcPts val="0"/>
              </a:spcAft>
              <a:buNone/>
              <a:defRPr sz="1200">
                <a:solidFill>
                  <a:schemeClr val="tx1"/>
                </a:solidFill>
              </a:defRPr>
            </a:lvl3pPr>
            <a:lvl4pPr marL="0" indent="0">
              <a:lnSpc>
                <a:spcPct val="118000"/>
              </a:lnSpc>
              <a:spcBef>
                <a:spcPts val="0"/>
              </a:spcBef>
              <a:spcAft>
                <a:spcPts val="0"/>
              </a:spcAft>
              <a:buNone/>
              <a:defRPr sz="1200">
                <a:solidFill>
                  <a:schemeClr val="tx1"/>
                </a:solidFill>
              </a:defRPr>
            </a:lvl4pPr>
            <a:lvl5pPr marL="0" indent="0">
              <a:lnSpc>
                <a:spcPct val="118000"/>
              </a:lnSpc>
              <a:spcBef>
                <a:spcPts val="0"/>
              </a:spcBef>
              <a:spcAft>
                <a:spcPts val="0"/>
              </a:spcAft>
              <a:buNone/>
              <a:defRPr sz="1200">
                <a:solidFill>
                  <a:schemeClr val="accent1"/>
                </a:solidFill>
              </a:defRPr>
            </a:lvl5pPr>
            <a:lvl6pPr marL="0" indent="0">
              <a:lnSpc>
                <a:spcPct val="118000"/>
              </a:lnSpc>
              <a:spcBef>
                <a:spcPts val="0"/>
              </a:spcBef>
              <a:spcAft>
                <a:spcPts val="0"/>
              </a:spcAft>
              <a:buNone/>
              <a:defRPr sz="1200">
                <a:solidFill>
                  <a:schemeClr val="accent1"/>
                </a:solidFill>
              </a:defRPr>
            </a:lvl6pPr>
            <a:lvl7pPr marL="0" indent="0">
              <a:lnSpc>
                <a:spcPct val="118000"/>
              </a:lnSpc>
              <a:spcBef>
                <a:spcPts val="0"/>
              </a:spcBef>
              <a:spcAft>
                <a:spcPts val="0"/>
              </a:spcAft>
              <a:buFont typeface="Arial" panose="020B0604020202020204" pitchFamily="34" charset="0"/>
              <a:buNone/>
              <a:defRPr sz="1200">
                <a:solidFill>
                  <a:schemeClr val="accent1"/>
                </a:solidFill>
              </a:defRPr>
            </a:lvl7pPr>
            <a:lvl8pPr marL="0" indent="0">
              <a:lnSpc>
                <a:spcPct val="118000"/>
              </a:lnSpc>
              <a:spcBef>
                <a:spcPts val="0"/>
              </a:spcBef>
              <a:spcAft>
                <a:spcPts val="0"/>
              </a:spcAft>
              <a:buNone/>
              <a:defRPr sz="1200">
                <a:solidFill>
                  <a:schemeClr val="accent1"/>
                </a:solidFill>
              </a:defRPr>
            </a:lvl8pPr>
            <a:lvl9pPr marL="0" indent="0">
              <a:lnSpc>
                <a:spcPct val="118000"/>
              </a:lnSpc>
              <a:spcBef>
                <a:spcPts val="0"/>
              </a:spcBef>
              <a:spcAft>
                <a:spcPts val="0"/>
              </a:spcAft>
              <a:buNone/>
              <a:defRPr sz="1200">
                <a:solidFill>
                  <a:schemeClr val="accent1"/>
                </a:solidFill>
              </a:defRPr>
            </a:lvl9pPr>
          </a:lstStyle>
          <a:p>
            <a:pPr lvl="0"/>
            <a:r>
              <a:rPr lang="de-DE" noProof="0"/>
              <a:t>First name, Surname </a:t>
            </a:r>
          </a:p>
          <a:p>
            <a:pPr lvl="1"/>
            <a:r>
              <a:rPr lang="de-DE" noProof="0"/>
              <a:t>2. level</a:t>
            </a:r>
          </a:p>
          <a:p>
            <a:pPr lvl="2"/>
            <a:r>
              <a:rPr lang="de-DE" noProof="0"/>
              <a:t>3. level</a:t>
            </a:r>
          </a:p>
          <a:p>
            <a:pPr lvl="3"/>
            <a:r>
              <a:rPr lang="de-DE" noProof="0"/>
              <a:t>4. level</a:t>
            </a:r>
          </a:p>
        </p:txBody>
      </p:sp>
      <p:sp>
        <p:nvSpPr>
          <p:cNvPr id="7" name="Bildplatzhalter 5">
            <a:extLst>
              <a:ext uri="{FF2B5EF4-FFF2-40B4-BE49-F238E27FC236}">
                <a16:creationId xmlns:a16="http://schemas.microsoft.com/office/drawing/2014/main" id="{9611786E-4E97-4635-6374-F487FDE8B443}"/>
              </a:ext>
            </a:extLst>
          </p:cNvPr>
          <p:cNvSpPr>
            <a:spLocks noGrp="1"/>
          </p:cNvSpPr>
          <p:nvPr>
            <p:ph type="pic" sz="quarter" idx="13" hasCustomPrompt="1"/>
          </p:nvPr>
        </p:nvSpPr>
        <p:spPr bwMode="gray">
          <a:xfrm>
            <a:off x="1091444" y="2312876"/>
            <a:ext cx="1548172" cy="1404156"/>
          </a:xfrm>
          <a:prstGeom prst="roundRect">
            <a:avLst>
              <a:gd name="adj" fmla="val 7509"/>
            </a:avLst>
          </a:prstGeom>
          <a:solidFill>
            <a:schemeClr val="bg1">
              <a:lumMod val="95000"/>
            </a:schemeClr>
          </a:solidFill>
          <a:ln w="38100" cap="sq">
            <a:noFill/>
            <a:miter lim="800000"/>
          </a:ln>
        </p:spPr>
        <p:txBody>
          <a:bodyPr tIns="864000" anchor="ctr"/>
          <a:lstStyle>
            <a:lvl1pPr algn="ctr">
              <a:spcBef>
                <a:spcPts val="0"/>
              </a:spcBef>
              <a:spcAft>
                <a:spcPts val="0"/>
              </a:spcAft>
              <a:defRPr sz="1200"/>
            </a:lvl1pPr>
          </a:lstStyle>
          <a:p>
            <a:r>
              <a:rPr lang="de-DE" noProof="0"/>
              <a:t> </a:t>
            </a:r>
          </a:p>
        </p:txBody>
      </p:sp>
      <p:sp>
        <p:nvSpPr>
          <p:cNvPr id="13" name="Textplatzhalter 8">
            <a:extLst>
              <a:ext uri="{FF2B5EF4-FFF2-40B4-BE49-F238E27FC236}">
                <a16:creationId xmlns:a16="http://schemas.microsoft.com/office/drawing/2014/main" id="{3773FDFC-3272-D0DF-0C47-559E3B27B9BA}"/>
              </a:ext>
            </a:extLst>
          </p:cNvPr>
          <p:cNvSpPr>
            <a:spLocks noGrp="1"/>
          </p:cNvSpPr>
          <p:nvPr>
            <p:ph type="body" sz="quarter" idx="14" hasCustomPrompt="1"/>
          </p:nvPr>
        </p:nvSpPr>
        <p:spPr bwMode="gray">
          <a:xfrm>
            <a:off x="3683732" y="3933056"/>
            <a:ext cx="2124000" cy="1836204"/>
          </a:xfrm>
          <a:prstGeom prst="rect">
            <a:avLst/>
          </a:prstGeom>
        </p:spPr>
        <p:txBody>
          <a:bodyPr/>
          <a:lstStyle>
            <a:lvl1pPr>
              <a:lnSpc>
                <a:spcPct val="118000"/>
              </a:lnSpc>
              <a:spcBef>
                <a:spcPts val="0"/>
              </a:spcBef>
              <a:spcAft>
                <a:spcPts val="0"/>
              </a:spcAft>
              <a:defRPr sz="1200" b="1">
                <a:solidFill>
                  <a:schemeClr val="tx1"/>
                </a:solidFill>
                <a:latin typeface="+mn-lt"/>
              </a:defRPr>
            </a:lvl1pPr>
            <a:lvl2pPr>
              <a:lnSpc>
                <a:spcPct val="118000"/>
              </a:lnSpc>
              <a:spcBef>
                <a:spcPts val="0"/>
              </a:spcBef>
              <a:spcAft>
                <a:spcPts val="0"/>
              </a:spcAft>
              <a:defRPr sz="1200">
                <a:solidFill>
                  <a:schemeClr val="tx1"/>
                </a:solidFill>
              </a:defRPr>
            </a:lvl2pPr>
            <a:lvl3pPr marL="0" indent="0">
              <a:lnSpc>
                <a:spcPct val="118000"/>
              </a:lnSpc>
              <a:spcBef>
                <a:spcPts val="0"/>
              </a:spcBef>
              <a:spcAft>
                <a:spcPts val="0"/>
              </a:spcAft>
              <a:buNone/>
              <a:defRPr sz="1200">
                <a:solidFill>
                  <a:schemeClr val="tx1"/>
                </a:solidFill>
              </a:defRPr>
            </a:lvl3pPr>
            <a:lvl4pPr marL="0" indent="0">
              <a:lnSpc>
                <a:spcPct val="118000"/>
              </a:lnSpc>
              <a:spcBef>
                <a:spcPts val="0"/>
              </a:spcBef>
              <a:spcAft>
                <a:spcPts val="0"/>
              </a:spcAft>
              <a:buNone/>
              <a:defRPr sz="1200">
                <a:solidFill>
                  <a:schemeClr val="tx1"/>
                </a:solidFill>
              </a:defRPr>
            </a:lvl4pPr>
            <a:lvl5pPr marL="0" indent="0">
              <a:lnSpc>
                <a:spcPct val="118000"/>
              </a:lnSpc>
              <a:spcBef>
                <a:spcPts val="0"/>
              </a:spcBef>
              <a:spcAft>
                <a:spcPts val="0"/>
              </a:spcAft>
              <a:buNone/>
              <a:defRPr sz="1200">
                <a:solidFill>
                  <a:schemeClr val="accent1"/>
                </a:solidFill>
              </a:defRPr>
            </a:lvl5pPr>
            <a:lvl6pPr marL="0" indent="0">
              <a:lnSpc>
                <a:spcPct val="118000"/>
              </a:lnSpc>
              <a:spcBef>
                <a:spcPts val="0"/>
              </a:spcBef>
              <a:spcAft>
                <a:spcPts val="0"/>
              </a:spcAft>
              <a:buNone/>
              <a:defRPr sz="1200">
                <a:solidFill>
                  <a:schemeClr val="accent1"/>
                </a:solidFill>
              </a:defRPr>
            </a:lvl6pPr>
            <a:lvl7pPr marL="0" indent="0">
              <a:lnSpc>
                <a:spcPct val="118000"/>
              </a:lnSpc>
              <a:spcBef>
                <a:spcPts val="0"/>
              </a:spcBef>
              <a:spcAft>
                <a:spcPts val="0"/>
              </a:spcAft>
              <a:buFont typeface="Arial" panose="020B0604020202020204" pitchFamily="34" charset="0"/>
              <a:buNone/>
              <a:defRPr sz="1200">
                <a:solidFill>
                  <a:schemeClr val="accent1"/>
                </a:solidFill>
              </a:defRPr>
            </a:lvl7pPr>
            <a:lvl8pPr marL="0" indent="0">
              <a:lnSpc>
                <a:spcPct val="118000"/>
              </a:lnSpc>
              <a:spcBef>
                <a:spcPts val="0"/>
              </a:spcBef>
              <a:spcAft>
                <a:spcPts val="0"/>
              </a:spcAft>
              <a:buNone/>
              <a:defRPr sz="1200">
                <a:solidFill>
                  <a:schemeClr val="accent1"/>
                </a:solidFill>
              </a:defRPr>
            </a:lvl8pPr>
            <a:lvl9pPr marL="0" indent="0">
              <a:lnSpc>
                <a:spcPct val="118000"/>
              </a:lnSpc>
              <a:spcBef>
                <a:spcPts val="0"/>
              </a:spcBef>
              <a:spcAft>
                <a:spcPts val="0"/>
              </a:spcAft>
              <a:buNone/>
              <a:defRPr sz="1200">
                <a:solidFill>
                  <a:schemeClr val="accent1"/>
                </a:solidFill>
              </a:defRPr>
            </a:lvl9pPr>
          </a:lstStyle>
          <a:p>
            <a:pPr lvl="0"/>
            <a:r>
              <a:rPr lang="de-DE" noProof="0"/>
              <a:t>First name, Surname </a:t>
            </a:r>
          </a:p>
          <a:p>
            <a:pPr lvl="1"/>
            <a:r>
              <a:rPr lang="de-DE" noProof="0"/>
              <a:t>2. level</a:t>
            </a:r>
          </a:p>
          <a:p>
            <a:pPr lvl="2"/>
            <a:r>
              <a:rPr lang="de-DE" noProof="0"/>
              <a:t>3. level</a:t>
            </a:r>
          </a:p>
          <a:p>
            <a:pPr lvl="3"/>
            <a:r>
              <a:rPr lang="de-DE" noProof="0"/>
              <a:t>4. level</a:t>
            </a:r>
          </a:p>
        </p:txBody>
      </p:sp>
      <p:sp>
        <p:nvSpPr>
          <p:cNvPr id="15" name="Bildplatzhalter 5">
            <a:extLst>
              <a:ext uri="{FF2B5EF4-FFF2-40B4-BE49-F238E27FC236}">
                <a16:creationId xmlns:a16="http://schemas.microsoft.com/office/drawing/2014/main" id="{FF370F8E-DFC8-B6AE-80D9-030D3DB248DE}"/>
              </a:ext>
            </a:extLst>
          </p:cNvPr>
          <p:cNvSpPr>
            <a:spLocks noGrp="1"/>
          </p:cNvSpPr>
          <p:nvPr>
            <p:ph type="pic" sz="quarter" idx="15" hasCustomPrompt="1"/>
          </p:nvPr>
        </p:nvSpPr>
        <p:spPr bwMode="gray">
          <a:xfrm>
            <a:off x="3683732" y="2312876"/>
            <a:ext cx="1548172" cy="1404156"/>
          </a:xfrm>
          <a:prstGeom prst="roundRect">
            <a:avLst>
              <a:gd name="adj" fmla="val 7509"/>
            </a:avLst>
          </a:prstGeom>
          <a:solidFill>
            <a:schemeClr val="bg1">
              <a:lumMod val="95000"/>
            </a:schemeClr>
          </a:solidFill>
          <a:ln w="38100" cap="sq">
            <a:noFill/>
            <a:miter lim="800000"/>
          </a:ln>
        </p:spPr>
        <p:txBody>
          <a:bodyPr tIns="864000" anchor="ctr"/>
          <a:lstStyle>
            <a:lvl1pPr algn="ctr">
              <a:spcBef>
                <a:spcPts val="0"/>
              </a:spcBef>
              <a:spcAft>
                <a:spcPts val="0"/>
              </a:spcAft>
              <a:defRPr sz="1200"/>
            </a:lvl1pPr>
          </a:lstStyle>
          <a:p>
            <a:r>
              <a:rPr lang="de-DE" noProof="0"/>
              <a:t> </a:t>
            </a:r>
          </a:p>
        </p:txBody>
      </p:sp>
      <p:sp>
        <p:nvSpPr>
          <p:cNvPr id="8" name="Textplatzhalter 8">
            <a:extLst>
              <a:ext uri="{FF2B5EF4-FFF2-40B4-BE49-F238E27FC236}">
                <a16:creationId xmlns:a16="http://schemas.microsoft.com/office/drawing/2014/main" id="{73D105F2-3438-7FDA-38A0-8E0E227818B2}"/>
              </a:ext>
            </a:extLst>
          </p:cNvPr>
          <p:cNvSpPr>
            <a:spLocks noGrp="1"/>
          </p:cNvSpPr>
          <p:nvPr>
            <p:ph type="body" sz="quarter" idx="16" hasCustomPrompt="1"/>
          </p:nvPr>
        </p:nvSpPr>
        <p:spPr bwMode="gray">
          <a:xfrm>
            <a:off x="6276020" y="3933056"/>
            <a:ext cx="2124000" cy="1836204"/>
          </a:xfrm>
          <a:prstGeom prst="rect">
            <a:avLst/>
          </a:prstGeom>
        </p:spPr>
        <p:txBody>
          <a:bodyPr/>
          <a:lstStyle>
            <a:lvl1pPr>
              <a:lnSpc>
                <a:spcPct val="118000"/>
              </a:lnSpc>
              <a:spcBef>
                <a:spcPts val="0"/>
              </a:spcBef>
              <a:spcAft>
                <a:spcPts val="0"/>
              </a:spcAft>
              <a:defRPr sz="1200" b="1">
                <a:solidFill>
                  <a:schemeClr val="tx1"/>
                </a:solidFill>
                <a:latin typeface="+mn-lt"/>
              </a:defRPr>
            </a:lvl1pPr>
            <a:lvl2pPr>
              <a:lnSpc>
                <a:spcPct val="118000"/>
              </a:lnSpc>
              <a:spcBef>
                <a:spcPts val="0"/>
              </a:spcBef>
              <a:spcAft>
                <a:spcPts val="0"/>
              </a:spcAft>
              <a:defRPr sz="1200">
                <a:solidFill>
                  <a:schemeClr val="tx1"/>
                </a:solidFill>
              </a:defRPr>
            </a:lvl2pPr>
            <a:lvl3pPr marL="0" indent="0">
              <a:lnSpc>
                <a:spcPct val="118000"/>
              </a:lnSpc>
              <a:spcBef>
                <a:spcPts val="0"/>
              </a:spcBef>
              <a:spcAft>
                <a:spcPts val="0"/>
              </a:spcAft>
              <a:buNone/>
              <a:defRPr sz="1200">
                <a:solidFill>
                  <a:schemeClr val="tx1"/>
                </a:solidFill>
              </a:defRPr>
            </a:lvl3pPr>
            <a:lvl4pPr marL="0" indent="0">
              <a:lnSpc>
                <a:spcPct val="118000"/>
              </a:lnSpc>
              <a:spcBef>
                <a:spcPts val="0"/>
              </a:spcBef>
              <a:spcAft>
                <a:spcPts val="0"/>
              </a:spcAft>
              <a:buNone/>
              <a:defRPr sz="1200">
                <a:solidFill>
                  <a:schemeClr val="tx1"/>
                </a:solidFill>
              </a:defRPr>
            </a:lvl4pPr>
            <a:lvl5pPr marL="0" indent="0">
              <a:lnSpc>
                <a:spcPct val="118000"/>
              </a:lnSpc>
              <a:spcBef>
                <a:spcPts val="0"/>
              </a:spcBef>
              <a:spcAft>
                <a:spcPts val="0"/>
              </a:spcAft>
              <a:buNone/>
              <a:defRPr sz="1200">
                <a:solidFill>
                  <a:schemeClr val="accent1"/>
                </a:solidFill>
              </a:defRPr>
            </a:lvl5pPr>
            <a:lvl6pPr marL="0" indent="0">
              <a:lnSpc>
                <a:spcPct val="118000"/>
              </a:lnSpc>
              <a:spcBef>
                <a:spcPts val="0"/>
              </a:spcBef>
              <a:spcAft>
                <a:spcPts val="0"/>
              </a:spcAft>
              <a:buNone/>
              <a:defRPr sz="1200">
                <a:solidFill>
                  <a:schemeClr val="accent1"/>
                </a:solidFill>
              </a:defRPr>
            </a:lvl6pPr>
            <a:lvl7pPr marL="0" indent="0">
              <a:lnSpc>
                <a:spcPct val="118000"/>
              </a:lnSpc>
              <a:spcBef>
                <a:spcPts val="0"/>
              </a:spcBef>
              <a:spcAft>
                <a:spcPts val="0"/>
              </a:spcAft>
              <a:buFont typeface="Arial" panose="020B0604020202020204" pitchFamily="34" charset="0"/>
              <a:buNone/>
              <a:defRPr sz="1200">
                <a:solidFill>
                  <a:schemeClr val="accent1"/>
                </a:solidFill>
              </a:defRPr>
            </a:lvl7pPr>
            <a:lvl8pPr marL="0" indent="0">
              <a:lnSpc>
                <a:spcPct val="118000"/>
              </a:lnSpc>
              <a:spcBef>
                <a:spcPts val="0"/>
              </a:spcBef>
              <a:spcAft>
                <a:spcPts val="0"/>
              </a:spcAft>
              <a:buNone/>
              <a:defRPr sz="1200">
                <a:solidFill>
                  <a:schemeClr val="accent1"/>
                </a:solidFill>
              </a:defRPr>
            </a:lvl8pPr>
            <a:lvl9pPr marL="0" indent="0">
              <a:lnSpc>
                <a:spcPct val="118000"/>
              </a:lnSpc>
              <a:spcBef>
                <a:spcPts val="0"/>
              </a:spcBef>
              <a:spcAft>
                <a:spcPts val="0"/>
              </a:spcAft>
              <a:buNone/>
              <a:defRPr sz="1200">
                <a:solidFill>
                  <a:schemeClr val="accent1"/>
                </a:solidFill>
              </a:defRPr>
            </a:lvl9pPr>
          </a:lstStyle>
          <a:p>
            <a:pPr lvl="0"/>
            <a:r>
              <a:rPr lang="de-DE" noProof="0"/>
              <a:t>First name, Surname </a:t>
            </a:r>
          </a:p>
          <a:p>
            <a:pPr lvl="1"/>
            <a:r>
              <a:rPr lang="de-DE" noProof="0"/>
              <a:t>2. level</a:t>
            </a:r>
          </a:p>
          <a:p>
            <a:pPr lvl="2"/>
            <a:r>
              <a:rPr lang="de-DE" noProof="0"/>
              <a:t>3. level</a:t>
            </a:r>
          </a:p>
          <a:p>
            <a:pPr lvl="3"/>
            <a:r>
              <a:rPr lang="de-DE" noProof="0"/>
              <a:t>4. level</a:t>
            </a:r>
          </a:p>
        </p:txBody>
      </p:sp>
      <p:sp>
        <p:nvSpPr>
          <p:cNvPr id="9" name="Bildplatzhalter 5">
            <a:extLst>
              <a:ext uri="{FF2B5EF4-FFF2-40B4-BE49-F238E27FC236}">
                <a16:creationId xmlns:a16="http://schemas.microsoft.com/office/drawing/2014/main" id="{D33C9946-3EE2-126A-1E35-CCCA843F9A46}"/>
              </a:ext>
            </a:extLst>
          </p:cNvPr>
          <p:cNvSpPr>
            <a:spLocks noGrp="1"/>
          </p:cNvSpPr>
          <p:nvPr>
            <p:ph type="pic" sz="quarter" idx="17" hasCustomPrompt="1"/>
          </p:nvPr>
        </p:nvSpPr>
        <p:spPr bwMode="gray">
          <a:xfrm>
            <a:off x="6276020" y="2312876"/>
            <a:ext cx="1548172" cy="1404156"/>
          </a:xfrm>
          <a:prstGeom prst="roundRect">
            <a:avLst>
              <a:gd name="adj" fmla="val 7509"/>
            </a:avLst>
          </a:prstGeom>
          <a:solidFill>
            <a:schemeClr val="bg1">
              <a:lumMod val="95000"/>
            </a:schemeClr>
          </a:solidFill>
          <a:ln w="38100" cap="sq">
            <a:noFill/>
            <a:miter lim="800000"/>
          </a:ln>
        </p:spPr>
        <p:txBody>
          <a:bodyPr tIns="864000" anchor="ctr"/>
          <a:lstStyle>
            <a:lvl1pPr algn="ctr">
              <a:spcBef>
                <a:spcPts val="0"/>
              </a:spcBef>
              <a:spcAft>
                <a:spcPts val="0"/>
              </a:spcAft>
              <a:defRPr sz="1200"/>
            </a:lvl1pPr>
          </a:lstStyle>
          <a:p>
            <a:r>
              <a:rPr lang="de-DE" noProof="0"/>
              <a:t> </a:t>
            </a:r>
          </a:p>
        </p:txBody>
      </p:sp>
      <p:sp>
        <p:nvSpPr>
          <p:cNvPr id="2" name="Titel 1">
            <a:extLst>
              <a:ext uri="{FF2B5EF4-FFF2-40B4-BE49-F238E27FC236}">
                <a16:creationId xmlns:a16="http://schemas.microsoft.com/office/drawing/2014/main" id="{F70B763A-4773-4641-8149-1462F08B3E1F}"/>
              </a:ext>
            </a:extLst>
          </p:cNvPr>
          <p:cNvSpPr txBox="1">
            <a:spLocks/>
          </p:cNvSpPr>
          <p:nvPr userDrawn="1"/>
        </p:nvSpPr>
        <p:spPr bwMode="gray">
          <a:xfrm>
            <a:off x="9552384" y="5913276"/>
            <a:ext cx="1979464" cy="252028"/>
          </a:xfrm>
          <a:prstGeom prst="rect">
            <a:avLst/>
          </a:prstGeom>
        </p:spPr>
        <p:txBody>
          <a:bodyPr vert="horz" lIns="0" tIns="0" rIns="0" bIns="0" rtlCol="0" anchor="t">
            <a:noAutofit/>
          </a:bodyPr>
          <a:lstStyle>
            <a:lvl1pPr marL="0" indent="0" algn="l" defTabSz="914400" rtl="0" eaLnBrk="1" latinLnBrk="0" hangingPunct="1">
              <a:lnSpc>
                <a:spcPct val="100000"/>
              </a:lnSpc>
              <a:spcBef>
                <a:spcPct val="0"/>
              </a:spcBef>
              <a:buFont typeface="Yanone Kaffeesatz" panose="00000500000000000000" pitchFamily="50" charset="0"/>
              <a:buNone/>
              <a:defRPr sz="4700" kern="1200" cap="all" baseline="0">
                <a:solidFill>
                  <a:schemeClr val="bg1"/>
                </a:solidFill>
                <a:latin typeface="Barlow Black" panose="00000A00000000000000" pitchFamily="2" charset="0"/>
                <a:ea typeface="+mj-ea"/>
                <a:cs typeface="+mj-cs"/>
              </a:defRPr>
            </a:lvl1pPr>
          </a:lstStyle>
          <a:p>
            <a:r>
              <a:rPr lang="de-DE" sz="1200" cap="none" baseline="0">
                <a:solidFill>
                  <a:schemeClr val="tx1"/>
                </a:solidFill>
                <a:latin typeface="+mn-lt"/>
              </a:rPr>
              <a:t>www.eqs.com</a:t>
            </a:r>
          </a:p>
        </p:txBody>
      </p:sp>
      <p:grpSp>
        <p:nvGrpSpPr>
          <p:cNvPr id="4" name="Group 4">
            <a:extLst>
              <a:ext uri="{FF2B5EF4-FFF2-40B4-BE49-F238E27FC236}">
                <a16:creationId xmlns:a16="http://schemas.microsoft.com/office/drawing/2014/main" id="{4404DA2A-5E38-2640-942F-17B9D33EC74F}"/>
              </a:ext>
            </a:extLst>
          </p:cNvPr>
          <p:cNvGrpSpPr>
            <a:grpSpLocks noChangeAspect="1"/>
          </p:cNvGrpSpPr>
          <p:nvPr userDrawn="1"/>
        </p:nvGrpSpPr>
        <p:grpSpPr bwMode="auto">
          <a:xfrm>
            <a:off x="9551988" y="5553075"/>
            <a:ext cx="1879600" cy="323850"/>
            <a:chOff x="6017" y="3498"/>
            <a:chExt cx="1184" cy="204"/>
          </a:xfrm>
        </p:grpSpPr>
        <p:sp>
          <p:nvSpPr>
            <p:cNvPr id="10" name="AutoShape 3">
              <a:extLst>
                <a:ext uri="{FF2B5EF4-FFF2-40B4-BE49-F238E27FC236}">
                  <a16:creationId xmlns:a16="http://schemas.microsoft.com/office/drawing/2014/main" id="{6D2871A6-2071-98A2-CA01-3C1ADFDB2CDB}"/>
                </a:ext>
              </a:extLst>
            </p:cNvPr>
            <p:cNvSpPr>
              <a:spLocks noChangeAspect="1" noChangeArrowheads="1" noTextEdit="1"/>
            </p:cNvSpPr>
            <p:nvPr userDrawn="1"/>
          </p:nvSpPr>
          <p:spPr bwMode="auto">
            <a:xfrm>
              <a:off x="6017" y="3498"/>
              <a:ext cx="1184" cy="2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1" name="Freeform 5">
              <a:extLst>
                <a:ext uri="{FF2B5EF4-FFF2-40B4-BE49-F238E27FC236}">
                  <a16:creationId xmlns:a16="http://schemas.microsoft.com/office/drawing/2014/main" id="{154AED2A-375D-6BE0-C340-C234FB3B5D3C}"/>
                </a:ext>
              </a:extLst>
            </p:cNvPr>
            <p:cNvSpPr>
              <a:spLocks/>
            </p:cNvSpPr>
            <p:nvPr userDrawn="1"/>
          </p:nvSpPr>
          <p:spPr bwMode="auto">
            <a:xfrm>
              <a:off x="6015" y="3496"/>
              <a:ext cx="205" cy="208"/>
            </a:xfrm>
            <a:custGeom>
              <a:avLst/>
              <a:gdLst>
                <a:gd name="T0" fmla="*/ 18 w 105"/>
                <a:gd name="T1" fmla="*/ 0 h 104"/>
                <a:gd name="T2" fmla="*/ 0 w 105"/>
                <a:gd name="T3" fmla="*/ 18 h 104"/>
                <a:gd name="T4" fmla="*/ 0 w 105"/>
                <a:gd name="T5" fmla="*/ 86 h 104"/>
                <a:gd name="T6" fmla="*/ 18 w 105"/>
                <a:gd name="T7" fmla="*/ 104 h 104"/>
                <a:gd name="T8" fmla="*/ 87 w 105"/>
                <a:gd name="T9" fmla="*/ 104 h 104"/>
                <a:gd name="T10" fmla="*/ 105 w 105"/>
                <a:gd name="T11" fmla="*/ 86 h 104"/>
                <a:gd name="T12" fmla="*/ 105 w 105"/>
                <a:gd name="T13" fmla="*/ 18 h 104"/>
                <a:gd name="T14" fmla="*/ 87 w 105"/>
                <a:gd name="T15" fmla="*/ 0 h 104"/>
                <a:gd name="T16" fmla="*/ 18 w 105"/>
                <a:gd name="T17" fmla="*/ 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5" h="104">
                  <a:moveTo>
                    <a:pt x="18" y="0"/>
                  </a:moveTo>
                  <a:cubicBezTo>
                    <a:pt x="8" y="0"/>
                    <a:pt x="0" y="8"/>
                    <a:pt x="0" y="18"/>
                  </a:cubicBezTo>
                  <a:cubicBezTo>
                    <a:pt x="0" y="86"/>
                    <a:pt x="0" y="86"/>
                    <a:pt x="0" y="86"/>
                  </a:cubicBezTo>
                  <a:cubicBezTo>
                    <a:pt x="0" y="96"/>
                    <a:pt x="8" y="104"/>
                    <a:pt x="18" y="104"/>
                  </a:cubicBezTo>
                  <a:cubicBezTo>
                    <a:pt x="87" y="104"/>
                    <a:pt x="87" y="104"/>
                    <a:pt x="87" y="104"/>
                  </a:cubicBezTo>
                  <a:cubicBezTo>
                    <a:pt x="97" y="104"/>
                    <a:pt x="105" y="96"/>
                    <a:pt x="105" y="86"/>
                  </a:cubicBezTo>
                  <a:cubicBezTo>
                    <a:pt x="105" y="18"/>
                    <a:pt x="105" y="18"/>
                    <a:pt x="105" y="18"/>
                  </a:cubicBezTo>
                  <a:cubicBezTo>
                    <a:pt x="105" y="8"/>
                    <a:pt x="97" y="0"/>
                    <a:pt x="87" y="0"/>
                  </a:cubicBezTo>
                  <a:lnTo>
                    <a:pt x="18" y="0"/>
                  </a:lnTo>
                  <a:close/>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4" name="Freeform 6">
              <a:extLst>
                <a:ext uri="{FF2B5EF4-FFF2-40B4-BE49-F238E27FC236}">
                  <a16:creationId xmlns:a16="http://schemas.microsoft.com/office/drawing/2014/main" id="{81E8669E-A2DF-8CB0-35FD-21E78E80036F}"/>
                </a:ext>
              </a:extLst>
            </p:cNvPr>
            <p:cNvSpPr>
              <a:spLocks/>
            </p:cNvSpPr>
            <p:nvPr userDrawn="1"/>
          </p:nvSpPr>
          <p:spPr bwMode="auto">
            <a:xfrm>
              <a:off x="6046" y="3540"/>
              <a:ext cx="145" cy="120"/>
            </a:xfrm>
            <a:custGeom>
              <a:avLst/>
              <a:gdLst>
                <a:gd name="T0" fmla="*/ 0 w 74"/>
                <a:gd name="T1" fmla="*/ 53 h 60"/>
                <a:gd name="T2" fmla="*/ 23 w 74"/>
                <a:gd name="T3" fmla="*/ 60 h 60"/>
                <a:gd name="T4" fmla="*/ 66 w 74"/>
                <a:gd name="T5" fmla="*/ 17 h 60"/>
                <a:gd name="T6" fmla="*/ 66 w 74"/>
                <a:gd name="T7" fmla="*/ 15 h 60"/>
                <a:gd name="T8" fmla="*/ 74 w 74"/>
                <a:gd name="T9" fmla="*/ 7 h 60"/>
                <a:gd name="T10" fmla="*/ 65 w 74"/>
                <a:gd name="T11" fmla="*/ 10 h 60"/>
                <a:gd name="T12" fmla="*/ 71 w 74"/>
                <a:gd name="T13" fmla="*/ 1 h 60"/>
                <a:gd name="T14" fmla="*/ 62 w 74"/>
                <a:gd name="T15" fmla="*/ 5 h 60"/>
                <a:gd name="T16" fmla="*/ 51 w 74"/>
                <a:gd name="T17" fmla="*/ 0 h 60"/>
                <a:gd name="T18" fmla="*/ 36 w 74"/>
                <a:gd name="T19" fmla="*/ 15 h 60"/>
                <a:gd name="T20" fmla="*/ 36 w 74"/>
                <a:gd name="T21" fmla="*/ 19 h 60"/>
                <a:gd name="T22" fmla="*/ 5 w 74"/>
                <a:gd name="T23" fmla="*/ 3 h 60"/>
                <a:gd name="T24" fmla="*/ 3 w 74"/>
                <a:gd name="T25" fmla="*/ 10 h 60"/>
                <a:gd name="T26" fmla="*/ 10 w 74"/>
                <a:gd name="T27" fmla="*/ 23 h 60"/>
                <a:gd name="T28" fmla="*/ 3 w 74"/>
                <a:gd name="T29" fmla="*/ 21 h 60"/>
                <a:gd name="T30" fmla="*/ 3 w 74"/>
                <a:gd name="T31" fmla="*/ 21 h 60"/>
                <a:gd name="T32" fmla="*/ 15 w 74"/>
                <a:gd name="T33" fmla="*/ 36 h 60"/>
                <a:gd name="T34" fmla="*/ 11 w 74"/>
                <a:gd name="T35" fmla="*/ 37 h 60"/>
                <a:gd name="T36" fmla="*/ 8 w 74"/>
                <a:gd name="T37" fmla="*/ 36 h 60"/>
                <a:gd name="T38" fmla="*/ 22 w 74"/>
                <a:gd name="T39" fmla="*/ 47 h 60"/>
                <a:gd name="T40" fmla="*/ 4 w 74"/>
                <a:gd name="T41" fmla="*/ 53 h 60"/>
                <a:gd name="T42" fmla="*/ 0 w 74"/>
                <a:gd name="T43" fmla="*/ 53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74" h="60">
                  <a:moveTo>
                    <a:pt x="0" y="53"/>
                  </a:moveTo>
                  <a:cubicBezTo>
                    <a:pt x="7" y="57"/>
                    <a:pt x="15" y="60"/>
                    <a:pt x="23" y="60"/>
                  </a:cubicBezTo>
                  <a:cubicBezTo>
                    <a:pt x="51" y="60"/>
                    <a:pt x="66" y="37"/>
                    <a:pt x="66" y="17"/>
                  </a:cubicBezTo>
                  <a:cubicBezTo>
                    <a:pt x="66" y="16"/>
                    <a:pt x="66" y="16"/>
                    <a:pt x="66" y="15"/>
                  </a:cubicBezTo>
                  <a:cubicBezTo>
                    <a:pt x="69" y="13"/>
                    <a:pt x="71" y="10"/>
                    <a:pt x="74" y="7"/>
                  </a:cubicBezTo>
                  <a:cubicBezTo>
                    <a:pt x="71" y="8"/>
                    <a:pt x="68" y="9"/>
                    <a:pt x="65" y="10"/>
                  </a:cubicBezTo>
                  <a:cubicBezTo>
                    <a:pt x="68" y="8"/>
                    <a:pt x="70" y="5"/>
                    <a:pt x="71" y="1"/>
                  </a:cubicBezTo>
                  <a:cubicBezTo>
                    <a:pt x="69" y="3"/>
                    <a:pt x="65" y="4"/>
                    <a:pt x="62" y="5"/>
                  </a:cubicBezTo>
                  <a:cubicBezTo>
                    <a:pt x="59" y="2"/>
                    <a:pt x="55" y="0"/>
                    <a:pt x="51" y="0"/>
                  </a:cubicBezTo>
                  <a:cubicBezTo>
                    <a:pt x="43" y="0"/>
                    <a:pt x="36" y="7"/>
                    <a:pt x="36" y="15"/>
                  </a:cubicBezTo>
                  <a:cubicBezTo>
                    <a:pt x="36" y="16"/>
                    <a:pt x="36" y="17"/>
                    <a:pt x="36" y="19"/>
                  </a:cubicBezTo>
                  <a:cubicBezTo>
                    <a:pt x="24" y="18"/>
                    <a:pt x="13" y="12"/>
                    <a:pt x="5" y="3"/>
                  </a:cubicBezTo>
                  <a:cubicBezTo>
                    <a:pt x="4" y="5"/>
                    <a:pt x="3" y="8"/>
                    <a:pt x="3" y="10"/>
                  </a:cubicBezTo>
                  <a:cubicBezTo>
                    <a:pt x="3" y="16"/>
                    <a:pt x="6" y="20"/>
                    <a:pt x="10" y="23"/>
                  </a:cubicBezTo>
                  <a:cubicBezTo>
                    <a:pt x="7" y="23"/>
                    <a:pt x="5" y="22"/>
                    <a:pt x="3" y="21"/>
                  </a:cubicBezTo>
                  <a:cubicBezTo>
                    <a:pt x="3" y="21"/>
                    <a:pt x="3" y="21"/>
                    <a:pt x="3" y="21"/>
                  </a:cubicBezTo>
                  <a:cubicBezTo>
                    <a:pt x="3" y="29"/>
                    <a:pt x="8" y="35"/>
                    <a:pt x="15" y="36"/>
                  </a:cubicBezTo>
                  <a:cubicBezTo>
                    <a:pt x="14" y="36"/>
                    <a:pt x="13" y="37"/>
                    <a:pt x="11" y="37"/>
                  </a:cubicBezTo>
                  <a:cubicBezTo>
                    <a:pt x="10" y="37"/>
                    <a:pt x="9" y="36"/>
                    <a:pt x="8" y="36"/>
                  </a:cubicBezTo>
                  <a:cubicBezTo>
                    <a:pt x="10" y="42"/>
                    <a:pt x="16" y="47"/>
                    <a:pt x="22" y="47"/>
                  </a:cubicBezTo>
                  <a:cubicBezTo>
                    <a:pt x="17" y="51"/>
                    <a:pt x="11" y="53"/>
                    <a:pt x="4" y="53"/>
                  </a:cubicBezTo>
                  <a:cubicBezTo>
                    <a:pt x="2" y="53"/>
                    <a:pt x="1" y="53"/>
                    <a:pt x="0" y="53"/>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6" name="Freeform 7">
              <a:extLst>
                <a:ext uri="{FF2B5EF4-FFF2-40B4-BE49-F238E27FC236}">
                  <a16:creationId xmlns:a16="http://schemas.microsoft.com/office/drawing/2014/main" id="{CDF83B1F-65D9-2200-A350-610C1C7CB5F9}"/>
                </a:ext>
              </a:extLst>
            </p:cNvPr>
            <p:cNvSpPr>
              <a:spLocks/>
            </p:cNvSpPr>
            <p:nvPr userDrawn="1"/>
          </p:nvSpPr>
          <p:spPr bwMode="auto">
            <a:xfrm>
              <a:off x="6261" y="3496"/>
              <a:ext cx="205" cy="208"/>
            </a:xfrm>
            <a:custGeom>
              <a:avLst/>
              <a:gdLst>
                <a:gd name="T0" fmla="*/ 18 w 105"/>
                <a:gd name="T1" fmla="*/ 0 h 104"/>
                <a:gd name="T2" fmla="*/ 0 w 105"/>
                <a:gd name="T3" fmla="*/ 18 h 104"/>
                <a:gd name="T4" fmla="*/ 0 w 105"/>
                <a:gd name="T5" fmla="*/ 86 h 104"/>
                <a:gd name="T6" fmla="*/ 18 w 105"/>
                <a:gd name="T7" fmla="*/ 104 h 104"/>
                <a:gd name="T8" fmla="*/ 87 w 105"/>
                <a:gd name="T9" fmla="*/ 104 h 104"/>
                <a:gd name="T10" fmla="*/ 105 w 105"/>
                <a:gd name="T11" fmla="*/ 86 h 104"/>
                <a:gd name="T12" fmla="*/ 105 w 105"/>
                <a:gd name="T13" fmla="*/ 18 h 104"/>
                <a:gd name="T14" fmla="*/ 87 w 105"/>
                <a:gd name="T15" fmla="*/ 0 h 104"/>
                <a:gd name="T16" fmla="*/ 18 w 105"/>
                <a:gd name="T17" fmla="*/ 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5" h="104">
                  <a:moveTo>
                    <a:pt x="18" y="0"/>
                  </a:moveTo>
                  <a:cubicBezTo>
                    <a:pt x="8" y="0"/>
                    <a:pt x="0" y="8"/>
                    <a:pt x="0" y="18"/>
                  </a:cubicBezTo>
                  <a:cubicBezTo>
                    <a:pt x="0" y="86"/>
                    <a:pt x="0" y="86"/>
                    <a:pt x="0" y="86"/>
                  </a:cubicBezTo>
                  <a:cubicBezTo>
                    <a:pt x="0" y="96"/>
                    <a:pt x="8" y="104"/>
                    <a:pt x="18" y="104"/>
                  </a:cubicBezTo>
                  <a:cubicBezTo>
                    <a:pt x="87" y="104"/>
                    <a:pt x="87" y="104"/>
                    <a:pt x="87" y="104"/>
                  </a:cubicBezTo>
                  <a:cubicBezTo>
                    <a:pt x="97" y="104"/>
                    <a:pt x="105" y="96"/>
                    <a:pt x="105" y="86"/>
                  </a:cubicBezTo>
                  <a:cubicBezTo>
                    <a:pt x="105" y="18"/>
                    <a:pt x="105" y="18"/>
                    <a:pt x="105" y="18"/>
                  </a:cubicBezTo>
                  <a:cubicBezTo>
                    <a:pt x="105" y="8"/>
                    <a:pt x="97" y="0"/>
                    <a:pt x="87" y="0"/>
                  </a:cubicBezTo>
                  <a:lnTo>
                    <a:pt x="18" y="0"/>
                  </a:lnTo>
                  <a:close/>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8" name="Freeform 8">
              <a:extLst>
                <a:ext uri="{FF2B5EF4-FFF2-40B4-BE49-F238E27FC236}">
                  <a16:creationId xmlns:a16="http://schemas.microsoft.com/office/drawing/2014/main" id="{F7141A6C-DCF3-C57B-116D-68C0ABA30DB7}"/>
                </a:ext>
              </a:extLst>
            </p:cNvPr>
            <p:cNvSpPr>
              <a:spLocks noEditPoints="1"/>
            </p:cNvSpPr>
            <p:nvPr userDrawn="1"/>
          </p:nvSpPr>
          <p:spPr bwMode="auto">
            <a:xfrm>
              <a:off x="6292" y="3548"/>
              <a:ext cx="143" cy="104"/>
            </a:xfrm>
            <a:custGeom>
              <a:avLst/>
              <a:gdLst>
                <a:gd name="T0" fmla="*/ 29 w 73"/>
                <a:gd name="T1" fmla="*/ 37 h 52"/>
                <a:gd name="T2" fmla="*/ 29 w 73"/>
                <a:gd name="T3" fmla="*/ 15 h 52"/>
                <a:gd name="T4" fmla="*/ 48 w 73"/>
                <a:gd name="T5" fmla="*/ 26 h 52"/>
                <a:gd name="T6" fmla="*/ 29 w 73"/>
                <a:gd name="T7" fmla="*/ 37 h 52"/>
                <a:gd name="T8" fmla="*/ 65 w 73"/>
                <a:gd name="T9" fmla="*/ 2 h 52"/>
                <a:gd name="T10" fmla="*/ 36 w 73"/>
                <a:gd name="T11" fmla="*/ 0 h 52"/>
                <a:gd name="T12" fmla="*/ 8 w 73"/>
                <a:gd name="T13" fmla="*/ 2 h 52"/>
                <a:gd name="T14" fmla="*/ 1 w 73"/>
                <a:gd name="T15" fmla="*/ 8 h 52"/>
                <a:gd name="T16" fmla="*/ 0 w 73"/>
                <a:gd name="T17" fmla="*/ 26 h 52"/>
                <a:gd name="T18" fmla="*/ 1 w 73"/>
                <a:gd name="T19" fmla="*/ 44 h 52"/>
                <a:gd name="T20" fmla="*/ 8 w 73"/>
                <a:gd name="T21" fmla="*/ 50 h 52"/>
                <a:gd name="T22" fmla="*/ 36 w 73"/>
                <a:gd name="T23" fmla="*/ 52 h 52"/>
                <a:gd name="T24" fmla="*/ 65 w 73"/>
                <a:gd name="T25" fmla="*/ 50 h 52"/>
                <a:gd name="T26" fmla="*/ 72 w 73"/>
                <a:gd name="T27" fmla="*/ 44 h 52"/>
                <a:gd name="T28" fmla="*/ 73 w 73"/>
                <a:gd name="T29" fmla="*/ 26 h 52"/>
                <a:gd name="T30" fmla="*/ 72 w 73"/>
                <a:gd name="T31" fmla="*/ 8 h 52"/>
                <a:gd name="T32" fmla="*/ 65 w 73"/>
                <a:gd name="T33" fmla="*/ 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3" h="52">
                  <a:moveTo>
                    <a:pt x="29" y="37"/>
                  </a:moveTo>
                  <a:cubicBezTo>
                    <a:pt x="29" y="15"/>
                    <a:pt x="29" y="15"/>
                    <a:pt x="29" y="15"/>
                  </a:cubicBezTo>
                  <a:cubicBezTo>
                    <a:pt x="48" y="26"/>
                    <a:pt x="48" y="26"/>
                    <a:pt x="48" y="26"/>
                  </a:cubicBezTo>
                  <a:lnTo>
                    <a:pt x="29" y="37"/>
                  </a:lnTo>
                  <a:close/>
                  <a:moveTo>
                    <a:pt x="65" y="2"/>
                  </a:moveTo>
                  <a:cubicBezTo>
                    <a:pt x="59" y="0"/>
                    <a:pt x="36" y="0"/>
                    <a:pt x="36" y="0"/>
                  </a:cubicBezTo>
                  <a:cubicBezTo>
                    <a:pt x="36" y="0"/>
                    <a:pt x="13" y="0"/>
                    <a:pt x="8" y="2"/>
                  </a:cubicBezTo>
                  <a:cubicBezTo>
                    <a:pt x="5" y="3"/>
                    <a:pt x="2" y="5"/>
                    <a:pt x="1" y="8"/>
                  </a:cubicBezTo>
                  <a:cubicBezTo>
                    <a:pt x="0" y="14"/>
                    <a:pt x="0" y="26"/>
                    <a:pt x="0" y="26"/>
                  </a:cubicBezTo>
                  <a:cubicBezTo>
                    <a:pt x="0" y="26"/>
                    <a:pt x="0" y="38"/>
                    <a:pt x="1" y="44"/>
                  </a:cubicBezTo>
                  <a:cubicBezTo>
                    <a:pt x="2" y="47"/>
                    <a:pt x="5" y="49"/>
                    <a:pt x="8" y="50"/>
                  </a:cubicBezTo>
                  <a:cubicBezTo>
                    <a:pt x="13" y="52"/>
                    <a:pt x="36" y="52"/>
                    <a:pt x="36" y="52"/>
                  </a:cubicBezTo>
                  <a:cubicBezTo>
                    <a:pt x="36" y="52"/>
                    <a:pt x="59" y="52"/>
                    <a:pt x="65" y="50"/>
                  </a:cubicBezTo>
                  <a:cubicBezTo>
                    <a:pt x="68" y="49"/>
                    <a:pt x="71" y="47"/>
                    <a:pt x="72" y="44"/>
                  </a:cubicBezTo>
                  <a:cubicBezTo>
                    <a:pt x="73" y="38"/>
                    <a:pt x="73" y="26"/>
                    <a:pt x="73" y="26"/>
                  </a:cubicBezTo>
                  <a:cubicBezTo>
                    <a:pt x="73" y="26"/>
                    <a:pt x="73" y="14"/>
                    <a:pt x="72" y="8"/>
                  </a:cubicBezTo>
                  <a:cubicBezTo>
                    <a:pt x="71" y="5"/>
                    <a:pt x="68" y="3"/>
                    <a:pt x="65" y="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9" name="Freeform 9">
              <a:extLst>
                <a:ext uri="{FF2B5EF4-FFF2-40B4-BE49-F238E27FC236}">
                  <a16:creationId xmlns:a16="http://schemas.microsoft.com/office/drawing/2014/main" id="{C423C765-28C8-F940-6517-E011E8D84402}"/>
                </a:ext>
              </a:extLst>
            </p:cNvPr>
            <p:cNvSpPr>
              <a:spLocks/>
            </p:cNvSpPr>
            <p:nvPr userDrawn="1"/>
          </p:nvSpPr>
          <p:spPr bwMode="auto">
            <a:xfrm>
              <a:off x="6507" y="3496"/>
              <a:ext cx="204" cy="208"/>
            </a:xfrm>
            <a:custGeom>
              <a:avLst/>
              <a:gdLst>
                <a:gd name="T0" fmla="*/ 18 w 104"/>
                <a:gd name="T1" fmla="*/ 0 h 104"/>
                <a:gd name="T2" fmla="*/ 0 w 104"/>
                <a:gd name="T3" fmla="*/ 18 h 104"/>
                <a:gd name="T4" fmla="*/ 0 w 104"/>
                <a:gd name="T5" fmla="*/ 86 h 104"/>
                <a:gd name="T6" fmla="*/ 18 w 104"/>
                <a:gd name="T7" fmla="*/ 104 h 104"/>
                <a:gd name="T8" fmla="*/ 86 w 104"/>
                <a:gd name="T9" fmla="*/ 104 h 104"/>
                <a:gd name="T10" fmla="*/ 104 w 104"/>
                <a:gd name="T11" fmla="*/ 86 h 104"/>
                <a:gd name="T12" fmla="*/ 104 w 104"/>
                <a:gd name="T13" fmla="*/ 18 h 104"/>
                <a:gd name="T14" fmla="*/ 86 w 104"/>
                <a:gd name="T15" fmla="*/ 0 h 104"/>
                <a:gd name="T16" fmla="*/ 18 w 104"/>
                <a:gd name="T17" fmla="*/ 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4" h="104">
                  <a:moveTo>
                    <a:pt x="18" y="0"/>
                  </a:moveTo>
                  <a:cubicBezTo>
                    <a:pt x="8" y="0"/>
                    <a:pt x="0" y="8"/>
                    <a:pt x="0" y="18"/>
                  </a:cubicBezTo>
                  <a:cubicBezTo>
                    <a:pt x="0" y="86"/>
                    <a:pt x="0" y="86"/>
                    <a:pt x="0" y="86"/>
                  </a:cubicBezTo>
                  <a:cubicBezTo>
                    <a:pt x="0" y="96"/>
                    <a:pt x="8" y="104"/>
                    <a:pt x="18" y="104"/>
                  </a:cubicBezTo>
                  <a:cubicBezTo>
                    <a:pt x="86" y="104"/>
                    <a:pt x="86" y="104"/>
                    <a:pt x="86" y="104"/>
                  </a:cubicBezTo>
                  <a:cubicBezTo>
                    <a:pt x="96" y="104"/>
                    <a:pt x="104" y="96"/>
                    <a:pt x="104" y="86"/>
                  </a:cubicBezTo>
                  <a:cubicBezTo>
                    <a:pt x="104" y="18"/>
                    <a:pt x="104" y="18"/>
                    <a:pt x="104" y="18"/>
                  </a:cubicBezTo>
                  <a:cubicBezTo>
                    <a:pt x="104" y="8"/>
                    <a:pt x="96" y="0"/>
                    <a:pt x="86" y="0"/>
                  </a:cubicBezTo>
                  <a:lnTo>
                    <a:pt x="18" y="0"/>
                  </a:lnTo>
                  <a:close/>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0" name="Freeform 10">
              <a:extLst>
                <a:ext uri="{FF2B5EF4-FFF2-40B4-BE49-F238E27FC236}">
                  <a16:creationId xmlns:a16="http://schemas.microsoft.com/office/drawing/2014/main" id="{E49A0EBE-4FF5-6659-525C-55E33A8D519C}"/>
                </a:ext>
              </a:extLst>
            </p:cNvPr>
            <p:cNvSpPr>
              <a:spLocks/>
            </p:cNvSpPr>
            <p:nvPr userDrawn="1"/>
          </p:nvSpPr>
          <p:spPr bwMode="auto">
            <a:xfrm>
              <a:off x="6597" y="3522"/>
              <a:ext cx="96" cy="182"/>
            </a:xfrm>
            <a:custGeom>
              <a:avLst/>
              <a:gdLst>
                <a:gd name="T0" fmla="*/ 14 w 49"/>
                <a:gd name="T1" fmla="*/ 23 h 91"/>
                <a:gd name="T2" fmla="*/ 14 w 49"/>
                <a:gd name="T3" fmla="*/ 36 h 91"/>
                <a:gd name="T4" fmla="*/ 0 w 49"/>
                <a:gd name="T5" fmla="*/ 36 h 91"/>
                <a:gd name="T6" fmla="*/ 0 w 49"/>
                <a:gd name="T7" fmla="*/ 53 h 91"/>
                <a:gd name="T8" fmla="*/ 14 w 49"/>
                <a:gd name="T9" fmla="*/ 53 h 91"/>
                <a:gd name="T10" fmla="*/ 14 w 49"/>
                <a:gd name="T11" fmla="*/ 91 h 91"/>
                <a:gd name="T12" fmla="*/ 33 w 49"/>
                <a:gd name="T13" fmla="*/ 91 h 91"/>
                <a:gd name="T14" fmla="*/ 33 w 49"/>
                <a:gd name="T15" fmla="*/ 53 h 91"/>
                <a:gd name="T16" fmla="*/ 46 w 49"/>
                <a:gd name="T17" fmla="*/ 53 h 91"/>
                <a:gd name="T18" fmla="*/ 49 w 49"/>
                <a:gd name="T19" fmla="*/ 36 h 91"/>
                <a:gd name="T20" fmla="*/ 33 w 49"/>
                <a:gd name="T21" fmla="*/ 36 h 91"/>
                <a:gd name="T22" fmla="*/ 33 w 49"/>
                <a:gd name="T23" fmla="*/ 25 h 91"/>
                <a:gd name="T24" fmla="*/ 42 w 49"/>
                <a:gd name="T25" fmla="*/ 16 h 91"/>
                <a:gd name="T26" fmla="*/ 49 w 49"/>
                <a:gd name="T27" fmla="*/ 16 h 91"/>
                <a:gd name="T28" fmla="*/ 49 w 49"/>
                <a:gd name="T29" fmla="*/ 1 h 91"/>
                <a:gd name="T30" fmla="*/ 36 w 49"/>
                <a:gd name="T31" fmla="*/ 0 h 91"/>
                <a:gd name="T32" fmla="*/ 14 w 49"/>
                <a:gd name="T33" fmla="*/ 23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9" h="91">
                  <a:moveTo>
                    <a:pt x="14" y="23"/>
                  </a:moveTo>
                  <a:cubicBezTo>
                    <a:pt x="14" y="36"/>
                    <a:pt x="14" y="36"/>
                    <a:pt x="14" y="36"/>
                  </a:cubicBezTo>
                  <a:cubicBezTo>
                    <a:pt x="0" y="36"/>
                    <a:pt x="0" y="36"/>
                    <a:pt x="0" y="36"/>
                  </a:cubicBezTo>
                  <a:cubicBezTo>
                    <a:pt x="0" y="53"/>
                    <a:pt x="0" y="53"/>
                    <a:pt x="0" y="53"/>
                  </a:cubicBezTo>
                  <a:cubicBezTo>
                    <a:pt x="14" y="53"/>
                    <a:pt x="14" y="53"/>
                    <a:pt x="14" y="53"/>
                  </a:cubicBezTo>
                  <a:cubicBezTo>
                    <a:pt x="14" y="91"/>
                    <a:pt x="14" y="91"/>
                    <a:pt x="14" y="91"/>
                  </a:cubicBezTo>
                  <a:cubicBezTo>
                    <a:pt x="33" y="91"/>
                    <a:pt x="33" y="91"/>
                    <a:pt x="33" y="91"/>
                  </a:cubicBezTo>
                  <a:cubicBezTo>
                    <a:pt x="33" y="53"/>
                    <a:pt x="33" y="53"/>
                    <a:pt x="33" y="53"/>
                  </a:cubicBezTo>
                  <a:cubicBezTo>
                    <a:pt x="46" y="53"/>
                    <a:pt x="46" y="53"/>
                    <a:pt x="46" y="53"/>
                  </a:cubicBezTo>
                  <a:cubicBezTo>
                    <a:pt x="49" y="36"/>
                    <a:pt x="49" y="36"/>
                    <a:pt x="49" y="36"/>
                  </a:cubicBezTo>
                  <a:cubicBezTo>
                    <a:pt x="33" y="36"/>
                    <a:pt x="33" y="36"/>
                    <a:pt x="33" y="36"/>
                  </a:cubicBezTo>
                  <a:cubicBezTo>
                    <a:pt x="33" y="25"/>
                    <a:pt x="33" y="25"/>
                    <a:pt x="33" y="25"/>
                  </a:cubicBezTo>
                  <a:cubicBezTo>
                    <a:pt x="33" y="20"/>
                    <a:pt x="35" y="16"/>
                    <a:pt x="42" y="16"/>
                  </a:cubicBezTo>
                  <a:cubicBezTo>
                    <a:pt x="49" y="16"/>
                    <a:pt x="49" y="16"/>
                    <a:pt x="49" y="16"/>
                  </a:cubicBezTo>
                  <a:cubicBezTo>
                    <a:pt x="49" y="1"/>
                    <a:pt x="49" y="1"/>
                    <a:pt x="49" y="1"/>
                  </a:cubicBezTo>
                  <a:cubicBezTo>
                    <a:pt x="49" y="1"/>
                    <a:pt x="43" y="0"/>
                    <a:pt x="36" y="0"/>
                  </a:cubicBezTo>
                  <a:cubicBezTo>
                    <a:pt x="23" y="0"/>
                    <a:pt x="14" y="8"/>
                    <a:pt x="14" y="23"/>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2" name="Freeform 11">
              <a:extLst>
                <a:ext uri="{FF2B5EF4-FFF2-40B4-BE49-F238E27FC236}">
                  <a16:creationId xmlns:a16="http://schemas.microsoft.com/office/drawing/2014/main" id="{103075C6-D10C-20A6-DF0E-6CD2A151B2C2}"/>
                </a:ext>
              </a:extLst>
            </p:cNvPr>
            <p:cNvSpPr>
              <a:spLocks/>
            </p:cNvSpPr>
            <p:nvPr userDrawn="1"/>
          </p:nvSpPr>
          <p:spPr bwMode="auto">
            <a:xfrm>
              <a:off x="6998" y="3496"/>
              <a:ext cx="205" cy="208"/>
            </a:xfrm>
            <a:custGeom>
              <a:avLst/>
              <a:gdLst>
                <a:gd name="T0" fmla="*/ 18 w 105"/>
                <a:gd name="T1" fmla="*/ 0 h 104"/>
                <a:gd name="T2" fmla="*/ 0 w 105"/>
                <a:gd name="T3" fmla="*/ 18 h 104"/>
                <a:gd name="T4" fmla="*/ 0 w 105"/>
                <a:gd name="T5" fmla="*/ 86 h 104"/>
                <a:gd name="T6" fmla="*/ 18 w 105"/>
                <a:gd name="T7" fmla="*/ 104 h 104"/>
                <a:gd name="T8" fmla="*/ 87 w 105"/>
                <a:gd name="T9" fmla="*/ 104 h 104"/>
                <a:gd name="T10" fmla="*/ 105 w 105"/>
                <a:gd name="T11" fmla="*/ 86 h 104"/>
                <a:gd name="T12" fmla="*/ 105 w 105"/>
                <a:gd name="T13" fmla="*/ 18 h 104"/>
                <a:gd name="T14" fmla="*/ 87 w 105"/>
                <a:gd name="T15" fmla="*/ 0 h 104"/>
                <a:gd name="T16" fmla="*/ 18 w 105"/>
                <a:gd name="T17" fmla="*/ 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5" h="104">
                  <a:moveTo>
                    <a:pt x="18" y="0"/>
                  </a:moveTo>
                  <a:cubicBezTo>
                    <a:pt x="8" y="0"/>
                    <a:pt x="0" y="8"/>
                    <a:pt x="0" y="18"/>
                  </a:cubicBezTo>
                  <a:cubicBezTo>
                    <a:pt x="0" y="86"/>
                    <a:pt x="0" y="86"/>
                    <a:pt x="0" y="86"/>
                  </a:cubicBezTo>
                  <a:cubicBezTo>
                    <a:pt x="0" y="96"/>
                    <a:pt x="8" y="104"/>
                    <a:pt x="18" y="104"/>
                  </a:cubicBezTo>
                  <a:cubicBezTo>
                    <a:pt x="87" y="104"/>
                    <a:pt x="87" y="104"/>
                    <a:pt x="87" y="104"/>
                  </a:cubicBezTo>
                  <a:cubicBezTo>
                    <a:pt x="97" y="104"/>
                    <a:pt x="105" y="96"/>
                    <a:pt x="105" y="86"/>
                  </a:cubicBezTo>
                  <a:cubicBezTo>
                    <a:pt x="105" y="18"/>
                    <a:pt x="105" y="18"/>
                    <a:pt x="105" y="18"/>
                  </a:cubicBezTo>
                  <a:cubicBezTo>
                    <a:pt x="105" y="8"/>
                    <a:pt x="97" y="0"/>
                    <a:pt x="87" y="0"/>
                  </a:cubicBezTo>
                  <a:lnTo>
                    <a:pt x="18" y="0"/>
                  </a:lnTo>
                  <a:close/>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4" name="Rectangle 12">
              <a:extLst>
                <a:ext uri="{FF2B5EF4-FFF2-40B4-BE49-F238E27FC236}">
                  <a16:creationId xmlns:a16="http://schemas.microsoft.com/office/drawing/2014/main" id="{6986018B-6696-9BC6-E2BE-B346EF3FDF37}"/>
                </a:ext>
              </a:extLst>
            </p:cNvPr>
            <p:cNvSpPr>
              <a:spLocks noChangeArrowheads="1"/>
            </p:cNvSpPr>
            <p:nvPr userDrawn="1"/>
          </p:nvSpPr>
          <p:spPr bwMode="auto">
            <a:xfrm>
              <a:off x="7033" y="3576"/>
              <a:ext cx="29" cy="9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5" name="Freeform 13">
              <a:extLst>
                <a:ext uri="{FF2B5EF4-FFF2-40B4-BE49-F238E27FC236}">
                  <a16:creationId xmlns:a16="http://schemas.microsoft.com/office/drawing/2014/main" id="{EDE07DAD-D2D4-50A7-A3F4-78122D08F38D}"/>
                </a:ext>
              </a:extLst>
            </p:cNvPr>
            <p:cNvSpPr>
              <a:spLocks/>
            </p:cNvSpPr>
            <p:nvPr userDrawn="1"/>
          </p:nvSpPr>
          <p:spPr bwMode="auto">
            <a:xfrm>
              <a:off x="7078" y="3574"/>
              <a:ext cx="92" cy="94"/>
            </a:xfrm>
            <a:custGeom>
              <a:avLst/>
              <a:gdLst>
                <a:gd name="T0" fmla="*/ 29 w 47"/>
                <a:gd name="T1" fmla="*/ 0 h 47"/>
                <a:gd name="T2" fmla="*/ 16 w 47"/>
                <a:gd name="T3" fmla="*/ 8 h 47"/>
                <a:gd name="T4" fmla="*/ 16 w 47"/>
                <a:gd name="T5" fmla="*/ 1 h 47"/>
                <a:gd name="T6" fmla="*/ 0 w 47"/>
                <a:gd name="T7" fmla="*/ 1 h 47"/>
                <a:gd name="T8" fmla="*/ 0 w 47"/>
                <a:gd name="T9" fmla="*/ 47 h 47"/>
                <a:gd name="T10" fmla="*/ 16 w 47"/>
                <a:gd name="T11" fmla="*/ 47 h 47"/>
                <a:gd name="T12" fmla="*/ 16 w 47"/>
                <a:gd name="T13" fmla="*/ 21 h 47"/>
                <a:gd name="T14" fmla="*/ 16 w 47"/>
                <a:gd name="T15" fmla="*/ 18 h 47"/>
                <a:gd name="T16" fmla="*/ 24 w 47"/>
                <a:gd name="T17" fmla="*/ 12 h 47"/>
                <a:gd name="T18" fmla="*/ 32 w 47"/>
                <a:gd name="T19" fmla="*/ 22 h 47"/>
                <a:gd name="T20" fmla="*/ 32 w 47"/>
                <a:gd name="T21" fmla="*/ 47 h 47"/>
                <a:gd name="T22" fmla="*/ 47 w 47"/>
                <a:gd name="T23" fmla="*/ 47 h 47"/>
                <a:gd name="T24" fmla="*/ 47 w 47"/>
                <a:gd name="T25" fmla="*/ 21 h 47"/>
                <a:gd name="T26" fmla="*/ 29 w 47"/>
                <a:gd name="T27"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7" h="47">
                  <a:moveTo>
                    <a:pt x="29" y="0"/>
                  </a:moveTo>
                  <a:cubicBezTo>
                    <a:pt x="21" y="0"/>
                    <a:pt x="18" y="4"/>
                    <a:pt x="16" y="8"/>
                  </a:cubicBezTo>
                  <a:cubicBezTo>
                    <a:pt x="16" y="1"/>
                    <a:pt x="16" y="1"/>
                    <a:pt x="16" y="1"/>
                  </a:cubicBezTo>
                  <a:cubicBezTo>
                    <a:pt x="0" y="1"/>
                    <a:pt x="0" y="1"/>
                    <a:pt x="0" y="1"/>
                  </a:cubicBezTo>
                  <a:cubicBezTo>
                    <a:pt x="1" y="5"/>
                    <a:pt x="0" y="47"/>
                    <a:pt x="0" y="47"/>
                  </a:cubicBezTo>
                  <a:cubicBezTo>
                    <a:pt x="16" y="47"/>
                    <a:pt x="16" y="47"/>
                    <a:pt x="16" y="47"/>
                  </a:cubicBezTo>
                  <a:cubicBezTo>
                    <a:pt x="16" y="21"/>
                    <a:pt x="16" y="21"/>
                    <a:pt x="16" y="21"/>
                  </a:cubicBezTo>
                  <a:cubicBezTo>
                    <a:pt x="16" y="20"/>
                    <a:pt x="16" y="19"/>
                    <a:pt x="16" y="18"/>
                  </a:cubicBezTo>
                  <a:cubicBezTo>
                    <a:pt x="17" y="15"/>
                    <a:pt x="20" y="12"/>
                    <a:pt x="24" y="12"/>
                  </a:cubicBezTo>
                  <a:cubicBezTo>
                    <a:pt x="30" y="12"/>
                    <a:pt x="32" y="16"/>
                    <a:pt x="32" y="22"/>
                  </a:cubicBezTo>
                  <a:cubicBezTo>
                    <a:pt x="32" y="47"/>
                    <a:pt x="32" y="47"/>
                    <a:pt x="32" y="47"/>
                  </a:cubicBezTo>
                  <a:cubicBezTo>
                    <a:pt x="47" y="47"/>
                    <a:pt x="47" y="47"/>
                    <a:pt x="47" y="47"/>
                  </a:cubicBezTo>
                  <a:cubicBezTo>
                    <a:pt x="47" y="21"/>
                    <a:pt x="47" y="21"/>
                    <a:pt x="47" y="21"/>
                  </a:cubicBezTo>
                  <a:cubicBezTo>
                    <a:pt x="47" y="7"/>
                    <a:pt x="40" y="0"/>
                    <a:pt x="29"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6" name="Freeform 14">
              <a:extLst>
                <a:ext uri="{FF2B5EF4-FFF2-40B4-BE49-F238E27FC236}">
                  <a16:creationId xmlns:a16="http://schemas.microsoft.com/office/drawing/2014/main" id="{8FBE14B7-E2A2-01DC-53D0-F0B2A87F6A4C}"/>
                </a:ext>
              </a:extLst>
            </p:cNvPr>
            <p:cNvSpPr>
              <a:spLocks/>
            </p:cNvSpPr>
            <p:nvPr userDrawn="1"/>
          </p:nvSpPr>
          <p:spPr bwMode="auto">
            <a:xfrm>
              <a:off x="7031" y="3532"/>
              <a:ext cx="33" cy="32"/>
            </a:xfrm>
            <a:custGeom>
              <a:avLst/>
              <a:gdLst>
                <a:gd name="T0" fmla="*/ 8 w 17"/>
                <a:gd name="T1" fmla="*/ 0 h 16"/>
                <a:gd name="T2" fmla="*/ 0 w 17"/>
                <a:gd name="T3" fmla="*/ 8 h 16"/>
                <a:gd name="T4" fmla="*/ 8 w 17"/>
                <a:gd name="T5" fmla="*/ 16 h 16"/>
                <a:gd name="T6" fmla="*/ 8 w 17"/>
                <a:gd name="T7" fmla="*/ 16 h 16"/>
                <a:gd name="T8" fmla="*/ 17 w 17"/>
                <a:gd name="T9" fmla="*/ 8 h 16"/>
                <a:gd name="T10" fmla="*/ 8 w 17"/>
                <a:gd name="T11" fmla="*/ 0 h 16"/>
              </a:gdLst>
              <a:ahLst/>
              <a:cxnLst>
                <a:cxn ang="0">
                  <a:pos x="T0" y="T1"/>
                </a:cxn>
                <a:cxn ang="0">
                  <a:pos x="T2" y="T3"/>
                </a:cxn>
                <a:cxn ang="0">
                  <a:pos x="T4" y="T5"/>
                </a:cxn>
                <a:cxn ang="0">
                  <a:pos x="T6" y="T7"/>
                </a:cxn>
                <a:cxn ang="0">
                  <a:pos x="T8" y="T9"/>
                </a:cxn>
                <a:cxn ang="0">
                  <a:pos x="T10" y="T11"/>
                </a:cxn>
              </a:cxnLst>
              <a:rect l="0" t="0" r="r" b="b"/>
              <a:pathLst>
                <a:path w="17" h="16">
                  <a:moveTo>
                    <a:pt x="8" y="0"/>
                  </a:moveTo>
                  <a:cubicBezTo>
                    <a:pt x="3" y="0"/>
                    <a:pt x="0" y="3"/>
                    <a:pt x="0" y="8"/>
                  </a:cubicBezTo>
                  <a:cubicBezTo>
                    <a:pt x="0" y="12"/>
                    <a:pt x="3" y="16"/>
                    <a:pt x="8" y="16"/>
                  </a:cubicBezTo>
                  <a:cubicBezTo>
                    <a:pt x="8" y="16"/>
                    <a:pt x="8" y="16"/>
                    <a:pt x="8" y="16"/>
                  </a:cubicBezTo>
                  <a:cubicBezTo>
                    <a:pt x="14" y="16"/>
                    <a:pt x="17" y="12"/>
                    <a:pt x="17" y="8"/>
                  </a:cubicBezTo>
                  <a:cubicBezTo>
                    <a:pt x="17" y="3"/>
                    <a:pt x="14" y="0"/>
                    <a:pt x="8"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7" name="Freeform 15">
              <a:extLst>
                <a:ext uri="{FF2B5EF4-FFF2-40B4-BE49-F238E27FC236}">
                  <a16:creationId xmlns:a16="http://schemas.microsoft.com/office/drawing/2014/main" id="{31E4AF5E-C02B-D224-410B-530DDDD312DD}"/>
                </a:ext>
              </a:extLst>
            </p:cNvPr>
            <p:cNvSpPr>
              <a:spLocks/>
            </p:cNvSpPr>
            <p:nvPr userDrawn="1"/>
          </p:nvSpPr>
          <p:spPr bwMode="auto">
            <a:xfrm>
              <a:off x="6752" y="3496"/>
              <a:ext cx="205" cy="208"/>
            </a:xfrm>
            <a:custGeom>
              <a:avLst/>
              <a:gdLst>
                <a:gd name="T0" fmla="*/ 18 w 105"/>
                <a:gd name="T1" fmla="*/ 0 h 104"/>
                <a:gd name="T2" fmla="*/ 0 w 105"/>
                <a:gd name="T3" fmla="*/ 18 h 104"/>
                <a:gd name="T4" fmla="*/ 0 w 105"/>
                <a:gd name="T5" fmla="*/ 86 h 104"/>
                <a:gd name="T6" fmla="*/ 18 w 105"/>
                <a:gd name="T7" fmla="*/ 104 h 104"/>
                <a:gd name="T8" fmla="*/ 87 w 105"/>
                <a:gd name="T9" fmla="*/ 104 h 104"/>
                <a:gd name="T10" fmla="*/ 105 w 105"/>
                <a:gd name="T11" fmla="*/ 86 h 104"/>
                <a:gd name="T12" fmla="*/ 105 w 105"/>
                <a:gd name="T13" fmla="*/ 18 h 104"/>
                <a:gd name="T14" fmla="*/ 87 w 105"/>
                <a:gd name="T15" fmla="*/ 0 h 104"/>
                <a:gd name="T16" fmla="*/ 18 w 105"/>
                <a:gd name="T17" fmla="*/ 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5" h="104">
                  <a:moveTo>
                    <a:pt x="18" y="0"/>
                  </a:moveTo>
                  <a:cubicBezTo>
                    <a:pt x="8" y="0"/>
                    <a:pt x="0" y="8"/>
                    <a:pt x="0" y="18"/>
                  </a:cubicBezTo>
                  <a:cubicBezTo>
                    <a:pt x="0" y="86"/>
                    <a:pt x="0" y="86"/>
                    <a:pt x="0" y="86"/>
                  </a:cubicBezTo>
                  <a:cubicBezTo>
                    <a:pt x="0" y="96"/>
                    <a:pt x="8" y="104"/>
                    <a:pt x="18" y="104"/>
                  </a:cubicBezTo>
                  <a:cubicBezTo>
                    <a:pt x="87" y="104"/>
                    <a:pt x="87" y="104"/>
                    <a:pt x="87" y="104"/>
                  </a:cubicBezTo>
                  <a:cubicBezTo>
                    <a:pt x="97" y="104"/>
                    <a:pt x="105" y="96"/>
                    <a:pt x="105" y="86"/>
                  </a:cubicBezTo>
                  <a:cubicBezTo>
                    <a:pt x="105" y="18"/>
                    <a:pt x="105" y="18"/>
                    <a:pt x="105" y="18"/>
                  </a:cubicBezTo>
                  <a:cubicBezTo>
                    <a:pt x="105" y="8"/>
                    <a:pt x="97" y="0"/>
                    <a:pt x="87" y="0"/>
                  </a:cubicBezTo>
                  <a:lnTo>
                    <a:pt x="18" y="0"/>
                  </a:lnTo>
                  <a:close/>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8" name="Freeform 16">
              <a:extLst>
                <a:ext uri="{FF2B5EF4-FFF2-40B4-BE49-F238E27FC236}">
                  <a16:creationId xmlns:a16="http://schemas.microsoft.com/office/drawing/2014/main" id="{1C290BD1-0C5A-C4EC-C2B9-9101E50D1570}"/>
                </a:ext>
              </a:extLst>
            </p:cNvPr>
            <p:cNvSpPr>
              <a:spLocks noEditPoints="1"/>
            </p:cNvSpPr>
            <p:nvPr userDrawn="1"/>
          </p:nvSpPr>
          <p:spPr bwMode="auto">
            <a:xfrm>
              <a:off x="6818" y="3564"/>
              <a:ext cx="72" cy="72"/>
            </a:xfrm>
            <a:custGeom>
              <a:avLst/>
              <a:gdLst>
                <a:gd name="T0" fmla="*/ 19 w 37"/>
                <a:gd name="T1" fmla="*/ 30 h 36"/>
                <a:gd name="T2" fmla="*/ 7 w 37"/>
                <a:gd name="T3" fmla="*/ 18 h 36"/>
                <a:gd name="T4" fmla="*/ 19 w 37"/>
                <a:gd name="T5" fmla="*/ 6 h 36"/>
                <a:gd name="T6" fmla="*/ 31 w 37"/>
                <a:gd name="T7" fmla="*/ 18 h 36"/>
                <a:gd name="T8" fmla="*/ 19 w 37"/>
                <a:gd name="T9" fmla="*/ 30 h 36"/>
                <a:gd name="T10" fmla="*/ 19 w 37"/>
                <a:gd name="T11" fmla="*/ 0 h 36"/>
                <a:gd name="T12" fmla="*/ 0 w 37"/>
                <a:gd name="T13" fmla="*/ 18 h 36"/>
                <a:gd name="T14" fmla="*/ 19 w 37"/>
                <a:gd name="T15" fmla="*/ 36 h 36"/>
                <a:gd name="T16" fmla="*/ 37 w 37"/>
                <a:gd name="T17" fmla="*/ 18 h 36"/>
                <a:gd name="T18" fmla="*/ 19 w 37"/>
                <a:gd name="T19"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7" h="36">
                  <a:moveTo>
                    <a:pt x="19" y="30"/>
                  </a:moveTo>
                  <a:cubicBezTo>
                    <a:pt x="12" y="30"/>
                    <a:pt x="7" y="25"/>
                    <a:pt x="7" y="18"/>
                  </a:cubicBezTo>
                  <a:cubicBezTo>
                    <a:pt x="7" y="11"/>
                    <a:pt x="12" y="6"/>
                    <a:pt x="19" y="6"/>
                  </a:cubicBezTo>
                  <a:cubicBezTo>
                    <a:pt x="25" y="6"/>
                    <a:pt x="31" y="11"/>
                    <a:pt x="31" y="18"/>
                  </a:cubicBezTo>
                  <a:cubicBezTo>
                    <a:pt x="31" y="25"/>
                    <a:pt x="25" y="30"/>
                    <a:pt x="19" y="30"/>
                  </a:cubicBezTo>
                  <a:moveTo>
                    <a:pt x="19" y="0"/>
                  </a:moveTo>
                  <a:cubicBezTo>
                    <a:pt x="9" y="0"/>
                    <a:pt x="0" y="8"/>
                    <a:pt x="0" y="18"/>
                  </a:cubicBezTo>
                  <a:cubicBezTo>
                    <a:pt x="0" y="28"/>
                    <a:pt x="9" y="36"/>
                    <a:pt x="19" y="36"/>
                  </a:cubicBezTo>
                  <a:cubicBezTo>
                    <a:pt x="29" y="36"/>
                    <a:pt x="37" y="28"/>
                    <a:pt x="37" y="18"/>
                  </a:cubicBezTo>
                  <a:cubicBezTo>
                    <a:pt x="37" y="8"/>
                    <a:pt x="29" y="0"/>
                    <a:pt x="19"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9" name="Freeform 17">
              <a:extLst>
                <a:ext uri="{FF2B5EF4-FFF2-40B4-BE49-F238E27FC236}">
                  <a16:creationId xmlns:a16="http://schemas.microsoft.com/office/drawing/2014/main" id="{3C164615-0BD9-5E41-C867-B9860A808290}"/>
                </a:ext>
              </a:extLst>
            </p:cNvPr>
            <p:cNvSpPr>
              <a:spLocks noEditPoints="1"/>
            </p:cNvSpPr>
            <p:nvPr userDrawn="1"/>
          </p:nvSpPr>
          <p:spPr bwMode="auto">
            <a:xfrm>
              <a:off x="6785" y="3528"/>
              <a:ext cx="139" cy="144"/>
            </a:xfrm>
            <a:custGeom>
              <a:avLst/>
              <a:gdLst>
                <a:gd name="T0" fmla="*/ 65 w 71"/>
                <a:gd name="T1" fmla="*/ 50 h 72"/>
                <a:gd name="T2" fmla="*/ 64 w 71"/>
                <a:gd name="T3" fmla="*/ 57 h 72"/>
                <a:gd name="T4" fmla="*/ 61 w 71"/>
                <a:gd name="T5" fmla="*/ 61 h 72"/>
                <a:gd name="T6" fmla="*/ 57 w 71"/>
                <a:gd name="T7" fmla="*/ 64 h 72"/>
                <a:gd name="T8" fmla="*/ 50 w 71"/>
                <a:gd name="T9" fmla="*/ 65 h 72"/>
                <a:gd name="T10" fmla="*/ 36 w 71"/>
                <a:gd name="T11" fmla="*/ 65 h 72"/>
                <a:gd name="T12" fmla="*/ 21 w 71"/>
                <a:gd name="T13" fmla="*/ 65 h 72"/>
                <a:gd name="T14" fmla="*/ 15 w 71"/>
                <a:gd name="T15" fmla="*/ 64 h 72"/>
                <a:gd name="T16" fmla="*/ 11 w 71"/>
                <a:gd name="T17" fmla="*/ 61 h 72"/>
                <a:gd name="T18" fmla="*/ 8 w 71"/>
                <a:gd name="T19" fmla="*/ 57 h 72"/>
                <a:gd name="T20" fmla="*/ 7 w 71"/>
                <a:gd name="T21" fmla="*/ 50 h 72"/>
                <a:gd name="T22" fmla="*/ 6 w 71"/>
                <a:gd name="T23" fmla="*/ 36 h 72"/>
                <a:gd name="T24" fmla="*/ 7 w 71"/>
                <a:gd name="T25" fmla="*/ 21 h 72"/>
                <a:gd name="T26" fmla="*/ 8 w 71"/>
                <a:gd name="T27" fmla="*/ 15 h 72"/>
                <a:gd name="T28" fmla="*/ 11 w 71"/>
                <a:gd name="T29" fmla="*/ 11 h 72"/>
                <a:gd name="T30" fmla="*/ 15 w 71"/>
                <a:gd name="T31" fmla="*/ 8 h 72"/>
                <a:gd name="T32" fmla="*/ 21 w 71"/>
                <a:gd name="T33" fmla="*/ 7 h 72"/>
                <a:gd name="T34" fmla="*/ 36 w 71"/>
                <a:gd name="T35" fmla="*/ 7 h 72"/>
                <a:gd name="T36" fmla="*/ 50 w 71"/>
                <a:gd name="T37" fmla="*/ 7 h 72"/>
                <a:gd name="T38" fmla="*/ 57 w 71"/>
                <a:gd name="T39" fmla="*/ 8 h 72"/>
                <a:gd name="T40" fmla="*/ 61 w 71"/>
                <a:gd name="T41" fmla="*/ 11 h 72"/>
                <a:gd name="T42" fmla="*/ 64 w 71"/>
                <a:gd name="T43" fmla="*/ 15 h 72"/>
                <a:gd name="T44" fmla="*/ 65 w 71"/>
                <a:gd name="T45" fmla="*/ 21 h 72"/>
                <a:gd name="T46" fmla="*/ 65 w 71"/>
                <a:gd name="T47" fmla="*/ 36 h 72"/>
                <a:gd name="T48" fmla="*/ 65 w 71"/>
                <a:gd name="T49" fmla="*/ 50 h 72"/>
                <a:gd name="T50" fmla="*/ 71 w 71"/>
                <a:gd name="T51" fmla="*/ 21 h 72"/>
                <a:gd name="T52" fmla="*/ 70 w 71"/>
                <a:gd name="T53" fmla="*/ 13 h 72"/>
                <a:gd name="T54" fmla="*/ 65 w 71"/>
                <a:gd name="T55" fmla="*/ 6 h 72"/>
                <a:gd name="T56" fmla="*/ 59 w 71"/>
                <a:gd name="T57" fmla="*/ 2 h 72"/>
                <a:gd name="T58" fmla="*/ 50 w 71"/>
                <a:gd name="T59" fmla="*/ 0 h 72"/>
                <a:gd name="T60" fmla="*/ 36 w 71"/>
                <a:gd name="T61" fmla="*/ 0 h 72"/>
                <a:gd name="T62" fmla="*/ 21 w 71"/>
                <a:gd name="T63" fmla="*/ 0 h 72"/>
                <a:gd name="T64" fmla="*/ 12 w 71"/>
                <a:gd name="T65" fmla="*/ 2 h 72"/>
                <a:gd name="T66" fmla="*/ 6 w 71"/>
                <a:gd name="T67" fmla="*/ 6 h 72"/>
                <a:gd name="T68" fmla="*/ 2 w 71"/>
                <a:gd name="T69" fmla="*/ 13 h 72"/>
                <a:gd name="T70" fmla="*/ 0 w 71"/>
                <a:gd name="T71" fmla="*/ 21 h 72"/>
                <a:gd name="T72" fmla="*/ 0 w 71"/>
                <a:gd name="T73" fmla="*/ 36 h 72"/>
                <a:gd name="T74" fmla="*/ 0 w 71"/>
                <a:gd name="T75" fmla="*/ 51 h 72"/>
                <a:gd name="T76" fmla="*/ 2 w 71"/>
                <a:gd name="T77" fmla="*/ 59 h 72"/>
                <a:gd name="T78" fmla="*/ 6 w 71"/>
                <a:gd name="T79" fmla="*/ 66 h 72"/>
                <a:gd name="T80" fmla="*/ 12 w 71"/>
                <a:gd name="T81" fmla="*/ 70 h 72"/>
                <a:gd name="T82" fmla="*/ 21 w 71"/>
                <a:gd name="T83" fmla="*/ 71 h 72"/>
                <a:gd name="T84" fmla="*/ 36 w 71"/>
                <a:gd name="T85" fmla="*/ 72 h 72"/>
                <a:gd name="T86" fmla="*/ 50 w 71"/>
                <a:gd name="T87" fmla="*/ 71 h 72"/>
                <a:gd name="T88" fmla="*/ 59 w 71"/>
                <a:gd name="T89" fmla="*/ 70 h 72"/>
                <a:gd name="T90" fmla="*/ 65 w 71"/>
                <a:gd name="T91" fmla="*/ 66 h 72"/>
                <a:gd name="T92" fmla="*/ 70 w 71"/>
                <a:gd name="T93" fmla="*/ 59 h 72"/>
                <a:gd name="T94" fmla="*/ 71 w 71"/>
                <a:gd name="T95" fmla="*/ 51 h 72"/>
                <a:gd name="T96" fmla="*/ 71 w 71"/>
                <a:gd name="T97" fmla="*/ 36 h 72"/>
                <a:gd name="T98" fmla="*/ 71 w 71"/>
                <a:gd name="T99" fmla="*/ 21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71" h="72">
                  <a:moveTo>
                    <a:pt x="65" y="50"/>
                  </a:moveTo>
                  <a:cubicBezTo>
                    <a:pt x="65" y="54"/>
                    <a:pt x="64" y="56"/>
                    <a:pt x="64" y="57"/>
                  </a:cubicBezTo>
                  <a:cubicBezTo>
                    <a:pt x="63" y="59"/>
                    <a:pt x="62" y="60"/>
                    <a:pt x="61" y="61"/>
                  </a:cubicBezTo>
                  <a:cubicBezTo>
                    <a:pt x="60" y="62"/>
                    <a:pt x="58" y="63"/>
                    <a:pt x="57" y="64"/>
                  </a:cubicBezTo>
                  <a:cubicBezTo>
                    <a:pt x="56" y="64"/>
                    <a:pt x="54" y="65"/>
                    <a:pt x="50" y="65"/>
                  </a:cubicBezTo>
                  <a:cubicBezTo>
                    <a:pt x="46" y="65"/>
                    <a:pt x="45" y="65"/>
                    <a:pt x="36" y="65"/>
                  </a:cubicBezTo>
                  <a:cubicBezTo>
                    <a:pt x="26" y="65"/>
                    <a:pt x="25" y="65"/>
                    <a:pt x="21" y="65"/>
                  </a:cubicBezTo>
                  <a:cubicBezTo>
                    <a:pt x="18" y="65"/>
                    <a:pt x="16" y="64"/>
                    <a:pt x="15" y="64"/>
                  </a:cubicBezTo>
                  <a:cubicBezTo>
                    <a:pt x="13" y="63"/>
                    <a:pt x="12" y="62"/>
                    <a:pt x="11" y="61"/>
                  </a:cubicBezTo>
                  <a:cubicBezTo>
                    <a:pt x="9" y="60"/>
                    <a:pt x="9" y="59"/>
                    <a:pt x="8" y="57"/>
                  </a:cubicBezTo>
                  <a:cubicBezTo>
                    <a:pt x="7" y="56"/>
                    <a:pt x="7" y="54"/>
                    <a:pt x="7" y="50"/>
                  </a:cubicBezTo>
                  <a:cubicBezTo>
                    <a:pt x="6" y="47"/>
                    <a:pt x="6" y="45"/>
                    <a:pt x="6" y="36"/>
                  </a:cubicBezTo>
                  <a:cubicBezTo>
                    <a:pt x="6" y="26"/>
                    <a:pt x="6" y="25"/>
                    <a:pt x="7" y="21"/>
                  </a:cubicBezTo>
                  <a:cubicBezTo>
                    <a:pt x="7" y="18"/>
                    <a:pt x="7" y="16"/>
                    <a:pt x="8" y="15"/>
                  </a:cubicBezTo>
                  <a:cubicBezTo>
                    <a:pt x="9" y="13"/>
                    <a:pt x="9" y="12"/>
                    <a:pt x="11" y="11"/>
                  </a:cubicBezTo>
                  <a:cubicBezTo>
                    <a:pt x="12" y="10"/>
                    <a:pt x="13" y="9"/>
                    <a:pt x="15" y="8"/>
                  </a:cubicBezTo>
                  <a:cubicBezTo>
                    <a:pt x="16" y="8"/>
                    <a:pt x="18" y="7"/>
                    <a:pt x="21" y="7"/>
                  </a:cubicBezTo>
                  <a:cubicBezTo>
                    <a:pt x="25" y="7"/>
                    <a:pt x="26" y="7"/>
                    <a:pt x="36" y="7"/>
                  </a:cubicBezTo>
                  <a:cubicBezTo>
                    <a:pt x="45" y="7"/>
                    <a:pt x="46" y="7"/>
                    <a:pt x="50" y="7"/>
                  </a:cubicBezTo>
                  <a:cubicBezTo>
                    <a:pt x="54" y="7"/>
                    <a:pt x="56" y="8"/>
                    <a:pt x="57" y="8"/>
                  </a:cubicBezTo>
                  <a:cubicBezTo>
                    <a:pt x="58" y="9"/>
                    <a:pt x="60" y="10"/>
                    <a:pt x="61" y="11"/>
                  </a:cubicBezTo>
                  <a:cubicBezTo>
                    <a:pt x="62" y="12"/>
                    <a:pt x="63" y="13"/>
                    <a:pt x="64" y="15"/>
                  </a:cubicBezTo>
                  <a:cubicBezTo>
                    <a:pt x="64" y="16"/>
                    <a:pt x="65" y="18"/>
                    <a:pt x="65" y="21"/>
                  </a:cubicBezTo>
                  <a:cubicBezTo>
                    <a:pt x="65" y="25"/>
                    <a:pt x="65" y="26"/>
                    <a:pt x="65" y="36"/>
                  </a:cubicBezTo>
                  <a:cubicBezTo>
                    <a:pt x="65" y="45"/>
                    <a:pt x="65" y="47"/>
                    <a:pt x="65" y="50"/>
                  </a:cubicBezTo>
                  <a:moveTo>
                    <a:pt x="71" y="21"/>
                  </a:moveTo>
                  <a:cubicBezTo>
                    <a:pt x="71" y="17"/>
                    <a:pt x="70" y="15"/>
                    <a:pt x="70" y="13"/>
                  </a:cubicBezTo>
                  <a:cubicBezTo>
                    <a:pt x="69" y="10"/>
                    <a:pt x="67" y="8"/>
                    <a:pt x="65" y="6"/>
                  </a:cubicBezTo>
                  <a:cubicBezTo>
                    <a:pt x="63" y="4"/>
                    <a:pt x="61" y="3"/>
                    <a:pt x="59" y="2"/>
                  </a:cubicBezTo>
                  <a:cubicBezTo>
                    <a:pt x="57" y="1"/>
                    <a:pt x="54" y="1"/>
                    <a:pt x="50" y="0"/>
                  </a:cubicBezTo>
                  <a:cubicBezTo>
                    <a:pt x="47" y="0"/>
                    <a:pt x="45" y="0"/>
                    <a:pt x="36" y="0"/>
                  </a:cubicBezTo>
                  <a:cubicBezTo>
                    <a:pt x="26" y="0"/>
                    <a:pt x="25" y="0"/>
                    <a:pt x="21" y="0"/>
                  </a:cubicBezTo>
                  <a:cubicBezTo>
                    <a:pt x="17" y="1"/>
                    <a:pt x="15" y="1"/>
                    <a:pt x="12" y="2"/>
                  </a:cubicBezTo>
                  <a:cubicBezTo>
                    <a:pt x="10" y="3"/>
                    <a:pt x="8" y="4"/>
                    <a:pt x="6" y="6"/>
                  </a:cubicBezTo>
                  <a:cubicBezTo>
                    <a:pt x="4" y="8"/>
                    <a:pt x="3" y="10"/>
                    <a:pt x="2" y="13"/>
                  </a:cubicBezTo>
                  <a:cubicBezTo>
                    <a:pt x="1" y="15"/>
                    <a:pt x="0" y="17"/>
                    <a:pt x="0" y="21"/>
                  </a:cubicBezTo>
                  <a:cubicBezTo>
                    <a:pt x="0" y="25"/>
                    <a:pt x="0" y="26"/>
                    <a:pt x="0" y="36"/>
                  </a:cubicBezTo>
                  <a:cubicBezTo>
                    <a:pt x="0" y="46"/>
                    <a:pt x="0" y="47"/>
                    <a:pt x="0" y="51"/>
                  </a:cubicBezTo>
                  <a:cubicBezTo>
                    <a:pt x="0" y="54"/>
                    <a:pt x="1" y="57"/>
                    <a:pt x="2" y="59"/>
                  </a:cubicBezTo>
                  <a:cubicBezTo>
                    <a:pt x="3" y="62"/>
                    <a:pt x="4" y="64"/>
                    <a:pt x="6" y="66"/>
                  </a:cubicBezTo>
                  <a:cubicBezTo>
                    <a:pt x="8" y="68"/>
                    <a:pt x="10" y="69"/>
                    <a:pt x="12" y="70"/>
                  </a:cubicBezTo>
                  <a:cubicBezTo>
                    <a:pt x="15" y="71"/>
                    <a:pt x="17" y="71"/>
                    <a:pt x="21" y="71"/>
                  </a:cubicBezTo>
                  <a:cubicBezTo>
                    <a:pt x="25" y="72"/>
                    <a:pt x="26" y="72"/>
                    <a:pt x="36" y="72"/>
                  </a:cubicBezTo>
                  <a:cubicBezTo>
                    <a:pt x="45" y="72"/>
                    <a:pt x="47" y="72"/>
                    <a:pt x="50" y="71"/>
                  </a:cubicBezTo>
                  <a:cubicBezTo>
                    <a:pt x="54" y="71"/>
                    <a:pt x="57" y="71"/>
                    <a:pt x="59" y="70"/>
                  </a:cubicBezTo>
                  <a:cubicBezTo>
                    <a:pt x="61" y="69"/>
                    <a:pt x="63" y="68"/>
                    <a:pt x="65" y="66"/>
                  </a:cubicBezTo>
                  <a:cubicBezTo>
                    <a:pt x="67" y="64"/>
                    <a:pt x="69" y="62"/>
                    <a:pt x="70" y="59"/>
                  </a:cubicBezTo>
                  <a:cubicBezTo>
                    <a:pt x="70" y="57"/>
                    <a:pt x="71" y="54"/>
                    <a:pt x="71" y="51"/>
                  </a:cubicBezTo>
                  <a:cubicBezTo>
                    <a:pt x="71" y="47"/>
                    <a:pt x="71" y="46"/>
                    <a:pt x="71" y="36"/>
                  </a:cubicBezTo>
                  <a:cubicBezTo>
                    <a:pt x="71" y="26"/>
                    <a:pt x="71" y="25"/>
                    <a:pt x="71" y="21"/>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0" name="Oval 18">
              <a:extLst>
                <a:ext uri="{FF2B5EF4-FFF2-40B4-BE49-F238E27FC236}">
                  <a16:creationId xmlns:a16="http://schemas.microsoft.com/office/drawing/2014/main" id="{531DFF93-32C1-57EA-DFCB-D49611200139}"/>
                </a:ext>
              </a:extLst>
            </p:cNvPr>
            <p:cNvSpPr>
              <a:spLocks noChangeArrowheads="1"/>
            </p:cNvSpPr>
            <p:nvPr userDrawn="1"/>
          </p:nvSpPr>
          <p:spPr bwMode="auto">
            <a:xfrm>
              <a:off x="6882" y="3554"/>
              <a:ext cx="18" cy="16"/>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grpSp>
      <p:grpSp>
        <p:nvGrpSpPr>
          <p:cNvPr id="31" name="Group 21">
            <a:extLst>
              <a:ext uri="{FF2B5EF4-FFF2-40B4-BE49-F238E27FC236}">
                <a16:creationId xmlns:a16="http://schemas.microsoft.com/office/drawing/2014/main" id="{4D31F8FC-2752-4C8E-7E0A-2370CDD35317}"/>
              </a:ext>
            </a:extLst>
          </p:cNvPr>
          <p:cNvGrpSpPr>
            <a:grpSpLocks noChangeAspect="1"/>
          </p:cNvGrpSpPr>
          <p:nvPr userDrawn="1"/>
        </p:nvGrpSpPr>
        <p:grpSpPr bwMode="auto">
          <a:xfrm>
            <a:off x="9551988" y="4535488"/>
            <a:ext cx="2052637" cy="333375"/>
            <a:chOff x="6017" y="2857"/>
            <a:chExt cx="1293" cy="210"/>
          </a:xfrm>
        </p:grpSpPr>
        <p:sp>
          <p:nvSpPr>
            <p:cNvPr id="32" name="AutoShape 20">
              <a:extLst>
                <a:ext uri="{FF2B5EF4-FFF2-40B4-BE49-F238E27FC236}">
                  <a16:creationId xmlns:a16="http://schemas.microsoft.com/office/drawing/2014/main" id="{08F086AE-3B14-6903-2A2B-56D3C1B6471B}"/>
                </a:ext>
              </a:extLst>
            </p:cNvPr>
            <p:cNvSpPr>
              <a:spLocks noChangeAspect="1" noChangeArrowheads="1" noTextEdit="1"/>
            </p:cNvSpPr>
            <p:nvPr userDrawn="1"/>
          </p:nvSpPr>
          <p:spPr bwMode="auto">
            <a:xfrm>
              <a:off x="6017" y="2857"/>
              <a:ext cx="1293" cy="2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3" name="Freeform 22">
              <a:extLst>
                <a:ext uri="{FF2B5EF4-FFF2-40B4-BE49-F238E27FC236}">
                  <a16:creationId xmlns:a16="http://schemas.microsoft.com/office/drawing/2014/main" id="{A9EAEC09-9F9C-F6B1-9AFD-507026363EB0}"/>
                </a:ext>
              </a:extLst>
            </p:cNvPr>
            <p:cNvSpPr>
              <a:spLocks/>
            </p:cNvSpPr>
            <p:nvPr userDrawn="1"/>
          </p:nvSpPr>
          <p:spPr bwMode="auto">
            <a:xfrm>
              <a:off x="6436" y="2857"/>
              <a:ext cx="50" cy="75"/>
            </a:xfrm>
            <a:custGeom>
              <a:avLst/>
              <a:gdLst>
                <a:gd name="T0" fmla="*/ 38 w 161"/>
                <a:gd name="T1" fmla="*/ 228 h 238"/>
                <a:gd name="T2" fmla="*/ 10 w 161"/>
                <a:gd name="T3" fmla="*/ 202 h 238"/>
                <a:gd name="T4" fmla="*/ 0 w 161"/>
                <a:gd name="T5" fmla="*/ 162 h 238"/>
                <a:gd name="T6" fmla="*/ 0 w 161"/>
                <a:gd name="T7" fmla="*/ 76 h 238"/>
                <a:gd name="T8" fmla="*/ 10 w 161"/>
                <a:gd name="T9" fmla="*/ 36 h 238"/>
                <a:gd name="T10" fmla="*/ 38 w 161"/>
                <a:gd name="T11" fmla="*/ 10 h 238"/>
                <a:gd name="T12" fmla="*/ 81 w 161"/>
                <a:gd name="T13" fmla="*/ 0 h 238"/>
                <a:gd name="T14" fmla="*/ 123 w 161"/>
                <a:gd name="T15" fmla="*/ 9 h 238"/>
                <a:gd name="T16" fmla="*/ 151 w 161"/>
                <a:gd name="T17" fmla="*/ 35 h 238"/>
                <a:gd name="T18" fmla="*/ 161 w 161"/>
                <a:gd name="T19" fmla="*/ 74 h 238"/>
                <a:gd name="T20" fmla="*/ 161 w 161"/>
                <a:gd name="T21" fmla="*/ 74 h 238"/>
                <a:gd name="T22" fmla="*/ 160 w 161"/>
                <a:gd name="T23" fmla="*/ 77 h 238"/>
                <a:gd name="T24" fmla="*/ 158 w 161"/>
                <a:gd name="T25" fmla="*/ 77 h 238"/>
                <a:gd name="T26" fmla="*/ 133 w 161"/>
                <a:gd name="T27" fmla="*/ 79 h 238"/>
                <a:gd name="T28" fmla="*/ 129 w 161"/>
                <a:gd name="T29" fmla="*/ 76 h 238"/>
                <a:gd name="T30" fmla="*/ 129 w 161"/>
                <a:gd name="T31" fmla="*/ 75 h 238"/>
                <a:gd name="T32" fmla="*/ 116 w 161"/>
                <a:gd name="T33" fmla="*/ 41 h 238"/>
                <a:gd name="T34" fmla="*/ 81 w 161"/>
                <a:gd name="T35" fmla="*/ 28 h 238"/>
                <a:gd name="T36" fmla="*/ 45 w 161"/>
                <a:gd name="T37" fmla="*/ 41 h 238"/>
                <a:gd name="T38" fmla="*/ 32 w 161"/>
                <a:gd name="T39" fmla="*/ 75 h 238"/>
                <a:gd name="T40" fmla="*/ 32 w 161"/>
                <a:gd name="T41" fmla="*/ 163 h 238"/>
                <a:gd name="T42" fmla="*/ 45 w 161"/>
                <a:gd name="T43" fmla="*/ 197 h 238"/>
                <a:gd name="T44" fmla="*/ 81 w 161"/>
                <a:gd name="T45" fmla="*/ 210 h 238"/>
                <a:gd name="T46" fmla="*/ 116 w 161"/>
                <a:gd name="T47" fmla="*/ 197 h 238"/>
                <a:gd name="T48" fmla="*/ 129 w 161"/>
                <a:gd name="T49" fmla="*/ 163 h 238"/>
                <a:gd name="T50" fmla="*/ 129 w 161"/>
                <a:gd name="T51" fmla="*/ 162 h 238"/>
                <a:gd name="T52" fmla="*/ 133 w 161"/>
                <a:gd name="T53" fmla="*/ 159 h 238"/>
                <a:gd name="T54" fmla="*/ 158 w 161"/>
                <a:gd name="T55" fmla="*/ 161 h 238"/>
                <a:gd name="T56" fmla="*/ 161 w 161"/>
                <a:gd name="T57" fmla="*/ 164 h 238"/>
                <a:gd name="T58" fmla="*/ 151 w 161"/>
                <a:gd name="T59" fmla="*/ 203 h 238"/>
                <a:gd name="T60" fmla="*/ 123 w 161"/>
                <a:gd name="T61" fmla="*/ 229 h 238"/>
                <a:gd name="T62" fmla="*/ 81 w 161"/>
                <a:gd name="T63" fmla="*/ 238 h 238"/>
                <a:gd name="T64" fmla="*/ 38 w 161"/>
                <a:gd name="T65" fmla="*/ 22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61" h="238">
                  <a:moveTo>
                    <a:pt x="38" y="228"/>
                  </a:moveTo>
                  <a:cubicBezTo>
                    <a:pt x="26" y="222"/>
                    <a:pt x="17" y="213"/>
                    <a:pt x="10" y="202"/>
                  </a:cubicBezTo>
                  <a:cubicBezTo>
                    <a:pt x="3" y="190"/>
                    <a:pt x="0" y="177"/>
                    <a:pt x="0" y="162"/>
                  </a:cubicBezTo>
                  <a:cubicBezTo>
                    <a:pt x="0" y="76"/>
                    <a:pt x="0" y="76"/>
                    <a:pt x="0" y="76"/>
                  </a:cubicBezTo>
                  <a:cubicBezTo>
                    <a:pt x="0" y="61"/>
                    <a:pt x="3" y="48"/>
                    <a:pt x="10" y="36"/>
                  </a:cubicBezTo>
                  <a:cubicBezTo>
                    <a:pt x="17" y="25"/>
                    <a:pt x="26" y="16"/>
                    <a:pt x="38" y="10"/>
                  </a:cubicBezTo>
                  <a:cubicBezTo>
                    <a:pt x="51" y="4"/>
                    <a:pt x="65" y="0"/>
                    <a:pt x="81" y="0"/>
                  </a:cubicBezTo>
                  <a:cubicBezTo>
                    <a:pt x="96" y="0"/>
                    <a:pt x="110" y="3"/>
                    <a:pt x="123" y="9"/>
                  </a:cubicBezTo>
                  <a:cubicBezTo>
                    <a:pt x="135" y="16"/>
                    <a:pt x="144" y="24"/>
                    <a:pt x="151" y="35"/>
                  </a:cubicBezTo>
                  <a:cubicBezTo>
                    <a:pt x="158" y="46"/>
                    <a:pt x="161" y="59"/>
                    <a:pt x="161" y="74"/>
                  </a:cubicBezTo>
                  <a:cubicBezTo>
                    <a:pt x="161" y="74"/>
                    <a:pt x="161" y="74"/>
                    <a:pt x="161" y="74"/>
                  </a:cubicBezTo>
                  <a:cubicBezTo>
                    <a:pt x="161" y="75"/>
                    <a:pt x="161" y="76"/>
                    <a:pt x="160" y="77"/>
                  </a:cubicBezTo>
                  <a:cubicBezTo>
                    <a:pt x="159" y="77"/>
                    <a:pt x="159" y="77"/>
                    <a:pt x="158" y="77"/>
                  </a:cubicBezTo>
                  <a:cubicBezTo>
                    <a:pt x="133" y="79"/>
                    <a:pt x="133" y="79"/>
                    <a:pt x="133" y="79"/>
                  </a:cubicBezTo>
                  <a:cubicBezTo>
                    <a:pt x="130" y="79"/>
                    <a:pt x="129" y="78"/>
                    <a:pt x="129" y="76"/>
                  </a:cubicBezTo>
                  <a:cubicBezTo>
                    <a:pt x="129" y="75"/>
                    <a:pt x="129" y="75"/>
                    <a:pt x="129" y="75"/>
                  </a:cubicBezTo>
                  <a:cubicBezTo>
                    <a:pt x="129" y="61"/>
                    <a:pt x="125" y="49"/>
                    <a:pt x="116" y="41"/>
                  </a:cubicBezTo>
                  <a:cubicBezTo>
                    <a:pt x="107" y="32"/>
                    <a:pt x="95" y="28"/>
                    <a:pt x="81" y="28"/>
                  </a:cubicBezTo>
                  <a:cubicBezTo>
                    <a:pt x="66" y="28"/>
                    <a:pt x="54" y="32"/>
                    <a:pt x="45" y="41"/>
                  </a:cubicBezTo>
                  <a:cubicBezTo>
                    <a:pt x="36" y="49"/>
                    <a:pt x="32" y="61"/>
                    <a:pt x="32" y="75"/>
                  </a:cubicBezTo>
                  <a:cubicBezTo>
                    <a:pt x="32" y="163"/>
                    <a:pt x="32" y="163"/>
                    <a:pt x="32" y="163"/>
                  </a:cubicBezTo>
                  <a:cubicBezTo>
                    <a:pt x="32" y="177"/>
                    <a:pt x="36" y="189"/>
                    <a:pt x="45" y="197"/>
                  </a:cubicBezTo>
                  <a:cubicBezTo>
                    <a:pt x="54" y="206"/>
                    <a:pt x="66" y="210"/>
                    <a:pt x="81" y="210"/>
                  </a:cubicBezTo>
                  <a:cubicBezTo>
                    <a:pt x="95" y="210"/>
                    <a:pt x="107" y="206"/>
                    <a:pt x="116" y="197"/>
                  </a:cubicBezTo>
                  <a:cubicBezTo>
                    <a:pt x="125" y="188"/>
                    <a:pt x="129" y="177"/>
                    <a:pt x="129" y="163"/>
                  </a:cubicBezTo>
                  <a:cubicBezTo>
                    <a:pt x="129" y="162"/>
                    <a:pt x="129" y="162"/>
                    <a:pt x="129" y="162"/>
                  </a:cubicBezTo>
                  <a:cubicBezTo>
                    <a:pt x="129" y="160"/>
                    <a:pt x="130" y="159"/>
                    <a:pt x="133" y="159"/>
                  </a:cubicBezTo>
                  <a:cubicBezTo>
                    <a:pt x="158" y="161"/>
                    <a:pt x="158" y="161"/>
                    <a:pt x="158" y="161"/>
                  </a:cubicBezTo>
                  <a:cubicBezTo>
                    <a:pt x="160" y="161"/>
                    <a:pt x="161" y="162"/>
                    <a:pt x="161" y="164"/>
                  </a:cubicBezTo>
                  <a:cubicBezTo>
                    <a:pt x="161" y="179"/>
                    <a:pt x="158" y="191"/>
                    <a:pt x="151" y="203"/>
                  </a:cubicBezTo>
                  <a:cubicBezTo>
                    <a:pt x="144" y="214"/>
                    <a:pt x="135" y="222"/>
                    <a:pt x="123" y="229"/>
                  </a:cubicBezTo>
                  <a:cubicBezTo>
                    <a:pt x="111" y="235"/>
                    <a:pt x="97" y="238"/>
                    <a:pt x="81" y="238"/>
                  </a:cubicBezTo>
                  <a:cubicBezTo>
                    <a:pt x="65" y="238"/>
                    <a:pt x="51" y="235"/>
                    <a:pt x="38" y="228"/>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4" name="Freeform 23">
              <a:extLst>
                <a:ext uri="{FF2B5EF4-FFF2-40B4-BE49-F238E27FC236}">
                  <a16:creationId xmlns:a16="http://schemas.microsoft.com/office/drawing/2014/main" id="{FD861F4E-14BC-F1DE-0BE3-1FC98D78ACA4}"/>
                </a:ext>
              </a:extLst>
            </p:cNvPr>
            <p:cNvSpPr>
              <a:spLocks noEditPoints="1"/>
            </p:cNvSpPr>
            <p:nvPr userDrawn="1"/>
          </p:nvSpPr>
          <p:spPr bwMode="auto">
            <a:xfrm>
              <a:off x="6498" y="2858"/>
              <a:ext cx="50" cy="73"/>
            </a:xfrm>
            <a:custGeom>
              <a:avLst/>
              <a:gdLst>
                <a:gd name="T0" fmla="*/ 128 w 161"/>
                <a:gd name="T1" fmla="*/ 229 h 232"/>
                <a:gd name="T2" fmla="*/ 82 w 161"/>
                <a:gd name="T3" fmla="*/ 130 h 232"/>
                <a:gd name="T4" fmla="*/ 81 w 161"/>
                <a:gd name="T5" fmla="*/ 129 h 232"/>
                <a:gd name="T6" fmla="*/ 33 w 161"/>
                <a:gd name="T7" fmla="*/ 129 h 232"/>
                <a:gd name="T8" fmla="*/ 32 w 161"/>
                <a:gd name="T9" fmla="*/ 131 h 232"/>
                <a:gd name="T10" fmla="*/ 32 w 161"/>
                <a:gd name="T11" fmla="*/ 228 h 232"/>
                <a:gd name="T12" fmla="*/ 29 w 161"/>
                <a:gd name="T13" fmla="*/ 232 h 232"/>
                <a:gd name="T14" fmla="*/ 4 w 161"/>
                <a:gd name="T15" fmla="*/ 232 h 232"/>
                <a:gd name="T16" fmla="*/ 0 w 161"/>
                <a:gd name="T17" fmla="*/ 229 h 232"/>
                <a:gd name="T18" fmla="*/ 0 w 161"/>
                <a:gd name="T19" fmla="*/ 3 h 232"/>
                <a:gd name="T20" fmla="*/ 3 w 161"/>
                <a:gd name="T21" fmla="*/ 0 h 232"/>
                <a:gd name="T22" fmla="*/ 93 w 161"/>
                <a:gd name="T23" fmla="*/ 0 h 232"/>
                <a:gd name="T24" fmla="*/ 127 w 161"/>
                <a:gd name="T25" fmla="*/ 8 h 232"/>
                <a:gd name="T26" fmla="*/ 151 w 161"/>
                <a:gd name="T27" fmla="*/ 31 h 232"/>
                <a:gd name="T28" fmla="*/ 159 w 161"/>
                <a:gd name="T29" fmla="*/ 66 h 232"/>
                <a:gd name="T30" fmla="*/ 147 w 161"/>
                <a:gd name="T31" fmla="*/ 105 h 232"/>
                <a:gd name="T32" fmla="*/ 113 w 161"/>
                <a:gd name="T33" fmla="*/ 127 h 232"/>
                <a:gd name="T34" fmla="*/ 113 w 161"/>
                <a:gd name="T35" fmla="*/ 128 h 232"/>
                <a:gd name="T36" fmla="*/ 161 w 161"/>
                <a:gd name="T37" fmla="*/ 228 h 232"/>
                <a:gd name="T38" fmla="*/ 161 w 161"/>
                <a:gd name="T39" fmla="*/ 229 h 232"/>
                <a:gd name="T40" fmla="*/ 159 w 161"/>
                <a:gd name="T41" fmla="*/ 232 h 232"/>
                <a:gd name="T42" fmla="*/ 132 w 161"/>
                <a:gd name="T43" fmla="*/ 232 h 232"/>
                <a:gd name="T44" fmla="*/ 128 w 161"/>
                <a:gd name="T45" fmla="*/ 229 h 232"/>
                <a:gd name="T46" fmla="*/ 32 w 161"/>
                <a:gd name="T47" fmla="*/ 29 h 232"/>
                <a:gd name="T48" fmla="*/ 32 w 161"/>
                <a:gd name="T49" fmla="*/ 103 h 232"/>
                <a:gd name="T50" fmla="*/ 33 w 161"/>
                <a:gd name="T51" fmla="*/ 104 h 232"/>
                <a:gd name="T52" fmla="*/ 88 w 161"/>
                <a:gd name="T53" fmla="*/ 104 h 232"/>
                <a:gd name="T54" fmla="*/ 117 w 161"/>
                <a:gd name="T55" fmla="*/ 94 h 232"/>
                <a:gd name="T56" fmla="*/ 127 w 161"/>
                <a:gd name="T57" fmla="*/ 66 h 232"/>
                <a:gd name="T58" fmla="*/ 117 w 161"/>
                <a:gd name="T59" fmla="*/ 38 h 232"/>
                <a:gd name="T60" fmla="*/ 88 w 161"/>
                <a:gd name="T61" fmla="*/ 27 h 232"/>
                <a:gd name="T62" fmla="*/ 33 w 161"/>
                <a:gd name="T63" fmla="*/ 27 h 232"/>
                <a:gd name="T64" fmla="*/ 32 w 161"/>
                <a:gd name="T65" fmla="*/ 29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61" h="232">
                  <a:moveTo>
                    <a:pt x="128" y="229"/>
                  </a:moveTo>
                  <a:cubicBezTo>
                    <a:pt x="82" y="130"/>
                    <a:pt x="82" y="130"/>
                    <a:pt x="82" y="130"/>
                  </a:cubicBezTo>
                  <a:cubicBezTo>
                    <a:pt x="82" y="130"/>
                    <a:pt x="81" y="129"/>
                    <a:pt x="81" y="129"/>
                  </a:cubicBezTo>
                  <a:cubicBezTo>
                    <a:pt x="33" y="129"/>
                    <a:pt x="33" y="129"/>
                    <a:pt x="33" y="129"/>
                  </a:cubicBezTo>
                  <a:cubicBezTo>
                    <a:pt x="32" y="129"/>
                    <a:pt x="32" y="130"/>
                    <a:pt x="32" y="131"/>
                  </a:cubicBezTo>
                  <a:cubicBezTo>
                    <a:pt x="32" y="228"/>
                    <a:pt x="32" y="228"/>
                    <a:pt x="32" y="228"/>
                  </a:cubicBezTo>
                  <a:cubicBezTo>
                    <a:pt x="32" y="231"/>
                    <a:pt x="31" y="232"/>
                    <a:pt x="29" y="232"/>
                  </a:cubicBezTo>
                  <a:cubicBezTo>
                    <a:pt x="4" y="232"/>
                    <a:pt x="4" y="232"/>
                    <a:pt x="4" y="232"/>
                  </a:cubicBezTo>
                  <a:cubicBezTo>
                    <a:pt x="1" y="232"/>
                    <a:pt x="0" y="231"/>
                    <a:pt x="0" y="229"/>
                  </a:cubicBezTo>
                  <a:cubicBezTo>
                    <a:pt x="0" y="3"/>
                    <a:pt x="0" y="3"/>
                    <a:pt x="0" y="3"/>
                  </a:cubicBezTo>
                  <a:cubicBezTo>
                    <a:pt x="0" y="1"/>
                    <a:pt x="1" y="0"/>
                    <a:pt x="3" y="0"/>
                  </a:cubicBezTo>
                  <a:cubicBezTo>
                    <a:pt x="93" y="0"/>
                    <a:pt x="93" y="0"/>
                    <a:pt x="93" y="0"/>
                  </a:cubicBezTo>
                  <a:cubicBezTo>
                    <a:pt x="106" y="0"/>
                    <a:pt x="117" y="3"/>
                    <a:pt x="127" y="8"/>
                  </a:cubicBezTo>
                  <a:cubicBezTo>
                    <a:pt x="137" y="14"/>
                    <a:pt x="145" y="21"/>
                    <a:pt x="151" y="31"/>
                  </a:cubicBezTo>
                  <a:cubicBezTo>
                    <a:pt x="156" y="41"/>
                    <a:pt x="159" y="53"/>
                    <a:pt x="159" y="66"/>
                  </a:cubicBezTo>
                  <a:cubicBezTo>
                    <a:pt x="159" y="81"/>
                    <a:pt x="155" y="94"/>
                    <a:pt x="147" y="105"/>
                  </a:cubicBezTo>
                  <a:cubicBezTo>
                    <a:pt x="138" y="116"/>
                    <a:pt x="127" y="123"/>
                    <a:pt x="113" y="127"/>
                  </a:cubicBezTo>
                  <a:cubicBezTo>
                    <a:pt x="113" y="127"/>
                    <a:pt x="112" y="128"/>
                    <a:pt x="113" y="128"/>
                  </a:cubicBezTo>
                  <a:cubicBezTo>
                    <a:pt x="161" y="228"/>
                    <a:pt x="161" y="228"/>
                    <a:pt x="161" y="228"/>
                  </a:cubicBezTo>
                  <a:cubicBezTo>
                    <a:pt x="161" y="228"/>
                    <a:pt x="161" y="229"/>
                    <a:pt x="161" y="229"/>
                  </a:cubicBezTo>
                  <a:cubicBezTo>
                    <a:pt x="161" y="231"/>
                    <a:pt x="160" y="232"/>
                    <a:pt x="159" y="232"/>
                  </a:cubicBezTo>
                  <a:cubicBezTo>
                    <a:pt x="132" y="232"/>
                    <a:pt x="132" y="232"/>
                    <a:pt x="132" y="232"/>
                  </a:cubicBezTo>
                  <a:cubicBezTo>
                    <a:pt x="130" y="232"/>
                    <a:pt x="129" y="231"/>
                    <a:pt x="128" y="229"/>
                  </a:cubicBezTo>
                  <a:moveTo>
                    <a:pt x="32" y="29"/>
                  </a:moveTo>
                  <a:cubicBezTo>
                    <a:pt x="32" y="103"/>
                    <a:pt x="32" y="103"/>
                    <a:pt x="32" y="103"/>
                  </a:cubicBezTo>
                  <a:cubicBezTo>
                    <a:pt x="32" y="104"/>
                    <a:pt x="32" y="104"/>
                    <a:pt x="33" y="104"/>
                  </a:cubicBezTo>
                  <a:cubicBezTo>
                    <a:pt x="88" y="104"/>
                    <a:pt x="88" y="104"/>
                    <a:pt x="88" y="104"/>
                  </a:cubicBezTo>
                  <a:cubicBezTo>
                    <a:pt x="100" y="104"/>
                    <a:pt x="109" y="101"/>
                    <a:pt x="117" y="94"/>
                  </a:cubicBezTo>
                  <a:cubicBezTo>
                    <a:pt x="124" y="87"/>
                    <a:pt x="127" y="78"/>
                    <a:pt x="127" y="66"/>
                  </a:cubicBezTo>
                  <a:cubicBezTo>
                    <a:pt x="127" y="55"/>
                    <a:pt x="124" y="45"/>
                    <a:pt x="117" y="38"/>
                  </a:cubicBezTo>
                  <a:cubicBezTo>
                    <a:pt x="109" y="31"/>
                    <a:pt x="100" y="27"/>
                    <a:pt x="88" y="27"/>
                  </a:cubicBezTo>
                  <a:cubicBezTo>
                    <a:pt x="33" y="27"/>
                    <a:pt x="33" y="27"/>
                    <a:pt x="33" y="27"/>
                  </a:cubicBezTo>
                  <a:cubicBezTo>
                    <a:pt x="32" y="27"/>
                    <a:pt x="32" y="28"/>
                    <a:pt x="32" y="29"/>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5" name="Freeform 24">
              <a:extLst>
                <a:ext uri="{FF2B5EF4-FFF2-40B4-BE49-F238E27FC236}">
                  <a16:creationId xmlns:a16="http://schemas.microsoft.com/office/drawing/2014/main" id="{8DB85D55-0E86-B1A2-3A78-2BE5610C29BB}"/>
                </a:ext>
              </a:extLst>
            </p:cNvPr>
            <p:cNvSpPr>
              <a:spLocks/>
            </p:cNvSpPr>
            <p:nvPr userDrawn="1"/>
          </p:nvSpPr>
          <p:spPr bwMode="auto">
            <a:xfrm>
              <a:off x="6560" y="2858"/>
              <a:ext cx="48" cy="73"/>
            </a:xfrm>
            <a:custGeom>
              <a:avLst/>
              <a:gdLst>
                <a:gd name="T0" fmla="*/ 150 w 153"/>
                <a:gd name="T1" fmla="*/ 27 h 232"/>
                <a:gd name="T2" fmla="*/ 33 w 153"/>
                <a:gd name="T3" fmla="*/ 27 h 232"/>
                <a:gd name="T4" fmla="*/ 31 w 153"/>
                <a:gd name="T5" fmla="*/ 29 h 232"/>
                <a:gd name="T6" fmla="*/ 31 w 153"/>
                <a:gd name="T7" fmla="*/ 100 h 232"/>
                <a:gd name="T8" fmla="*/ 33 w 153"/>
                <a:gd name="T9" fmla="*/ 101 h 232"/>
                <a:gd name="T10" fmla="*/ 113 w 153"/>
                <a:gd name="T11" fmla="*/ 101 h 232"/>
                <a:gd name="T12" fmla="*/ 117 w 153"/>
                <a:gd name="T13" fmla="*/ 104 h 232"/>
                <a:gd name="T14" fmla="*/ 117 w 153"/>
                <a:gd name="T15" fmla="*/ 125 h 232"/>
                <a:gd name="T16" fmla="*/ 113 w 153"/>
                <a:gd name="T17" fmla="*/ 129 h 232"/>
                <a:gd name="T18" fmla="*/ 33 w 153"/>
                <a:gd name="T19" fmla="*/ 129 h 232"/>
                <a:gd name="T20" fmla="*/ 31 w 153"/>
                <a:gd name="T21" fmla="*/ 130 h 232"/>
                <a:gd name="T22" fmla="*/ 31 w 153"/>
                <a:gd name="T23" fmla="*/ 203 h 232"/>
                <a:gd name="T24" fmla="*/ 33 w 153"/>
                <a:gd name="T25" fmla="*/ 204 h 232"/>
                <a:gd name="T26" fmla="*/ 150 w 153"/>
                <a:gd name="T27" fmla="*/ 204 h 232"/>
                <a:gd name="T28" fmla="*/ 153 w 153"/>
                <a:gd name="T29" fmla="*/ 207 h 232"/>
                <a:gd name="T30" fmla="*/ 153 w 153"/>
                <a:gd name="T31" fmla="*/ 228 h 232"/>
                <a:gd name="T32" fmla="*/ 150 w 153"/>
                <a:gd name="T33" fmla="*/ 232 h 232"/>
                <a:gd name="T34" fmla="*/ 3 w 153"/>
                <a:gd name="T35" fmla="*/ 232 h 232"/>
                <a:gd name="T36" fmla="*/ 0 w 153"/>
                <a:gd name="T37" fmla="*/ 228 h 232"/>
                <a:gd name="T38" fmla="*/ 0 w 153"/>
                <a:gd name="T39" fmla="*/ 3 h 232"/>
                <a:gd name="T40" fmla="*/ 3 w 153"/>
                <a:gd name="T41" fmla="*/ 0 h 232"/>
                <a:gd name="T42" fmla="*/ 150 w 153"/>
                <a:gd name="T43" fmla="*/ 0 h 232"/>
                <a:gd name="T44" fmla="*/ 153 w 153"/>
                <a:gd name="T45" fmla="*/ 3 h 232"/>
                <a:gd name="T46" fmla="*/ 153 w 153"/>
                <a:gd name="T47" fmla="*/ 24 h 232"/>
                <a:gd name="T48" fmla="*/ 150 w 153"/>
                <a:gd name="T49" fmla="*/ 27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3" h="232">
                  <a:moveTo>
                    <a:pt x="150" y="27"/>
                  </a:moveTo>
                  <a:cubicBezTo>
                    <a:pt x="33" y="27"/>
                    <a:pt x="33" y="27"/>
                    <a:pt x="33" y="27"/>
                  </a:cubicBezTo>
                  <a:cubicBezTo>
                    <a:pt x="32" y="27"/>
                    <a:pt x="31" y="28"/>
                    <a:pt x="31" y="29"/>
                  </a:cubicBezTo>
                  <a:cubicBezTo>
                    <a:pt x="31" y="100"/>
                    <a:pt x="31" y="100"/>
                    <a:pt x="31" y="100"/>
                  </a:cubicBezTo>
                  <a:cubicBezTo>
                    <a:pt x="31" y="101"/>
                    <a:pt x="32" y="101"/>
                    <a:pt x="33" y="101"/>
                  </a:cubicBezTo>
                  <a:cubicBezTo>
                    <a:pt x="113" y="101"/>
                    <a:pt x="113" y="101"/>
                    <a:pt x="113" y="101"/>
                  </a:cubicBezTo>
                  <a:cubicBezTo>
                    <a:pt x="115" y="101"/>
                    <a:pt x="117" y="102"/>
                    <a:pt x="117" y="104"/>
                  </a:cubicBezTo>
                  <a:cubicBezTo>
                    <a:pt x="117" y="125"/>
                    <a:pt x="117" y="125"/>
                    <a:pt x="117" y="125"/>
                  </a:cubicBezTo>
                  <a:cubicBezTo>
                    <a:pt x="117" y="128"/>
                    <a:pt x="115" y="129"/>
                    <a:pt x="113" y="129"/>
                  </a:cubicBezTo>
                  <a:cubicBezTo>
                    <a:pt x="33" y="129"/>
                    <a:pt x="33" y="129"/>
                    <a:pt x="33" y="129"/>
                  </a:cubicBezTo>
                  <a:cubicBezTo>
                    <a:pt x="32" y="129"/>
                    <a:pt x="31" y="129"/>
                    <a:pt x="31" y="130"/>
                  </a:cubicBezTo>
                  <a:cubicBezTo>
                    <a:pt x="31" y="203"/>
                    <a:pt x="31" y="203"/>
                    <a:pt x="31" y="203"/>
                  </a:cubicBezTo>
                  <a:cubicBezTo>
                    <a:pt x="31" y="204"/>
                    <a:pt x="32" y="204"/>
                    <a:pt x="33" y="204"/>
                  </a:cubicBezTo>
                  <a:cubicBezTo>
                    <a:pt x="150" y="204"/>
                    <a:pt x="150" y="204"/>
                    <a:pt x="150" y="204"/>
                  </a:cubicBezTo>
                  <a:cubicBezTo>
                    <a:pt x="152" y="204"/>
                    <a:pt x="153" y="205"/>
                    <a:pt x="153" y="207"/>
                  </a:cubicBezTo>
                  <a:cubicBezTo>
                    <a:pt x="153" y="228"/>
                    <a:pt x="153" y="228"/>
                    <a:pt x="153" y="228"/>
                  </a:cubicBezTo>
                  <a:cubicBezTo>
                    <a:pt x="153" y="231"/>
                    <a:pt x="152" y="232"/>
                    <a:pt x="150" y="232"/>
                  </a:cubicBezTo>
                  <a:cubicBezTo>
                    <a:pt x="3" y="232"/>
                    <a:pt x="3" y="232"/>
                    <a:pt x="3" y="232"/>
                  </a:cubicBezTo>
                  <a:cubicBezTo>
                    <a:pt x="1" y="232"/>
                    <a:pt x="0" y="231"/>
                    <a:pt x="0" y="228"/>
                  </a:cubicBezTo>
                  <a:cubicBezTo>
                    <a:pt x="0" y="3"/>
                    <a:pt x="0" y="3"/>
                    <a:pt x="0" y="3"/>
                  </a:cubicBezTo>
                  <a:cubicBezTo>
                    <a:pt x="0" y="1"/>
                    <a:pt x="1" y="0"/>
                    <a:pt x="3" y="0"/>
                  </a:cubicBezTo>
                  <a:cubicBezTo>
                    <a:pt x="150" y="0"/>
                    <a:pt x="150" y="0"/>
                    <a:pt x="150" y="0"/>
                  </a:cubicBezTo>
                  <a:cubicBezTo>
                    <a:pt x="152" y="0"/>
                    <a:pt x="153" y="1"/>
                    <a:pt x="153" y="3"/>
                  </a:cubicBezTo>
                  <a:cubicBezTo>
                    <a:pt x="153" y="24"/>
                    <a:pt x="153" y="24"/>
                    <a:pt x="153" y="24"/>
                  </a:cubicBezTo>
                  <a:cubicBezTo>
                    <a:pt x="153" y="26"/>
                    <a:pt x="152" y="27"/>
                    <a:pt x="150" y="27"/>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6" name="Freeform 25">
              <a:extLst>
                <a:ext uri="{FF2B5EF4-FFF2-40B4-BE49-F238E27FC236}">
                  <a16:creationId xmlns:a16="http://schemas.microsoft.com/office/drawing/2014/main" id="{5187C988-07D6-4327-3E07-7CE5448AAC91}"/>
                </a:ext>
              </a:extLst>
            </p:cNvPr>
            <p:cNvSpPr>
              <a:spLocks noEditPoints="1"/>
            </p:cNvSpPr>
            <p:nvPr userDrawn="1"/>
          </p:nvSpPr>
          <p:spPr bwMode="auto">
            <a:xfrm>
              <a:off x="6614" y="2858"/>
              <a:ext cx="59" cy="73"/>
            </a:xfrm>
            <a:custGeom>
              <a:avLst/>
              <a:gdLst>
                <a:gd name="T0" fmla="*/ 154 w 188"/>
                <a:gd name="T1" fmla="*/ 229 h 232"/>
                <a:gd name="T2" fmla="*/ 142 w 188"/>
                <a:gd name="T3" fmla="*/ 190 h 232"/>
                <a:gd name="T4" fmla="*/ 141 w 188"/>
                <a:gd name="T5" fmla="*/ 189 h 232"/>
                <a:gd name="T6" fmla="*/ 47 w 188"/>
                <a:gd name="T7" fmla="*/ 189 h 232"/>
                <a:gd name="T8" fmla="*/ 46 w 188"/>
                <a:gd name="T9" fmla="*/ 190 h 232"/>
                <a:gd name="T10" fmla="*/ 34 w 188"/>
                <a:gd name="T11" fmla="*/ 229 h 232"/>
                <a:gd name="T12" fmla="*/ 30 w 188"/>
                <a:gd name="T13" fmla="*/ 232 h 232"/>
                <a:gd name="T14" fmla="*/ 3 w 188"/>
                <a:gd name="T15" fmla="*/ 232 h 232"/>
                <a:gd name="T16" fmla="*/ 1 w 188"/>
                <a:gd name="T17" fmla="*/ 228 h 232"/>
                <a:gd name="T18" fmla="*/ 73 w 188"/>
                <a:gd name="T19" fmla="*/ 2 h 232"/>
                <a:gd name="T20" fmla="*/ 77 w 188"/>
                <a:gd name="T21" fmla="*/ 0 h 232"/>
                <a:gd name="T22" fmla="*/ 110 w 188"/>
                <a:gd name="T23" fmla="*/ 0 h 232"/>
                <a:gd name="T24" fmla="*/ 114 w 188"/>
                <a:gd name="T25" fmla="*/ 2 h 232"/>
                <a:gd name="T26" fmla="*/ 187 w 188"/>
                <a:gd name="T27" fmla="*/ 228 h 232"/>
                <a:gd name="T28" fmla="*/ 188 w 188"/>
                <a:gd name="T29" fmla="*/ 229 h 232"/>
                <a:gd name="T30" fmla="*/ 185 w 188"/>
                <a:gd name="T31" fmla="*/ 232 h 232"/>
                <a:gd name="T32" fmla="*/ 158 w 188"/>
                <a:gd name="T33" fmla="*/ 232 h 232"/>
                <a:gd name="T34" fmla="*/ 154 w 188"/>
                <a:gd name="T35" fmla="*/ 229 h 232"/>
                <a:gd name="T36" fmla="*/ 55 w 188"/>
                <a:gd name="T37" fmla="*/ 164 h 232"/>
                <a:gd name="T38" fmla="*/ 56 w 188"/>
                <a:gd name="T39" fmla="*/ 164 h 232"/>
                <a:gd name="T40" fmla="*/ 132 w 188"/>
                <a:gd name="T41" fmla="*/ 164 h 232"/>
                <a:gd name="T42" fmla="*/ 133 w 188"/>
                <a:gd name="T43" fmla="*/ 163 h 232"/>
                <a:gd name="T44" fmla="*/ 133 w 188"/>
                <a:gd name="T45" fmla="*/ 162 h 232"/>
                <a:gd name="T46" fmla="*/ 95 w 188"/>
                <a:gd name="T47" fmla="*/ 40 h 232"/>
                <a:gd name="T48" fmla="*/ 94 w 188"/>
                <a:gd name="T49" fmla="*/ 39 h 232"/>
                <a:gd name="T50" fmla="*/ 93 w 188"/>
                <a:gd name="T51" fmla="*/ 40 h 232"/>
                <a:gd name="T52" fmla="*/ 55 w 188"/>
                <a:gd name="T53" fmla="*/ 162 h 232"/>
                <a:gd name="T54" fmla="*/ 55 w 188"/>
                <a:gd name="T55" fmla="*/ 164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88" h="232">
                  <a:moveTo>
                    <a:pt x="154" y="229"/>
                  </a:moveTo>
                  <a:cubicBezTo>
                    <a:pt x="142" y="190"/>
                    <a:pt x="142" y="190"/>
                    <a:pt x="142" y="190"/>
                  </a:cubicBezTo>
                  <a:cubicBezTo>
                    <a:pt x="142" y="189"/>
                    <a:pt x="141" y="189"/>
                    <a:pt x="141" y="189"/>
                  </a:cubicBezTo>
                  <a:cubicBezTo>
                    <a:pt x="47" y="189"/>
                    <a:pt x="47" y="189"/>
                    <a:pt x="47" y="189"/>
                  </a:cubicBezTo>
                  <a:cubicBezTo>
                    <a:pt x="47" y="189"/>
                    <a:pt x="46" y="190"/>
                    <a:pt x="46" y="190"/>
                  </a:cubicBezTo>
                  <a:cubicBezTo>
                    <a:pt x="34" y="229"/>
                    <a:pt x="34" y="229"/>
                    <a:pt x="34" y="229"/>
                  </a:cubicBezTo>
                  <a:cubicBezTo>
                    <a:pt x="33" y="231"/>
                    <a:pt x="32" y="232"/>
                    <a:pt x="30" y="232"/>
                  </a:cubicBezTo>
                  <a:cubicBezTo>
                    <a:pt x="3" y="232"/>
                    <a:pt x="3" y="232"/>
                    <a:pt x="3" y="232"/>
                  </a:cubicBezTo>
                  <a:cubicBezTo>
                    <a:pt x="1" y="232"/>
                    <a:pt x="0" y="230"/>
                    <a:pt x="1" y="228"/>
                  </a:cubicBezTo>
                  <a:cubicBezTo>
                    <a:pt x="73" y="2"/>
                    <a:pt x="73" y="2"/>
                    <a:pt x="73" y="2"/>
                  </a:cubicBezTo>
                  <a:cubicBezTo>
                    <a:pt x="74" y="1"/>
                    <a:pt x="75" y="0"/>
                    <a:pt x="77" y="0"/>
                  </a:cubicBezTo>
                  <a:cubicBezTo>
                    <a:pt x="110" y="0"/>
                    <a:pt x="110" y="0"/>
                    <a:pt x="110" y="0"/>
                  </a:cubicBezTo>
                  <a:cubicBezTo>
                    <a:pt x="112" y="0"/>
                    <a:pt x="114" y="1"/>
                    <a:pt x="114" y="2"/>
                  </a:cubicBezTo>
                  <a:cubicBezTo>
                    <a:pt x="187" y="228"/>
                    <a:pt x="187" y="228"/>
                    <a:pt x="187" y="228"/>
                  </a:cubicBezTo>
                  <a:cubicBezTo>
                    <a:pt x="188" y="229"/>
                    <a:pt x="188" y="229"/>
                    <a:pt x="188" y="229"/>
                  </a:cubicBezTo>
                  <a:cubicBezTo>
                    <a:pt x="188" y="231"/>
                    <a:pt x="187" y="232"/>
                    <a:pt x="185" y="232"/>
                  </a:cubicBezTo>
                  <a:cubicBezTo>
                    <a:pt x="158" y="232"/>
                    <a:pt x="158" y="232"/>
                    <a:pt x="158" y="232"/>
                  </a:cubicBezTo>
                  <a:cubicBezTo>
                    <a:pt x="156" y="232"/>
                    <a:pt x="155" y="231"/>
                    <a:pt x="154" y="229"/>
                  </a:cubicBezTo>
                  <a:moveTo>
                    <a:pt x="55" y="164"/>
                  </a:moveTo>
                  <a:cubicBezTo>
                    <a:pt x="55" y="164"/>
                    <a:pt x="55" y="164"/>
                    <a:pt x="56" y="164"/>
                  </a:cubicBezTo>
                  <a:cubicBezTo>
                    <a:pt x="132" y="164"/>
                    <a:pt x="132" y="164"/>
                    <a:pt x="132" y="164"/>
                  </a:cubicBezTo>
                  <a:cubicBezTo>
                    <a:pt x="132" y="164"/>
                    <a:pt x="133" y="164"/>
                    <a:pt x="133" y="163"/>
                  </a:cubicBezTo>
                  <a:cubicBezTo>
                    <a:pt x="134" y="163"/>
                    <a:pt x="134" y="163"/>
                    <a:pt x="133" y="162"/>
                  </a:cubicBezTo>
                  <a:cubicBezTo>
                    <a:pt x="95" y="40"/>
                    <a:pt x="95" y="40"/>
                    <a:pt x="95" y="40"/>
                  </a:cubicBezTo>
                  <a:cubicBezTo>
                    <a:pt x="94" y="39"/>
                    <a:pt x="94" y="39"/>
                    <a:pt x="94" y="39"/>
                  </a:cubicBezTo>
                  <a:cubicBezTo>
                    <a:pt x="93" y="39"/>
                    <a:pt x="93" y="39"/>
                    <a:pt x="93" y="40"/>
                  </a:cubicBezTo>
                  <a:cubicBezTo>
                    <a:pt x="55" y="162"/>
                    <a:pt x="55" y="162"/>
                    <a:pt x="55" y="162"/>
                  </a:cubicBezTo>
                  <a:cubicBezTo>
                    <a:pt x="54" y="163"/>
                    <a:pt x="54" y="163"/>
                    <a:pt x="55" y="164"/>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7" name="Freeform 26">
              <a:extLst>
                <a:ext uri="{FF2B5EF4-FFF2-40B4-BE49-F238E27FC236}">
                  <a16:creationId xmlns:a16="http://schemas.microsoft.com/office/drawing/2014/main" id="{A7BC3A2F-9362-3D5E-7754-406DED3F8CB9}"/>
                </a:ext>
              </a:extLst>
            </p:cNvPr>
            <p:cNvSpPr>
              <a:spLocks/>
            </p:cNvSpPr>
            <p:nvPr userDrawn="1"/>
          </p:nvSpPr>
          <p:spPr bwMode="auto">
            <a:xfrm>
              <a:off x="6668" y="2858"/>
              <a:ext cx="52" cy="73"/>
            </a:xfrm>
            <a:custGeom>
              <a:avLst/>
              <a:gdLst>
                <a:gd name="T0" fmla="*/ 165 w 165"/>
                <a:gd name="T1" fmla="*/ 3 h 232"/>
                <a:gd name="T2" fmla="*/ 165 w 165"/>
                <a:gd name="T3" fmla="*/ 24 h 232"/>
                <a:gd name="T4" fmla="*/ 161 w 165"/>
                <a:gd name="T5" fmla="*/ 27 h 232"/>
                <a:gd name="T6" fmla="*/ 98 w 165"/>
                <a:gd name="T7" fmla="*/ 27 h 232"/>
                <a:gd name="T8" fmla="*/ 97 w 165"/>
                <a:gd name="T9" fmla="*/ 29 h 232"/>
                <a:gd name="T10" fmla="*/ 97 w 165"/>
                <a:gd name="T11" fmla="*/ 228 h 232"/>
                <a:gd name="T12" fmla="*/ 94 w 165"/>
                <a:gd name="T13" fmla="*/ 231 h 232"/>
                <a:gd name="T14" fmla="*/ 68 w 165"/>
                <a:gd name="T15" fmla="*/ 232 h 232"/>
                <a:gd name="T16" fmla="*/ 65 w 165"/>
                <a:gd name="T17" fmla="*/ 228 h 232"/>
                <a:gd name="T18" fmla="*/ 65 w 165"/>
                <a:gd name="T19" fmla="*/ 29 h 232"/>
                <a:gd name="T20" fmla="*/ 64 w 165"/>
                <a:gd name="T21" fmla="*/ 27 h 232"/>
                <a:gd name="T22" fmla="*/ 3 w 165"/>
                <a:gd name="T23" fmla="*/ 27 h 232"/>
                <a:gd name="T24" fmla="*/ 0 w 165"/>
                <a:gd name="T25" fmla="*/ 24 h 232"/>
                <a:gd name="T26" fmla="*/ 0 w 165"/>
                <a:gd name="T27" fmla="*/ 3 h 232"/>
                <a:gd name="T28" fmla="*/ 3 w 165"/>
                <a:gd name="T29" fmla="*/ 0 h 232"/>
                <a:gd name="T30" fmla="*/ 161 w 165"/>
                <a:gd name="T31" fmla="*/ 0 h 232"/>
                <a:gd name="T32" fmla="*/ 165 w 165"/>
                <a:gd name="T33" fmla="*/ 3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5" h="232">
                  <a:moveTo>
                    <a:pt x="165" y="3"/>
                  </a:moveTo>
                  <a:cubicBezTo>
                    <a:pt x="165" y="24"/>
                    <a:pt x="165" y="24"/>
                    <a:pt x="165" y="24"/>
                  </a:cubicBezTo>
                  <a:cubicBezTo>
                    <a:pt x="165" y="26"/>
                    <a:pt x="164" y="27"/>
                    <a:pt x="161" y="27"/>
                  </a:cubicBezTo>
                  <a:cubicBezTo>
                    <a:pt x="98" y="27"/>
                    <a:pt x="98" y="27"/>
                    <a:pt x="98" y="27"/>
                  </a:cubicBezTo>
                  <a:cubicBezTo>
                    <a:pt x="97" y="27"/>
                    <a:pt x="97" y="28"/>
                    <a:pt x="97" y="29"/>
                  </a:cubicBezTo>
                  <a:cubicBezTo>
                    <a:pt x="97" y="228"/>
                    <a:pt x="97" y="228"/>
                    <a:pt x="97" y="228"/>
                  </a:cubicBezTo>
                  <a:cubicBezTo>
                    <a:pt x="97" y="230"/>
                    <a:pt x="96" y="231"/>
                    <a:pt x="94" y="231"/>
                  </a:cubicBezTo>
                  <a:cubicBezTo>
                    <a:pt x="68" y="232"/>
                    <a:pt x="68" y="232"/>
                    <a:pt x="68" y="232"/>
                  </a:cubicBezTo>
                  <a:cubicBezTo>
                    <a:pt x="66" y="232"/>
                    <a:pt x="65" y="230"/>
                    <a:pt x="65" y="228"/>
                  </a:cubicBezTo>
                  <a:cubicBezTo>
                    <a:pt x="65" y="29"/>
                    <a:pt x="65" y="29"/>
                    <a:pt x="65" y="29"/>
                  </a:cubicBezTo>
                  <a:cubicBezTo>
                    <a:pt x="65" y="28"/>
                    <a:pt x="65" y="27"/>
                    <a:pt x="64" y="27"/>
                  </a:cubicBezTo>
                  <a:cubicBezTo>
                    <a:pt x="3" y="27"/>
                    <a:pt x="3" y="27"/>
                    <a:pt x="3" y="27"/>
                  </a:cubicBezTo>
                  <a:cubicBezTo>
                    <a:pt x="1" y="27"/>
                    <a:pt x="0" y="26"/>
                    <a:pt x="0" y="24"/>
                  </a:cubicBezTo>
                  <a:cubicBezTo>
                    <a:pt x="0" y="3"/>
                    <a:pt x="0" y="3"/>
                    <a:pt x="0" y="3"/>
                  </a:cubicBezTo>
                  <a:cubicBezTo>
                    <a:pt x="0" y="1"/>
                    <a:pt x="1" y="0"/>
                    <a:pt x="3" y="0"/>
                  </a:cubicBezTo>
                  <a:cubicBezTo>
                    <a:pt x="161" y="0"/>
                    <a:pt x="161" y="0"/>
                    <a:pt x="161" y="0"/>
                  </a:cubicBezTo>
                  <a:cubicBezTo>
                    <a:pt x="164" y="0"/>
                    <a:pt x="165" y="1"/>
                    <a:pt x="165" y="3"/>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8" name="Freeform 27">
              <a:extLst>
                <a:ext uri="{FF2B5EF4-FFF2-40B4-BE49-F238E27FC236}">
                  <a16:creationId xmlns:a16="http://schemas.microsoft.com/office/drawing/2014/main" id="{4CACFD03-C5FB-FB26-00EE-5492FABB700C}"/>
                </a:ext>
              </a:extLst>
            </p:cNvPr>
            <p:cNvSpPr>
              <a:spLocks/>
            </p:cNvSpPr>
            <p:nvPr userDrawn="1"/>
          </p:nvSpPr>
          <p:spPr bwMode="auto">
            <a:xfrm>
              <a:off x="6730" y="2858"/>
              <a:ext cx="10" cy="72"/>
            </a:xfrm>
            <a:custGeom>
              <a:avLst/>
              <a:gdLst>
                <a:gd name="T0" fmla="*/ 4 w 32"/>
                <a:gd name="T1" fmla="*/ 0 h 231"/>
                <a:gd name="T2" fmla="*/ 29 w 32"/>
                <a:gd name="T3" fmla="*/ 0 h 231"/>
                <a:gd name="T4" fmla="*/ 32 w 32"/>
                <a:gd name="T5" fmla="*/ 3 h 231"/>
                <a:gd name="T6" fmla="*/ 32 w 32"/>
                <a:gd name="T7" fmla="*/ 228 h 231"/>
                <a:gd name="T8" fmla="*/ 29 w 32"/>
                <a:gd name="T9" fmla="*/ 231 h 231"/>
                <a:gd name="T10" fmla="*/ 4 w 32"/>
                <a:gd name="T11" fmla="*/ 231 h 231"/>
                <a:gd name="T12" fmla="*/ 1 w 32"/>
                <a:gd name="T13" fmla="*/ 228 h 231"/>
                <a:gd name="T14" fmla="*/ 0 w 32"/>
                <a:gd name="T15" fmla="*/ 3 h 231"/>
                <a:gd name="T16" fmla="*/ 4 w 32"/>
                <a:gd name="T17" fmla="*/ 0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231">
                  <a:moveTo>
                    <a:pt x="4" y="0"/>
                  </a:moveTo>
                  <a:cubicBezTo>
                    <a:pt x="29" y="0"/>
                    <a:pt x="29" y="0"/>
                    <a:pt x="29" y="0"/>
                  </a:cubicBezTo>
                  <a:cubicBezTo>
                    <a:pt x="31" y="0"/>
                    <a:pt x="32" y="1"/>
                    <a:pt x="32" y="3"/>
                  </a:cubicBezTo>
                  <a:cubicBezTo>
                    <a:pt x="32" y="228"/>
                    <a:pt x="32" y="228"/>
                    <a:pt x="32" y="228"/>
                  </a:cubicBezTo>
                  <a:cubicBezTo>
                    <a:pt x="32" y="230"/>
                    <a:pt x="31" y="231"/>
                    <a:pt x="29" y="231"/>
                  </a:cubicBezTo>
                  <a:cubicBezTo>
                    <a:pt x="4" y="231"/>
                    <a:pt x="4" y="231"/>
                    <a:pt x="4" y="231"/>
                  </a:cubicBezTo>
                  <a:cubicBezTo>
                    <a:pt x="2" y="231"/>
                    <a:pt x="1" y="230"/>
                    <a:pt x="1" y="228"/>
                  </a:cubicBezTo>
                  <a:cubicBezTo>
                    <a:pt x="0" y="3"/>
                    <a:pt x="0" y="3"/>
                    <a:pt x="0" y="3"/>
                  </a:cubicBezTo>
                  <a:cubicBezTo>
                    <a:pt x="0" y="1"/>
                    <a:pt x="2" y="0"/>
                    <a:pt x="4" y="0"/>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9" name="Freeform 28">
              <a:extLst>
                <a:ext uri="{FF2B5EF4-FFF2-40B4-BE49-F238E27FC236}">
                  <a16:creationId xmlns:a16="http://schemas.microsoft.com/office/drawing/2014/main" id="{D93E19E5-6852-FB69-EE88-5A5237501366}"/>
                </a:ext>
              </a:extLst>
            </p:cNvPr>
            <p:cNvSpPr>
              <a:spLocks/>
            </p:cNvSpPr>
            <p:nvPr userDrawn="1"/>
          </p:nvSpPr>
          <p:spPr bwMode="auto">
            <a:xfrm>
              <a:off x="6756" y="2858"/>
              <a:ext cx="52" cy="72"/>
            </a:xfrm>
            <a:custGeom>
              <a:avLst/>
              <a:gdLst>
                <a:gd name="T0" fmla="*/ 140 w 168"/>
                <a:gd name="T1" fmla="*/ 0 h 232"/>
                <a:gd name="T2" fmla="*/ 165 w 168"/>
                <a:gd name="T3" fmla="*/ 0 h 232"/>
                <a:gd name="T4" fmla="*/ 168 w 168"/>
                <a:gd name="T5" fmla="*/ 4 h 232"/>
                <a:gd name="T6" fmla="*/ 168 w 168"/>
                <a:gd name="T7" fmla="*/ 229 h 232"/>
                <a:gd name="T8" fmla="*/ 165 w 168"/>
                <a:gd name="T9" fmla="*/ 232 h 232"/>
                <a:gd name="T10" fmla="*/ 141 w 168"/>
                <a:gd name="T11" fmla="*/ 232 h 232"/>
                <a:gd name="T12" fmla="*/ 137 w 168"/>
                <a:gd name="T13" fmla="*/ 230 h 232"/>
                <a:gd name="T14" fmla="*/ 33 w 168"/>
                <a:gd name="T15" fmla="*/ 61 h 232"/>
                <a:gd name="T16" fmla="*/ 32 w 168"/>
                <a:gd name="T17" fmla="*/ 60 h 232"/>
                <a:gd name="T18" fmla="*/ 31 w 168"/>
                <a:gd name="T19" fmla="*/ 61 h 232"/>
                <a:gd name="T20" fmla="*/ 32 w 168"/>
                <a:gd name="T21" fmla="*/ 229 h 232"/>
                <a:gd name="T22" fmla="*/ 29 w 168"/>
                <a:gd name="T23" fmla="*/ 232 h 232"/>
                <a:gd name="T24" fmla="*/ 3 w 168"/>
                <a:gd name="T25" fmla="*/ 232 h 232"/>
                <a:gd name="T26" fmla="*/ 0 w 168"/>
                <a:gd name="T27" fmla="*/ 229 h 232"/>
                <a:gd name="T28" fmla="*/ 0 w 168"/>
                <a:gd name="T29" fmla="*/ 4 h 232"/>
                <a:gd name="T30" fmla="*/ 3 w 168"/>
                <a:gd name="T31" fmla="*/ 1 h 232"/>
                <a:gd name="T32" fmla="*/ 28 w 168"/>
                <a:gd name="T33" fmla="*/ 0 h 232"/>
                <a:gd name="T34" fmla="*/ 32 w 168"/>
                <a:gd name="T35" fmla="*/ 3 h 232"/>
                <a:gd name="T36" fmla="*/ 135 w 168"/>
                <a:gd name="T37" fmla="*/ 172 h 232"/>
                <a:gd name="T38" fmla="*/ 136 w 168"/>
                <a:gd name="T39" fmla="*/ 173 h 232"/>
                <a:gd name="T40" fmla="*/ 137 w 168"/>
                <a:gd name="T41" fmla="*/ 172 h 232"/>
                <a:gd name="T42" fmla="*/ 136 w 168"/>
                <a:gd name="T43" fmla="*/ 4 h 232"/>
                <a:gd name="T44" fmla="*/ 140 w 168"/>
                <a:gd name="T45" fmla="*/ 0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8" h="232">
                  <a:moveTo>
                    <a:pt x="140" y="0"/>
                  </a:moveTo>
                  <a:cubicBezTo>
                    <a:pt x="165" y="0"/>
                    <a:pt x="165" y="0"/>
                    <a:pt x="165" y="0"/>
                  </a:cubicBezTo>
                  <a:cubicBezTo>
                    <a:pt x="167" y="0"/>
                    <a:pt x="168" y="2"/>
                    <a:pt x="168" y="4"/>
                  </a:cubicBezTo>
                  <a:cubicBezTo>
                    <a:pt x="168" y="229"/>
                    <a:pt x="168" y="229"/>
                    <a:pt x="168" y="229"/>
                  </a:cubicBezTo>
                  <a:cubicBezTo>
                    <a:pt x="168" y="231"/>
                    <a:pt x="167" y="232"/>
                    <a:pt x="165" y="232"/>
                  </a:cubicBezTo>
                  <a:cubicBezTo>
                    <a:pt x="141" y="232"/>
                    <a:pt x="141" y="232"/>
                    <a:pt x="141" y="232"/>
                  </a:cubicBezTo>
                  <a:cubicBezTo>
                    <a:pt x="139" y="232"/>
                    <a:pt x="138" y="232"/>
                    <a:pt x="137" y="230"/>
                  </a:cubicBezTo>
                  <a:cubicBezTo>
                    <a:pt x="33" y="61"/>
                    <a:pt x="33" y="61"/>
                    <a:pt x="33" y="61"/>
                  </a:cubicBezTo>
                  <a:cubicBezTo>
                    <a:pt x="33" y="60"/>
                    <a:pt x="32" y="60"/>
                    <a:pt x="32" y="60"/>
                  </a:cubicBezTo>
                  <a:cubicBezTo>
                    <a:pt x="32" y="60"/>
                    <a:pt x="31" y="60"/>
                    <a:pt x="31" y="61"/>
                  </a:cubicBezTo>
                  <a:cubicBezTo>
                    <a:pt x="32" y="229"/>
                    <a:pt x="32" y="229"/>
                    <a:pt x="32" y="229"/>
                  </a:cubicBezTo>
                  <a:cubicBezTo>
                    <a:pt x="32" y="231"/>
                    <a:pt x="31" y="232"/>
                    <a:pt x="29" y="232"/>
                  </a:cubicBezTo>
                  <a:cubicBezTo>
                    <a:pt x="3" y="232"/>
                    <a:pt x="3" y="232"/>
                    <a:pt x="3" y="232"/>
                  </a:cubicBezTo>
                  <a:cubicBezTo>
                    <a:pt x="1" y="232"/>
                    <a:pt x="0" y="231"/>
                    <a:pt x="0" y="229"/>
                  </a:cubicBezTo>
                  <a:cubicBezTo>
                    <a:pt x="0" y="4"/>
                    <a:pt x="0" y="4"/>
                    <a:pt x="0" y="4"/>
                  </a:cubicBezTo>
                  <a:cubicBezTo>
                    <a:pt x="0" y="2"/>
                    <a:pt x="1" y="1"/>
                    <a:pt x="3" y="1"/>
                  </a:cubicBezTo>
                  <a:cubicBezTo>
                    <a:pt x="28" y="0"/>
                    <a:pt x="28" y="0"/>
                    <a:pt x="28" y="0"/>
                  </a:cubicBezTo>
                  <a:cubicBezTo>
                    <a:pt x="29" y="0"/>
                    <a:pt x="31" y="1"/>
                    <a:pt x="32" y="3"/>
                  </a:cubicBezTo>
                  <a:cubicBezTo>
                    <a:pt x="135" y="172"/>
                    <a:pt x="135" y="172"/>
                    <a:pt x="135" y="172"/>
                  </a:cubicBezTo>
                  <a:cubicBezTo>
                    <a:pt x="135" y="173"/>
                    <a:pt x="136" y="173"/>
                    <a:pt x="136" y="173"/>
                  </a:cubicBezTo>
                  <a:cubicBezTo>
                    <a:pt x="137" y="173"/>
                    <a:pt x="137" y="172"/>
                    <a:pt x="137" y="172"/>
                  </a:cubicBezTo>
                  <a:cubicBezTo>
                    <a:pt x="136" y="4"/>
                    <a:pt x="136" y="4"/>
                    <a:pt x="136" y="4"/>
                  </a:cubicBezTo>
                  <a:cubicBezTo>
                    <a:pt x="136" y="2"/>
                    <a:pt x="137" y="0"/>
                    <a:pt x="140" y="0"/>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0" name="Freeform 29">
              <a:extLst>
                <a:ext uri="{FF2B5EF4-FFF2-40B4-BE49-F238E27FC236}">
                  <a16:creationId xmlns:a16="http://schemas.microsoft.com/office/drawing/2014/main" id="{81F1D74E-B4DA-391D-D6FF-3AA1341AD5B4}"/>
                </a:ext>
              </a:extLst>
            </p:cNvPr>
            <p:cNvSpPr>
              <a:spLocks/>
            </p:cNvSpPr>
            <p:nvPr userDrawn="1"/>
          </p:nvSpPr>
          <p:spPr bwMode="auto">
            <a:xfrm>
              <a:off x="6822" y="2857"/>
              <a:ext cx="50" cy="74"/>
            </a:xfrm>
            <a:custGeom>
              <a:avLst/>
              <a:gdLst>
                <a:gd name="T0" fmla="*/ 38 w 161"/>
                <a:gd name="T1" fmla="*/ 227 h 237"/>
                <a:gd name="T2" fmla="*/ 10 w 161"/>
                <a:gd name="T3" fmla="*/ 201 h 237"/>
                <a:gd name="T4" fmla="*/ 0 w 161"/>
                <a:gd name="T5" fmla="*/ 161 h 237"/>
                <a:gd name="T6" fmla="*/ 0 w 161"/>
                <a:gd name="T7" fmla="*/ 76 h 237"/>
                <a:gd name="T8" fmla="*/ 10 w 161"/>
                <a:gd name="T9" fmla="*/ 36 h 237"/>
                <a:gd name="T10" fmla="*/ 38 w 161"/>
                <a:gd name="T11" fmla="*/ 9 h 237"/>
                <a:gd name="T12" fmla="*/ 80 w 161"/>
                <a:gd name="T13" fmla="*/ 0 h 237"/>
                <a:gd name="T14" fmla="*/ 122 w 161"/>
                <a:gd name="T15" fmla="*/ 9 h 237"/>
                <a:gd name="T16" fmla="*/ 151 w 161"/>
                <a:gd name="T17" fmla="*/ 35 h 237"/>
                <a:gd name="T18" fmla="*/ 161 w 161"/>
                <a:gd name="T19" fmla="*/ 72 h 237"/>
                <a:gd name="T20" fmla="*/ 161 w 161"/>
                <a:gd name="T21" fmla="*/ 75 h 237"/>
                <a:gd name="T22" fmla="*/ 157 w 161"/>
                <a:gd name="T23" fmla="*/ 78 h 237"/>
                <a:gd name="T24" fmla="*/ 132 w 161"/>
                <a:gd name="T25" fmla="*/ 79 h 237"/>
                <a:gd name="T26" fmla="*/ 129 w 161"/>
                <a:gd name="T27" fmla="*/ 75 h 237"/>
                <a:gd name="T28" fmla="*/ 129 w 161"/>
                <a:gd name="T29" fmla="*/ 72 h 237"/>
                <a:gd name="T30" fmla="*/ 116 w 161"/>
                <a:gd name="T31" fmla="*/ 40 h 237"/>
                <a:gd name="T32" fmla="*/ 80 w 161"/>
                <a:gd name="T33" fmla="*/ 28 h 237"/>
                <a:gd name="T34" fmla="*/ 45 w 161"/>
                <a:gd name="T35" fmla="*/ 40 h 237"/>
                <a:gd name="T36" fmla="*/ 31 w 161"/>
                <a:gd name="T37" fmla="*/ 75 h 237"/>
                <a:gd name="T38" fmla="*/ 31 w 161"/>
                <a:gd name="T39" fmla="*/ 162 h 237"/>
                <a:gd name="T40" fmla="*/ 45 w 161"/>
                <a:gd name="T41" fmla="*/ 196 h 237"/>
                <a:gd name="T42" fmla="*/ 81 w 161"/>
                <a:gd name="T43" fmla="*/ 209 h 237"/>
                <a:gd name="T44" fmla="*/ 116 w 161"/>
                <a:gd name="T45" fmla="*/ 198 h 237"/>
                <a:gd name="T46" fmla="*/ 129 w 161"/>
                <a:gd name="T47" fmla="*/ 166 h 237"/>
                <a:gd name="T48" fmla="*/ 129 w 161"/>
                <a:gd name="T49" fmla="*/ 141 h 237"/>
                <a:gd name="T50" fmla="*/ 127 w 161"/>
                <a:gd name="T51" fmla="*/ 139 h 237"/>
                <a:gd name="T52" fmla="*/ 83 w 161"/>
                <a:gd name="T53" fmla="*/ 139 h 237"/>
                <a:gd name="T54" fmla="*/ 79 w 161"/>
                <a:gd name="T55" fmla="*/ 136 h 237"/>
                <a:gd name="T56" fmla="*/ 79 w 161"/>
                <a:gd name="T57" fmla="*/ 116 h 237"/>
                <a:gd name="T58" fmla="*/ 83 w 161"/>
                <a:gd name="T59" fmla="*/ 112 h 237"/>
                <a:gd name="T60" fmla="*/ 157 w 161"/>
                <a:gd name="T61" fmla="*/ 112 h 237"/>
                <a:gd name="T62" fmla="*/ 161 w 161"/>
                <a:gd name="T63" fmla="*/ 116 h 237"/>
                <a:gd name="T64" fmla="*/ 161 w 161"/>
                <a:gd name="T65" fmla="*/ 158 h 237"/>
                <a:gd name="T66" fmla="*/ 139 w 161"/>
                <a:gd name="T67" fmla="*/ 216 h 237"/>
                <a:gd name="T68" fmla="*/ 81 w 161"/>
                <a:gd name="T69" fmla="*/ 237 h 237"/>
                <a:gd name="T70" fmla="*/ 38 w 161"/>
                <a:gd name="T71" fmla="*/ 227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61" h="237">
                  <a:moveTo>
                    <a:pt x="38" y="227"/>
                  </a:moveTo>
                  <a:cubicBezTo>
                    <a:pt x="26" y="221"/>
                    <a:pt x="17" y="212"/>
                    <a:pt x="10" y="201"/>
                  </a:cubicBezTo>
                  <a:cubicBezTo>
                    <a:pt x="3" y="189"/>
                    <a:pt x="0" y="176"/>
                    <a:pt x="0" y="161"/>
                  </a:cubicBezTo>
                  <a:cubicBezTo>
                    <a:pt x="0" y="76"/>
                    <a:pt x="0" y="76"/>
                    <a:pt x="0" y="76"/>
                  </a:cubicBezTo>
                  <a:cubicBezTo>
                    <a:pt x="0" y="61"/>
                    <a:pt x="3" y="47"/>
                    <a:pt x="10" y="36"/>
                  </a:cubicBezTo>
                  <a:cubicBezTo>
                    <a:pt x="16" y="24"/>
                    <a:pt x="26" y="15"/>
                    <a:pt x="38" y="9"/>
                  </a:cubicBezTo>
                  <a:cubicBezTo>
                    <a:pt x="50" y="3"/>
                    <a:pt x="64" y="0"/>
                    <a:pt x="80" y="0"/>
                  </a:cubicBezTo>
                  <a:cubicBezTo>
                    <a:pt x="96" y="0"/>
                    <a:pt x="110" y="3"/>
                    <a:pt x="122" y="9"/>
                  </a:cubicBezTo>
                  <a:cubicBezTo>
                    <a:pt x="135" y="15"/>
                    <a:pt x="144" y="24"/>
                    <a:pt x="151" y="35"/>
                  </a:cubicBezTo>
                  <a:cubicBezTo>
                    <a:pt x="157" y="46"/>
                    <a:pt x="161" y="58"/>
                    <a:pt x="161" y="72"/>
                  </a:cubicBezTo>
                  <a:cubicBezTo>
                    <a:pt x="161" y="75"/>
                    <a:pt x="161" y="75"/>
                    <a:pt x="161" y="75"/>
                  </a:cubicBezTo>
                  <a:cubicBezTo>
                    <a:pt x="161" y="77"/>
                    <a:pt x="159" y="78"/>
                    <a:pt x="157" y="78"/>
                  </a:cubicBezTo>
                  <a:cubicBezTo>
                    <a:pt x="132" y="79"/>
                    <a:pt x="132" y="79"/>
                    <a:pt x="132" y="79"/>
                  </a:cubicBezTo>
                  <a:cubicBezTo>
                    <a:pt x="130" y="79"/>
                    <a:pt x="129" y="77"/>
                    <a:pt x="129" y="75"/>
                  </a:cubicBezTo>
                  <a:cubicBezTo>
                    <a:pt x="129" y="72"/>
                    <a:pt x="129" y="72"/>
                    <a:pt x="129" y="72"/>
                  </a:cubicBezTo>
                  <a:cubicBezTo>
                    <a:pt x="129" y="59"/>
                    <a:pt x="124" y="48"/>
                    <a:pt x="116" y="40"/>
                  </a:cubicBezTo>
                  <a:cubicBezTo>
                    <a:pt x="107" y="32"/>
                    <a:pt x="95" y="28"/>
                    <a:pt x="80" y="28"/>
                  </a:cubicBezTo>
                  <a:cubicBezTo>
                    <a:pt x="66" y="28"/>
                    <a:pt x="54" y="32"/>
                    <a:pt x="45" y="40"/>
                  </a:cubicBezTo>
                  <a:cubicBezTo>
                    <a:pt x="36" y="49"/>
                    <a:pt x="31" y="61"/>
                    <a:pt x="31" y="75"/>
                  </a:cubicBezTo>
                  <a:cubicBezTo>
                    <a:pt x="31" y="162"/>
                    <a:pt x="31" y="162"/>
                    <a:pt x="31" y="162"/>
                  </a:cubicBezTo>
                  <a:cubicBezTo>
                    <a:pt x="31" y="176"/>
                    <a:pt x="36" y="188"/>
                    <a:pt x="45" y="196"/>
                  </a:cubicBezTo>
                  <a:cubicBezTo>
                    <a:pt x="55" y="205"/>
                    <a:pt x="67" y="209"/>
                    <a:pt x="81" y="209"/>
                  </a:cubicBezTo>
                  <a:cubicBezTo>
                    <a:pt x="96" y="209"/>
                    <a:pt x="108" y="205"/>
                    <a:pt x="116" y="198"/>
                  </a:cubicBezTo>
                  <a:cubicBezTo>
                    <a:pt x="125" y="190"/>
                    <a:pt x="129" y="180"/>
                    <a:pt x="129" y="166"/>
                  </a:cubicBezTo>
                  <a:cubicBezTo>
                    <a:pt x="129" y="141"/>
                    <a:pt x="129" y="141"/>
                    <a:pt x="129" y="141"/>
                  </a:cubicBezTo>
                  <a:cubicBezTo>
                    <a:pt x="129" y="140"/>
                    <a:pt x="128" y="139"/>
                    <a:pt x="127" y="139"/>
                  </a:cubicBezTo>
                  <a:cubicBezTo>
                    <a:pt x="83" y="139"/>
                    <a:pt x="83" y="139"/>
                    <a:pt x="83" y="139"/>
                  </a:cubicBezTo>
                  <a:cubicBezTo>
                    <a:pt x="81" y="139"/>
                    <a:pt x="79" y="138"/>
                    <a:pt x="79" y="136"/>
                  </a:cubicBezTo>
                  <a:cubicBezTo>
                    <a:pt x="79" y="116"/>
                    <a:pt x="79" y="116"/>
                    <a:pt x="79" y="116"/>
                  </a:cubicBezTo>
                  <a:cubicBezTo>
                    <a:pt x="79" y="113"/>
                    <a:pt x="81" y="112"/>
                    <a:pt x="83" y="112"/>
                  </a:cubicBezTo>
                  <a:cubicBezTo>
                    <a:pt x="157" y="112"/>
                    <a:pt x="157" y="112"/>
                    <a:pt x="157" y="112"/>
                  </a:cubicBezTo>
                  <a:cubicBezTo>
                    <a:pt x="160" y="112"/>
                    <a:pt x="161" y="113"/>
                    <a:pt x="161" y="116"/>
                  </a:cubicBezTo>
                  <a:cubicBezTo>
                    <a:pt x="161" y="158"/>
                    <a:pt x="161" y="158"/>
                    <a:pt x="161" y="158"/>
                  </a:cubicBezTo>
                  <a:cubicBezTo>
                    <a:pt x="161" y="183"/>
                    <a:pt x="153" y="203"/>
                    <a:pt x="139" y="216"/>
                  </a:cubicBezTo>
                  <a:cubicBezTo>
                    <a:pt x="125" y="230"/>
                    <a:pt x="105" y="237"/>
                    <a:pt x="81" y="237"/>
                  </a:cubicBezTo>
                  <a:cubicBezTo>
                    <a:pt x="64" y="237"/>
                    <a:pt x="50" y="234"/>
                    <a:pt x="38" y="227"/>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1" name="Freeform 30">
              <a:extLst>
                <a:ext uri="{FF2B5EF4-FFF2-40B4-BE49-F238E27FC236}">
                  <a16:creationId xmlns:a16="http://schemas.microsoft.com/office/drawing/2014/main" id="{4A646349-48F4-F4A6-5AD1-FEC142CC4812}"/>
                </a:ext>
              </a:extLst>
            </p:cNvPr>
            <p:cNvSpPr>
              <a:spLocks/>
            </p:cNvSpPr>
            <p:nvPr userDrawn="1"/>
          </p:nvSpPr>
          <p:spPr bwMode="auto">
            <a:xfrm>
              <a:off x="6899" y="2858"/>
              <a:ext cx="52" cy="72"/>
            </a:xfrm>
            <a:custGeom>
              <a:avLst/>
              <a:gdLst>
                <a:gd name="T0" fmla="*/ 165 w 165"/>
                <a:gd name="T1" fmla="*/ 3 h 232"/>
                <a:gd name="T2" fmla="*/ 165 w 165"/>
                <a:gd name="T3" fmla="*/ 25 h 232"/>
                <a:gd name="T4" fmla="*/ 162 w 165"/>
                <a:gd name="T5" fmla="*/ 28 h 232"/>
                <a:gd name="T6" fmla="*/ 99 w 165"/>
                <a:gd name="T7" fmla="*/ 28 h 232"/>
                <a:gd name="T8" fmla="*/ 97 w 165"/>
                <a:gd name="T9" fmla="*/ 29 h 232"/>
                <a:gd name="T10" fmla="*/ 98 w 165"/>
                <a:gd name="T11" fmla="*/ 229 h 232"/>
                <a:gd name="T12" fmla="*/ 94 w 165"/>
                <a:gd name="T13" fmla="*/ 232 h 232"/>
                <a:gd name="T14" fmla="*/ 69 w 165"/>
                <a:gd name="T15" fmla="*/ 232 h 232"/>
                <a:gd name="T16" fmla="*/ 66 w 165"/>
                <a:gd name="T17" fmla="*/ 229 h 232"/>
                <a:gd name="T18" fmla="*/ 66 w 165"/>
                <a:gd name="T19" fmla="*/ 29 h 232"/>
                <a:gd name="T20" fmla="*/ 64 w 165"/>
                <a:gd name="T21" fmla="*/ 28 h 232"/>
                <a:gd name="T22" fmla="*/ 4 w 165"/>
                <a:gd name="T23" fmla="*/ 28 h 232"/>
                <a:gd name="T24" fmla="*/ 0 w 165"/>
                <a:gd name="T25" fmla="*/ 25 h 232"/>
                <a:gd name="T26" fmla="*/ 0 w 165"/>
                <a:gd name="T27" fmla="*/ 4 h 232"/>
                <a:gd name="T28" fmla="*/ 4 w 165"/>
                <a:gd name="T29" fmla="*/ 0 h 232"/>
                <a:gd name="T30" fmla="*/ 162 w 165"/>
                <a:gd name="T31" fmla="*/ 0 h 232"/>
                <a:gd name="T32" fmla="*/ 165 w 165"/>
                <a:gd name="T33" fmla="*/ 3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5" h="232">
                  <a:moveTo>
                    <a:pt x="165" y="3"/>
                  </a:moveTo>
                  <a:cubicBezTo>
                    <a:pt x="165" y="25"/>
                    <a:pt x="165" y="25"/>
                    <a:pt x="165" y="25"/>
                  </a:cubicBezTo>
                  <a:cubicBezTo>
                    <a:pt x="165" y="27"/>
                    <a:pt x="164" y="28"/>
                    <a:pt x="162" y="28"/>
                  </a:cubicBezTo>
                  <a:cubicBezTo>
                    <a:pt x="99" y="28"/>
                    <a:pt x="99" y="28"/>
                    <a:pt x="99" y="28"/>
                  </a:cubicBezTo>
                  <a:cubicBezTo>
                    <a:pt x="98" y="28"/>
                    <a:pt x="97" y="28"/>
                    <a:pt x="97" y="29"/>
                  </a:cubicBezTo>
                  <a:cubicBezTo>
                    <a:pt x="98" y="229"/>
                    <a:pt x="98" y="229"/>
                    <a:pt x="98" y="229"/>
                  </a:cubicBezTo>
                  <a:cubicBezTo>
                    <a:pt x="98" y="231"/>
                    <a:pt x="96" y="232"/>
                    <a:pt x="94" y="232"/>
                  </a:cubicBezTo>
                  <a:cubicBezTo>
                    <a:pt x="69" y="232"/>
                    <a:pt x="69" y="232"/>
                    <a:pt x="69" y="232"/>
                  </a:cubicBezTo>
                  <a:cubicBezTo>
                    <a:pt x="67" y="232"/>
                    <a:pt x="66" y="231"/>
                    <a:pt x="66" y="229"/>
                  </a:cubicBezTo>
                  <a:cubicBezTo>
                    <a:pt x="66" y="29"/>
                    <a:pt x="66" y="29"/>
                    <a:pt x="66" y="29"/>
                  </a:cubicBezTo>
                  <a:cubicBezTo>
                    <a:pt x="66" y="28"/>
                    <a:pt x="65" y="28"/>
                    <a:pt x="64" y="28"/>
                  </a:cubicBezTo>
                  <a:cubicBezTo>
                    <a:pt x="4" y="28"/>
                    <a:pt x="4" y="28"/>
                    <a:pt x="4" y="28"/>
                  </a:cubicBezTo>
                  <a:cubicBezTo>
                    <a:pt x="1" y="28"/>
                    <a:pt x="0" y="27"/>
                    <a:pt x="0" y="25"/>
                  </a:cubicBezTo>
                  <a:cubicBezTo>
                    <a:pt x="0" y="4"/>
                    <a:pt x="0" y="4"/>
                    <a:pt x="0" y="4"/>
                  </a:cubicBezTo>
                  <a:cubicBezTo>
                    <a:pt x="0" y="1"/>
                    <a:pt x="1" y="0"/>
                    <a:pt x="4" y="0"/>
                  </a:cubicBezTo>
                  <a:cubicBezTo>
                    <a:pt x="162" y="0"/>
                    <a:pt x="162" y="0"/>
                    <a:pt x="162" y="0"/>
                  </a:cubicBezTo>
                  <a:cubicBezTo>
                    <a:pt x="164" y="0"/>
                    <a:pt x="165" y="1"/>
                    <a:pt x="165" y="3"/>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2" name="Freeform 31">
              <a:extLst>
                <a:ext uri="{FF2B5EF4-FFF2-40B4-BE49-F238E27FC236}">
                  <a16:creationId xmlns:a16="http://schemas.microsoft.com/office/drawing/2014/main" id="{33991B2C-49E8-DAAA-EC38-9E1725BB5324}"/>
                </a:ext>
              </a:extLst>
            </p:cNvPr>
            <p:cNvSpPr>
              <a:spLocks noEditPoints="1"/>
            </p:cNvSpPr>
            <p:nvPr userDrawn="1"/>
          </p:nvSpPr>
          <p:spPr bwMode="auto">
            <a:xfrm>
              <a:off x="6961" y="2858"/>
              <a:ext cx="50" cy="72"/>
            </a:xfrm>
            <a:custGeom>
              <a:avLst/>
              <a:gdLst>
                <a:gd name="T0" fmla="*/ 128 w 161"/>
                <a:gd name="T1" fmla="*/ 230 h 232"/>
                <a:gd name="T2" fmla="*/ 82 w 161"/>
                <a:gd name="T3" fmla="*/ 131 h 232"/>
                <a:gd name="T4" fmla="*/ 81 w 161"/>
                <a:gd name="T5" fmla="*/ 130 h 232"/>
                <a:gd name="T6" fmla="*/ 33 w 161"/>
                <a:gd name="T7" fmla="*/ 130 h 232"/>
                <a:gd name="T8" fmla="*/ 32 w 161"/>
                <a:gd name="T9" fmla="*/ 131 h 232"/>
                <a:gd name="T10" fmla="*/ 32 w 161"/>
                <a:gd name="T11" fmla="*/ 229 h 232"/>
                <a:gd name="T12" fmla="*/ 29 w 161"/>
                <a:gd name="T13" fmla="*/ 232 h 232"/>
                <a:gd name="T14" fmla="*/ 4 w 161"/>
                <a:gd name="T15" fmla="*/ 232 h 232"/>
                <a:gd name="T16" fmla="*/ 0 w 161"/>
                <a:gd name="T17" fmla="*/ 229 h 232"/>
                <a:gd name="T18" fmla="*/ 0 w 161"/>
                <a:gd name="T19" fmla="*/ 3 h 232"/>
                <a:gd name="T20" fmla="*/ 3 w 161"/>
                <a:gd name="T21" fmla="*/ 0 h 232"/>
                <a:gd name="T22" fmla="*/ 93 w 161"/>
                <a:gd name="T23" fmla="*/ 0 h 232"/>
                <a:gd name="T24" fmla="*/ 127 w 161"/>
                <a:gd name="T25" fmla="*/ 8 h 232"/>
                <a:gd name="T26" fmla="*/ 150 w 161"/>
                <a:gd name="T27" fmla="*/ 32 h 232"/>
                <a:gd name="T28" fmla="*/ 159 w 161"/>
                <a:gd name="T29" fmla="*/ 66 h 232"/>
                <a:gd name="T30" fmla="*/ 147 w 161"/>
                <a:gd name="T31" fmla="*/ 105 h 232"/>
                <a:gd name="T32" fmla="*/ 113 w 161"/>
                <a:gd name="T33" fmla="*/ 127 h 232"/>
                <a:gd name="T34" fmla="*/ 113 w 161"/>
                <a:gd name="T35" fmla="*/ 129 h 232"/>
                <a:gd name="T36" fmla="*/ 161 w 161"/>
                <a:gd name="T37" fmla="*/ 228 h 232"/>
                <a:gd name="T38" fmla="*/ 161 w 161"/>
                <a:gd name="T39" fmla="*/ 230 h 232"/>
                <a:gd name="T40" fmla="*/ 159 w 161"/>
                <a:gd name="T41" fmla="*/ 232 h 232"/>
                <a:gd name="T42" fmla="*/ 132 w 161"/>
                <a:gd name="T43" fmla="*/ 232 h 232"/>
                <a:gd name="T44" fmla="*/ 128 w 161"/>
                <a:gd name="T45" fmla="*/ 230 h 232"/>
                <a:gd name="T46" fmla="*/ 32 w 161"/>
                <a:gd name="T47" fmla="*/ 29 h 232"/>
                <a:gd name="T48" fmla="*/ 32 w 161"/>
                <a:gd name="T49" fmla="*/ 103 h 232"/>
                <a:gd name="T50" fmla="*/ 33 w 161"/>
                <a:gd name="T51" fmla="*/ 104 h 232"/>
                <a:gd name="T52" fmla="*/ 88 w 161"/>
                <a:gd name="T53" fmla="*/ 104 h 232"/>
                <a:gd name="T54" fmla="*/ 117 w 161"/>
                <a:gd name="T55" fmla="*/ 94 h 232"/>
                <a:gd name="T56" fmla="*/ 127 w 161"/>
                <a:gd name="T57" fmla="*/ 66 h 232"/>
                <a:gd name="T58" fmla="*/ 117 w 161"/>
                <a:gd name="T59" fmla="*/ 38 h 232"/>
                <a:gd name="T60" fmla="*/ 88 w 161"/>
                <a:gd name="T61" fmla="*/ 28 h 232"/>
                <a:gd name="T62" fmla="*/ 33 w 161"/>
                <a:gd name="T63" fmla="*/ 28 h 232"/>
                <a:gd name="T64" fmla="*/ 32 w 161"/>
                <a:gd name="T65" fmla="*/ 29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61" h="232">
                  <a:moveTo>
                    <a:pt x="128" y="230"/>
                  </a:moveTo>
                  <a:cubicBezTo>
                    <a:pt x="82" y="131"/>
                    <a:pt x="82" y="131"/>
                    <a:pt x="82" y="131"/>
                  </a:cubicBezTo>
                  <a:cubicBezTo>
                    <a:pt x="82" y="130"/>
                    <a:pt x="81" y="130"/>
                    <a:pt x="81" y="130"/>
                  </a:cubicBezTo>
                  <a:cubicBezTo>
                    <a:pt x="33" y="130"/>
                    <a:pt x="33" y="130"/>
                    <a:pt x="33" y="130"/>
                  </a:cubicBezTo>
                  <a:cubicBezTo>
                    <a:pt x="32" y="130"/>
                    <a:pt x="32" y="130"/>
                    <a:pt x="32" y="131"/>
                  </a:cubicBezTo>
                  <a:cubicBezTo>
                    <a:pt x="32" y="229"/>
                    <a:pt x="32" y="229"/>
                    <a:pt x="32" y="229"/>
                  </a:cubicBezTo>
                  <a:cubicBezTo>
                    <a:pt x="32" y="231"/>
                    <a:pt x="31" y="232"/>
                    <a:pt x="29" y="232"/>
                  </a:cubicBezTo>
                  <a:cubicBezTo>
                    <a:pt x="4" y="232"/>
                    <a:pt x="4" y="232"/>
                    <a:pt x="4" y="232"/>
                  </a:cubicBezTo>
                  <a:cubicBezTo>
                    <a:pt x="1" y="232"/>
                    <a:pt x="0" y="231"/>
                    <a:pt x="0" y="229"/>
                  </a:cubicBezTo>
                  <a:cubicBezTo>
                    <a:pt x="0" y="3"/>
                    <a:pt x="0" y="3"/>
                    <a:pt x="0" y="3"/>
                  </a:cubicBezTo>
                  <a:cubicBezTo>
                    <a:pt x="0" y="1"/>
                    <a:pt x="1" y="0"/>
                    <a:pt x="3" y="0"/>
                  </a:cubicBezTo>
                  <a:cubicBezTo>
                    <a:pt x="93" y="0"/>
                    <a:pt x="93" y="0"/>
                    <a:pt x="93" y="0"/>
                  </a:cubicBezTo>
                  <a:cubicBezTo>
                    <a:pt x="106" y="0"/>
                    <a:pt x="117" y="3"/>
                    <a:pt x="127" y="8"/>
                  </a:cubicBezTo>
                  <a:cubicBezTo>
                    <a:pt x="137" y="14"/>
                    <a:pt x="145" y="22"/>
                    <a:pt x="150" y="32"/>
                  </a:cubicBezTo>
                  <a:cubicBezTo>
                    <a:pt x="156" y="41"/>
                    <a:pt x="159" y="53"/>
                    <a:pt x="159" y="66"/>
                  </a:cubicBezTo>
                  <a:cubicBezTo>
                    <a:pt x="159" y="81"/>
                    <a:pt x="155" y="94"/>
                    <a:pt x="147" y="105"/>
                  </a:cubicBezTo>
                  <a:cubicBezTo>
                    <a:pt x="138" y="116"/>
                    <a:pt x="127" y="123"/>
                    <a:pt x="113" y="127"/>
                  </a:cubicBezTo>
                  <a:cubicBezTo>
                    <a:pt x="113" y="127"/>
                    <a:pt x="112" y="128"/>
                    <a:pt x="113" y="129"/>
                  </a:cubicBezTo>
                  <a:cubicBezTo>
                    <a:pt x="161" y="228"/>
                    <a:pt x="161" y="228"/>
                    <a:pt x="161" y="228"/>
                  </a:cubicBezTo>
                  <a:cubicBezTo>
                    <a:pt x="161" y="228"/>
                    <a:pt x="161" y="229"/>
                    <a:pt x="161" y="230"/>
                  </a:cubicBezTo>
                  <a:cubicBezTo>
                    <a:pt x="161" y="231"/>
                    <a:pt x="160" y="232"/>
                    <a:pt x="159" y="232"/>
                  </a:cubicBezTo>
                  <a:cubicBezTo>
                    <a:pt x="132" y="232"/>
                    <a:pt x="132" y="232"/>
                    <a:pt x="132" y="232"/>
                  </a:cubicBezTo>
                  <a:cubicBezTo>
                    <a:pt x="130" y="232"/>
                    <a:pt x="129" y="231"/>
                    <a:pt x="128" y="230"/>
                  </a:cubicBezTo>
                  <a:moveTo>
                    <a:pt x="32" y="29"/>
                  </a:moveTo>
                  <a:cubicBezTo>
                    <a:pt x="32" y="103"/>
                    <a:pt x="32" y="103"/>
                    <a:pt x="32" y="103"/>
                  </a:cubicBezTo>
                  <a:cubicBezTo>
                    <a:pt x="32" y="104"/>
                    <a:pt x="32" y="104"/>
                    <a:pt x="33" y="104"/>
                  </a:cubicBezTo>
                  <a:cubicBezTo>
                    <a:pt x="88" y="104"/>
                    <a:pt x="88" y="104"/>
                    <a:pt x="88" y="104"/>
                  </a:cubicBezTo>
                  <a:cubicBezTo>
                    <a:pt x="100" y="104"/>
                    <a:pt x="109" y="101"/>
                    <a:pt x="117" y="94"/>
                  </a:cubicBezTo>
                  <a:cubicBezTo>
                    <a:pt x="124" y="87"/>
                    <a:pt x="127" y="78"/>
                    <a:pt x="127" y="66"/>
                  </a:cubicBezTo>
                  <a:cubicBezTo>
                    <a:pt x="127" y="55"/>
                    <a:pt x="124" y="46"/>
                    <a:pt x="117" y="38"/>
                  </a:cubicBezTo>
                  <a:cubicBezTo>
                    <a:pt x="109" y="31"/>
                    <a:pt x="100" y="28"/>
                    <a:pt x="88" y="28"/>
                  </a:cubicBezTo>
                  <a:cubicBezTo>
                    <a:pt x="33" y="28"/>
                    <a:pt x="33" y="28"/>
                    <a:pt x="33" y="28"/>
                  </a:cubicBezTo>
                  <a:cubicBezTo>
                    <a:pt x="32" y="28"/>
                    <a:pt x="32" y="28"/>
                    <a:pt x="32" y="29"/>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3" name="Freeform 32">
              <a:extLst>
                <a:ext uri="{FF2B5EF4-FFF2-40B4-BE49-F238E27FC236}">
                  <a16:creationId xmlns:a16="http://schemas.microsoft.com/office/drawing/2014/main" id="{79ADB283-CDBE-3128-1ABF-9FCF17BE261C}"/>
                </a:ext>
              </a:extLst>
            </p:cNvPr>
            <p:cNvSpPr>
              <a:spLocks/>
            </p:cNvSpPr>
            <p:nvPr userDrawn="1"/>
          </p:nvSpPr>
          <p:spPr bwMode="auto">
            <a:xfrm>
              <a:off x="7022" y="2858"/>
              <a:ext cx="51" cy="73"/>
            </a:xfrm>
            <a:custGeom>
              <a:avLst/>
              <a:gdLst>
                <a:gd name="T0" fmla="*/ 39 w 163"/>
                <a:gd name="T1" fmla="*/ 225 h 235"/>
                <a:gd name="T2" fmla="*/ 10 w 163"/>
                <a:gd name="T3" fmla="*/ 198 h 235"/>
                <a:gd name="T4" fmla="*/ 0 w 163"/>
                <a:gd name="T5" fmla="*/ 158 h 235"/>
                <a:gd name="T6" fmla="*/ 0 w 163"/>
                <a:gd name="T7" fmla="*/ 3 h 235"/>
                <a:gd name="T8" fmla="*/ 3 w 163"/>
                <a:gd name="T9" fmla="*/ 0 h 235"/>
                <a:gd name="T10" fmla="*/ 28 w 163"/>
                <a:gd name="T11" fmla="*/ 0 h 235"/>
                <a:gd name="T12" fmla="*/ 32 w 163"/>
                <a:gd name="T13" fmla="*/ 3 h 235"/>
                <a:gd name="T14" fmla="*/ 32 w 163"/>
                <a:gd name="T15" fmla="*/ 159 h 235"/>
                <a:gd name="T16" fmla="*/ 45 w 163"/>
                <a:gd name="T17" fmla="*/ 194 h 235"/>
                <a:gd name="T18" fmla="*/ 81 w 163"/>
                <a:gd name="T19" fmla="*/ 207 h 235"/>
                <a:gd name="T20" fmla="*/ 117 w 163"/>
                <a:gd name="T21" fmla="*/ 194 h 235"/>
                <a:gd name="T22" fmla="*/ 131 w 163"/>
                <a:gd name="T23" fmla="*/ 159 h 235"/>
                <a:gd name="T24" fmla="*/ 131 w 163"/>
                <a:gd name="T25" fmla="*/ 3 h 235"/>
                <a:gd name="T26" fmla="*/ 134 w 163"/>
                <a:gd name="T27" fmla="*/ 0 h 235"/>
                <a:gd name="T28" fmla="*/ 159 w 163"/>
                <a:gd name="T29" fmla="*/ 0 h 235"/>
                <a:gd name="T30" fmla="*/ 162 w 163"/>
                <a:gd name="T31" fmla="*/ 3 h 235"/>
                <a:gd name="T32" fmla="*/ 163 w 163"/>
                <a:gd name="T33" fmla="*/ 158 h 235"/>
                <a:gd name="T34" fmla="*/ 152 w 163"/>
                <a:gd name="T35" fmla="*/ 198 h 235"/>
                <a:gd name="T36" fmla="*/ 124 w 163"/>
                <a:gd name="T37" fmla="*/ 225 h 235"/>
                <a:gd name="T38" fmla="*/ 81 w 163"/>
                <a:gd name="T39" fmla="*/ 235 h 235"/>
                <a:gd name="T40" fmla="*/ 39 w 163"/>
                <a:gd name="T41" fmla="*/ 225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3" h="235">
                  <a:moveTo>
                    <a:pt x="39" y="225"/>
                  </a:moveTo>
                  <a:cubicBezTo>
                    <a:pt x="26" y="219"/>
                    <a:pt x="17" y="210"/>
                    <a:pt x="10" y="198"/>
                  </a:cubicBezTo>
                  <a:cubicBezTo>
                    <a:pt x="3" y="187"/>
                    <a:pt x="0" y="173"/>
                    <a:pt x="0" y="158"/>
                  </a:cubicBezTo>
                  <a:cubicBezTo>
                    <a:pt x="0" y="3"/>
                    <a:pt x="0" y="3"/>
                    <a:pt x="0" y="3"/>
                  </a:cubicBezTo>
                  <a:cubicBezTo>
                    <a:pt x="0" y="1"/>
                    <a:pt x="1" y="0"/>
                    <a:pt x="3" y="0"/>
                  </a:cubicBezTo>
                  <a:cubicBezTo>
                    <a:pt x="28" y="0"/>
                    <a:pt x="28" y="0"/>
                    <a:pt x="28" y="0"/>
                  </a:cubicBezTo>
                  <a:cubicBezTo>
                    <a:pt x="31" y="0"/>
                    <a:pt x="32" y="1"/>
                    <a:pt x="32" y="3"/>
                  </a:cubicBezTo>
                  <a:cubicBezTo>
                    <a:pt x="32" y="159"/>
                    <a:pt x="32" y="159"/>
                    <a:pt x="32" y="159"/>
                  </a:cubicBezTo>
                  <a:cubicBezTo>
                    <a:pt x="32" y="173"/>
                    <a:pt x="36" y="185"/>
                    <a:pt x="45" y="194"/>
                  </a:cubicBezTo>
                  <a:cubicBezTo>
                    <a:pt x="54" y="203"/>
                    <a:pt x="66" y="207"/>
                    <a:pt x="81" y="207"/>
                  </a:cubicBezTo>
                  <a:cubicBezTo>
                    <a:pt x="96" y="207"/>
                    <a:pt x="108" y="203"/>
                    <a:pt x="117" y="194"/>
                  </a:cubicBezTo>
                  <a:cubicBezTo>
                    <a:pt x="126" y="185"/>
                    <a:pt x="131" y="173"/>
                    <a:pt x="131" y="159"/>
                  </a:cubicBezTo>
                  <a:cubicBezTo>
                    <a:pt x="131" y="3"/>
                    <a:pt x="131" y="3"/>
                    <a:pt x="131" y="3"/>
                  </a:cubicBezTo>
                  <a:cubicBezTo>
                    <a:pt x="131" y="1"/>
                    <a:pt x="132" y="0"/>
                    <a:pt x="134" y="0"/>
                  </a:cubicBezTo>
                  <a:cubicBezTo>
                    <a:pt x="159" y="0"/>
                    <a:pt x="159" y="0"/>
                    <a:pt x="159" y="0"/>
                  </a:cubicBezTo>
                  <a:cubicBezTo>
                    <a:pt x="161" y="0"/>
                    <a:pt x="162" y="1"/>
                    <a:pt x="162" y="3"/>
                  </a:cubicBezTo>
                  <a:cubicBezTo>
                    <a:pt x="163" y="158"/>
                    <a:pt x="163" y="158"/>
                    <a:pt x="163" y="158"/>
                  </a:cubicBezTo>
                  <a:cubicBezTo>
                    <a:pt x="163" y="173"/>
                    <a:pt x="159" y="187"/>
                    <a:pt x="152" y="198"/>
                  </a:cubicBezTo>
                  <a:cubicBezTo>
                    <a:pt x="146" y="210"/>
                    <a:pt x="136" y="219"/>
                    <a:pt x="124" y="225"/>
                  </a:cubicBezTo>
                  <a:cubicBezTo>
                    <a:pt x="111" y="231"/>
                    <a:pt x="97" y="235"/>
                    <a:pt x="81" y="235"/>
                  </a:cubicBezTo>
                  <a:cubicBezTo>
                    <a:pt x="65" y="235"/>
                    <a:pt x="51" y="231"/>
                    <a:pt x="39" y="225"/>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4" name="Freeform 33">
              <a:extLst>
                <a:ext uri="{FF2B5EF4-FFF2-40B4-BE49-F238E27FC236}">
                  <a16:creationId xmlns:a16="http://schemas.microsoft.com/office/drawing/2014/main" id="{730B2B0B-E1DC-B27F-96DD-3B04443C1714}"/>
                </a:ext>
              </a:extLst>
            </p:cNvPr>
            <p:cNvSpPr>
              <a:spLocks/>
            </p:cNvSpPr>
            <p:nvPr userDrawn="1"/>
          </p:nvSpPr>
          <p:spPr bwMode="auto">
            <a:xfrm>
              <a:off x="7084" y="2857"/>
              <a:ext cx="51" cy="74"/>
            </a:xfrm>
            <a:custGeom>
              <a:avLst/>
              <a:gdLst>
                <a:gd name="T0" fmla="*/ 39 w 164"/>
                <a:gd name="T1" fmla="*/ 230 h 237"/>
                <a:gd name="T2" fmla="*/ 10 w 164"/>
                <a:gd name="T3" fmla="*/ 207 h 237"/>
                <a:gd name="T4" fmla="*/ 0 w 164"/>
                <a:gd name="T5" fmla="*/ 173 h 237"/>
                <a:gd name="T6" fmla="*/ 0 w 164"/>
                <a:gd name="T7" fmla="*/ 163 h 237"/>
                <a:gd name="T8" fmla="*/ 4 w 164"/>
                <a:gd name="T9" fmla="*/ 160 h 237"/>
                <a:gd name="T10" fmla="*/ 28 w 164"/>
                <a:gd name="T11" fmla="*/ 160 h 237"/>
                <a:gd name="T12" fmla="*/ 31 w 164"/>
                <a:gd name="T13" fmla="*/ 163 h 237"/>
                <a:gd name="T14" fmla="*/ 31 w 164"/>
                <a:gd name="T15" fmla="*/ 171 h 237"/>
                <a:gd name="T16" fmla="*/ 46 w 164"/>
                <a:gd name="T17" fmla="*/ 199 h 237"/>
                <a:gd name="T18" fmla="*/ 86 w 164"/>
                <a:gd name="T19" fmla="*/ 210 h 237"/>
                <a:gd name="T20" fmla="*/ 120 w 164"/>
                <a:gd name="T21" fmla="*/ 200 h 237"/>
                <a:gd name="T22" fmla="*/ 132 w 164"/>
                <a:gd name="T23" fmla="*/ 175 h 237"/>
                <a:gd name="T24" fmla="*/ 126 w 164"/>
                <a:gd name="T25" fmla="*/ 158 h 237"/>
                <a:gd name="T26" fmla="*/ 109 w 164"/>
                <a:gd name="T27" fmla="*/ 144 h 237"/>
                <a:gd name="T28" fmla="*/ 75 w 164"/>
                <a:gd name="T29" fmla="*/ 129 h 237"/>
                <a:gd name="T30" fmla="*/ 37 w 164"/>
                <a:gd name="T31" fmla="*/ 113 h 237"/>
                <a:gd name="T32" fmla="*/ 14 w 164"/>
                <a:gd name="T33" fmla="*/ 93 h 237"/>
                <a:gd name="T34" fmla="*/ 4 w 164"/>
                <a:gd name="T35" fmla="*/ 61 h 237"/>
                <a:gd name="T36" fmla="*/ 25 w 164"/>
                <a:gd name="T37" fmla="*/ 17 h 237"/>
                <a:gd name="T38" fmla="*/ 80 w 164"/>
                <a:gd name="T39" fmla="*/ 0 h 237"/>
                <a:gd name="T40" fmla="*/ 123 w 164"/>
                <a:gd name="T41" fmla="*/ 9 h 237"/>
                <a:gd name="T42" fmla="*/ 152 w 164"/>
                <a:gd name="T43" fmla="*/ 32 h 237"/>
                <a:gd name="T44" fmla="*/ 162 w 164"/>
                <a:gd name="T45" fmla="*/ 66 h 237"/>
                <a:gd name="T46" fmla="*/ 162 w 164"/>
                <a:gd name="T47" fmla="*/ 73 h 237"/>
                <a:gd name="T48" fmla="*/ 158 w 164"/>
                <a:gd name="T49" fmla="*/ 76 h 237"/>
                <a:gd name="T50" fmla="*/ 133 w 164"/>
                <a:gd name="T51" fmla="*/ 76 h 237"/>
                <a:gd name="T52" fmla="*/ 130 w 164"/>
                <a:gd name="T53" fmla="*/ 73 h 237"/>
                <a:gd name="T54" fmla="*/ 130 w 164"/>
                <a:gd name="T55" fmla="*/ 68 h 237"/>
                <a:gd name="T56" fmla="*/ 116 w 164"/>
                <a:gd name="T57" fmla="*/ 39 h 237"/>
                <a:gd name="T58" fmla="*/ 78 w 164"/>
                <a:gd name="T59" fmla="*/ 28 h 237"/>
                <a:gd name="T60" fmla="*/ 47 w 164"/>
                <a:gd name="T61" fmla="*/ 36 h 237"/>
                <a:gd name="T62" fmla="*/ 35 w 164"/>
                <a:gd name="T63" fmla="*/ 61 h 237"/>
                <a:gd name="T64" fmla="*/ 41 w 164"/>
                <a:gd name="T65" fmla="*/ 78 h 237"/>
                <a:gd name="T66" fmla="*/ 58 w 164"/>
                <a:gd name="T67" fmla="*/ 91 h 237"/>
                <a:gd name="T68" fmla="*/ 92 w 164"/>
                <a:gd name="T69" fmla="*/ 105 h 237"/>
                <a:gd name="T70" fmla="*/ 130 w 164"/>
                <a:gd name="T71" fmla="*/ 122 h 237"/>
                <a:gd name="T72" fmla="*/ 154 w 164"/>
                <a:gd name="T73" fmla="*/ 142 h 237"/>
                <a:gd name="T74" fmla="*/ 164 w 164"/>
                <a:gd name="T75" fmla="*/ 174 h 237"/>
                <a:gd name="T76" fmla="*/ 142 w 164"/>
                <a:gd name="T77" fmla="*/ 220 h 237"/>
                <a:gd name="T78" fmla="*/ 84 w 164"/>
                <a:gd name="T79" fmla="*/ 237 h 237"/>
                <a:gd name="T80" fmla="*/ 39 w 164"/>
                <a:gd name="T81" fmla="*/ 230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64" h="237">
                  <a:moveTo>
                    <a:pt x="39" y="230"/>
                  </a:moveTo>
                  <a:cubicBezTo>
                    <a:pt x="27" y="224"/>
                    <a:pt x="17" y="217"/>
                    <a:pt x="10" y="207"/>
                  </a:cubicBezTo>
                  <a:cubicBezTo>
                    <a:pt x="4" y="197"/>
                    <a:pt x="0" y="186"/>
                    <a:pt x="0" y="173"/>
                  </a:cubicBezTo>
                  <a:cubicBezTo>
                    <a:pt x="0" y="163"/>
                    <a:pt x="0" y="163"/>
                    <a:pt x="0" y="163"/>
                  </a:cubicBezTo>
                  <a:cubicBezTo>
                    <a:pt x="0" y="161"/>
                    <a:pt x="1" y="160"/>
                    <a:pt x="4" y="160"/>
                  </a:cubicBezTo>
                  <a:cubicBezTo>
                    <a:pt x="28" y="160"/>
                    <a:pt x="28" y="160"/>
                    <a:pt x="28" y="160"/>
                  </a:cubicBezTo>
                  <a:cubicBezTo>
                    <a:pt x="30" y="160"/>
                    <a:pt x="31" y="161"/>
                    <a:pt x="31" y="163"/>
                  </a:cubicBezTo>
                  <a:cubicBezTo>
                    <a:pt x="31" y="171"/>
                    <a:pt x="31" y="171"/>
                    <a:pt x="31" y="171"/>
                  </a:cubicBezTo>
                  <a:cubicBezTo>
                    <a:pt x="31" y="182"/>
                    <a:pt x="36" y="192"/>
                    <a:pt x="46" y="199"/>
                  </a:cubicBezTo>
                  <a:cubicBezTo>
                    <a:pt x="55" y="206"/>
                    <a:pt x="69" y="210"/>
                    <a:pt x="86" y="210"/>
                  </a:cubicBezTo>
                  <a:cubicBezTo>
                    <a:pt x="101" y="210"/>
                    <a:pt x="113" y="207"/>
                    <a:pt x="120" y="200"/>
                  </a:cubicBezTo>
                  <a:cubicBezTo>
                    <a:pt x="128" y="194"/>
                    <a:pt x="132" y="186"/>
                    <a:pt x="132" y="175"/>
                  </a:cubicBezTo>
                  <a:cubicBezTo>
                    <a:pt x="132" y="168"/>
                    <a:pt x="130" y="162"/>
                    <a:pt x="126" y="158"/>
                  </a:cubicBezTo>
                  <a:cubicBezTo>
                    <a:pt x="122" y="153"/>
                    <a:pt x="116" y="148"/>
                    <a:pt x="109" y="144"/>
                  </a:cubicBezTo>
                  <a:cubicBezTo>
                    <a:pt x="101" y="140"/>
                    <a:pt x="90" y="135"/>
                    <a:pt x="75" y="129"/>
                  </a:cubicBezTo>
                  <a:cubicBezTo>
                    <a:pt x="59" y="123"/>
                    <a:pt x="46" y="118"/>
                    <a:pt x="37" y="113"/>
                  </a:cubicBezTo>
                  <a:cubicBezTo>
                    <a:pt x="28" y="107"/>
                    <a:pt x="20" y="101"/>
                    <a:pt x="14" y="93"/>
                  </a:cubicBezTo>
                  <a:cubicBezTo>
                    <a:pt x="7" y="84"/>
                    <a:pt x="4" y="74"/>
                    <a:pt x="4" y="61"/>
                  </a:cubicBezTo>
                  <a:cubicBezTo>
                    <a:pt x="4" y="42"/>
                    <a:pt x="11" y="27"/>
                    <a:pt x="25" y="17"/>
                  </a:cubicBezTo>
                  <a:cubicBezTo>
                    <a:pt x="38" y="6"/>
                    <a:pt x="57" y="0"/>
                    <a:pt x="80" y="0"/>
                  </a:cubicBezTo>
                  <a:cubicBezTo>
                    <a:pt x="96" y="0"/>
                    <a:pt x="110" y="3"/>
                    <a:pt x="123" y="9"/>
                  </a:cubicBezTo>
                  <a:cubicBezTo>
                    <a:pt x="135" y="14"/>
                    <a:pt x="145" y="22"/>
                    <a:pt x="152" y="32"/>
                  </a:cubicBezTo>
                  <a:cubicBezTo>
                    <a:pt x="158" y="42"/>
                    <a:pt x="162" y="53"/>
                    <a:pt x="162" y="66"/>
                  </a:cubicBezTo>
                  <a:cubicBezTo>
                    <a:pt x="162" y="73"/>
                    <a:pt x="162" y="73"/>
                    <a:pt x="162" y="73"/>
                  </a:cubicBezTo>
                  <a:cubicBezTo>
                    <a:pt x="162" y="75"/>
                    <a:pt x="161" y="76"/>
                    <a:pt x="158" y="76"/>
                  </a:cubicBezTo>
                  <a:cubicBezTo>
                    <a:pt x="133" y="76"/>
                    <a:pt x="133" y="76"/>
                    <a:pt x="133" y="76"/>
                  </a:cubicBezTo>
                  <a:cubicBezTo>
                    <a:pt x="131" y="76"/>
                    <a:pt x="130" y="75"/>
                    <a:pt x="130" y="73"/>
                  </a:cubicBezTo>
                  <a:cubicBezTo>
                    <a:pt x="130" y="68"/>
                    <a:pt x="130" y="68"/>
                    <a:pt x="130" y="68"/>
                  </a:cubicBezTo>
                  <a:cubicBezTo>
                    <a:pt x="130" y="56"/>
                    <a:pt x="126" y="47"/>
                    <a:pt x="116" y="39"/>
                  </a:cubicBezTo>
                  <a:cubicBezTo>
                    <a:pt x="107" y="32"/>
                    <a:pt x="95" y="28"/>
                    <a:pt x="78" y="28"/>
                  </a:cubicBezTo>
                  <a:cubicBezTo>
                    <a:pt x="65" y="28"/>
                    <a:pt x="54" y="31"/>
                    <a:pt x="47" y="36"/>
                  </a:cubicBezTo>
                  <a:cubicBezTo>
                    <a:pt x="39" y="42"/>
                    <a:pt x="35" y="50"/>
                    <a:pt x="35" y="61"/>
                  </a:cubicBezTo>
                  <a:cubicBezTo>
                    <a:pt x="35" y="68"/>
                    <a:pt x="37" y="74"/>
                    <a:pt x="41" y="78"/>
                  </a:cubicBezTo>
                  <a:cubicBezTo>
                    <a:pt x="45" y="83"/>
                    <a:pt x="50" y="87"/>
                    <a:pt x="58" y="91"/>
                  </a:cubicBezTo>
                  <a:cubicBezTo>
                    <a:pt x="65" y="95"/>
                    <a:pt x="77" y="99"/>
                    <a:pt x="92" y="105"/>
                  </a:cubicBezTo>
                  <a:cubicBezTo>
                    <a:pt x="107" y="111"/>
                    <a:pt x="120" y="117"/>
                    <a:pt x="130" y="122"/>
                  </a:cubicBezTo>
                  <a:cubicBezTo>
                    <a:pt x="140" y="127"/>
                    <a:pt x="148" y="134"/>
                    <a:pt x="154" y="142"/>
                  </a:cubicBezTo>
                  <a:cubicBezTo>
                    <a:pt x="160" y="151"/>
                    <a:pt x="164" y="162"/>
                    <a:pt x="164" y="174"/>
                  </a:cubicBezTo>
                  <a:cubicBezTo>
                    <a:pt x="164" y="194"/>
                    <a:pt x="157" y="209"/>
                    <a:pt x="142" y="220"/>
                  </a:cubicBezTo>
                  <a:cubicBezTo>
                    <a:pt x="128" y="232"/>
                    <a:pt x="108" y="237"/>
                    <a:pt x="84" y="237"/>
                  </a:cubicBezTo>
                  <a:cubicBezTo>
                    <a:pt x="67" y="237"/>
                    <a:pt x="52" y="235"/>
                    <a:pt x="39" y="230"/>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5" name="Freeform 34">
              <a:extLst>
                <a:ext uri="{FF2B5EF4-FFF2-40B4-BE49-F238E27FC236}">
                  <a16:creationId xmlns:a16="http://schemas.microsoft.com/office/drawing/2014/main" id="{0E3CB36C-4E49-EC61-4B53-CDE510B7CDDB}"/>
                </a:ext>
              </a:extLst>
            </p:cNvPr>
            <p:cNvSpPr>
              <a:spLocks/>
            </p:cNvSpPr>
            <p:nvPr userDrawn="1"/>
          </p:nvSpPr>
          <p:spPr bwMode="auto">
            <a:xfrm>
              <a:off x="7139" y="2858"/>
              <a:ext cx="51" cy="72"/>
            </a:xfrm>
            <a:custGeom>
              <a:avLst/>
              <a:gdLst>
                <a:gd name="T0" fmla="*/ 165 w 165"/>
                <a:gd name="T1" fmla="*/ 3 h 232"/>
                <a:gd name="T2" fmla="*/ 165 w 165"/>
                <a:gd name="T3" fmla="*/ 24 h 232"/>
                <a:gd name="T4" fmla="*/ 161 w 165"/>
                <a:gd name="T5" fmla="*/ 28 h 232"/>
                <a:gd name="T6" fmla="*/ 98 w 165"/>
                <a:gd name="T7" fmla="*/ 28 h 232"/>
                <a:gd name="T8" fmla="*/ 97 w 165"/>
                <a:gd name="T9" fmla="*/ 29 h 232"/>
                <a:gd name="T10" fmla="*/ 97 w 165"/>
                <a:gd name="T11" fmla="*/ 228 h 232"/>
                <a:gd name="T12" fmla="*/ 94 w 165"/>
                <a:gd name="T13" fmla="*/ 232 h 232"/>
                <a:gd name="T14" fmla="*/ 69 w 165"/>
                <a:gd name="T15" fmla="*/ 232 h 232"/>
                <a:gd name="T16" fmla="*/ 65 w 165"/>
                <a:gd name="T17" fmla="*/ 228 h 232"/>
                <a:gd name="T18" fmla="*/ 65 w 165"/>
                <a:gd name="T19" fmla="*/ 29 h 232"/>
                <a:gd name="T20" fmla="*/ 64 w 165"/>
                <a:gd name="T21" fmla="*/ 28 h 232"/>
                <a:gd name="T22" fmla="*/ 3 w 165"/>
                <a:gd name="T23" fmla="*/ 28 h 232"/>
                <a:gd name="T24" fmla="*/ 0 w 165"/>
                <a:gd name="T25" fmla="*/ 24 h 232"/>
                <a:gd name="T26" fmla="*/ 0 w 165"/>
                <a:gd name="T27" fmla="*/ 3 h 232"/>
                <a:gd name="T28" fmla="*/ 3 w 165"/>
                <a:gd name="T29" fmla="*/ 0 h 232"/>
                <a:gd name="T30" fmla="*/ 161 w 165"/>
                <a:gd name="T31" fmla="*/ 0 h 232"/>
                <a:gd name="T32" fmla="*/ 165 w 165"/>
                <a:gd name="T33" fmla="*/ 3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5" h="232">
                  <a:moveTo>
                    <a:pt x="165" y="3"/>
                  </a:moveTo>
                  <a:cubicBezTo>
                    <a:pt x="165" y="24"/>
                    <a:pt x="165" y="24"/>
                    <a:pt x="165" y="24"/>
                  </a:cubicBezTo>
                  <a:cubicBezTo>
                    <a:pt x="165" y="26"/>
                    <a:pt x="164" y="28"/>
                    <a:pt x="161" y="28"/>
                  </a:cubicBezTo>
                  <a:cubicBezTo>
                    <a:pt x="98" y="28"/>
                    <a:pt x="98" y="28"/>
                    <a:pt x="98" y="28"/>
                  </a:cubicBezTo>
                  <a:cubicBezTo>
                    <a:pt x="97" y="28"/>
                    <a:pt x="97" y="28"/>
                    <a:pt x="97" y="29"/>
                  </a:cubicBezTo>
                  <a:cubicBezTo>
                    <a:pt x="97" y="228"/>
                    <a:pt x="97" y="228"/>
                    <a:pt x="97" y="228"/>
                  </a:cubicBezTo>
                  <a:cubicBezTo>
                    <a:pt x="97" y="231"/>
                    <a:pt x="96" y="232"/>
                    <a:pt x="94" y="232"/>
                  </a:cubicBezTo>
                  <a:cubicBezTo>
                    <a:pt x="69" y="232"/>
                    <a:pt x="69" y="232"/>
                    <a:pt x="69" y="232"/>
                  </a:cubicBezTo>
                  <a:cubicBezTo>
                    <a:pt x="66" y="232"/>
                    <a:pt x="65" y="231"/>
                    <a:pt x="65" y="228"/>
                  </a:cubicBezTo>
                  <a:cubicBezTo>
                    <a:pt x="65" y="29"/>
                    <a:pt x="65" y="29"/>
                    <a:pt x="65" y="29"/>
                  </a:cubicBezTo>
                  <a:cubicBezTo>
                    <a:pt x="65" y="28"/>
                    <a:pt x="65" y="28"/>
                    <a:pt x="64" y="28"/>
                  </a:cubicBezTo>
                  <a:cubicBezTo>
                    <a:pt x="3" y="28"/>
                    <a:pt x="3" y="28"/>
                    <a:pt x="3" y="28"/>
                  </a:cubicBezTo>
                  <a:cubicBezTo>
                    <a:pt x="1" y="28"/>
                    <a:pt x="0" y="27"/>
                    <a:pt x="0" y="24"/>
                  </a:cubicBezTo>
                  <a:cubicBezTo>
                    <a:pt x="0" y="3"/>
                    <a:pt x="0" y="3"/>
                    <a:pt x="0" y="3"/>
                  </a:cubicBezTo>
                  <a:cubicBezTo>
                    <a:pt x="0" y="1"/>
                    <a:pt x="1" y="0"/>
                    <a:pt x="3" y="0"/>
                  </a:cubicBezTo>
                  <a:cubicBezTo>
                    <a:pt x="161" y="0"/>
                    <a:pt x="161" y="0"/>
                    <a:pt x="161" y="0"/>
                  </a:cubicBezTo>
                  <a:cubicBezTo>
                    <a:pt x="164" y="0"/>
                    <a:pt x="165" y="1"/>
                    <a:pt x="165" y="3"/>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6" name="Freeform 35">
              <a:extLst>
                <a:ext uri="{FF2B5EF4-FFF2-40B4-BE49-F238E27FC236}">
                  <a16:creationId xmlns:a16="http://schemas.microsoft.com/office/drawing/2014/main" id="{051E201E-3F2D-497B-1A7B-B3729394D9A7}"/>
                </a:ext>
              </a:extLst>
            </p:cNvPr>
            <p:cNvSpPr>
              <a:spLocks/>
            </p:cNvSpPr>
            <p:nvPr userDrawn="1"/>
          </p:nvSpPr>
          <p:spPr bwMode="auto">
            <a:xfrm>
              <a:off x="7201" y="2858"/>
              <a:ext cx="47" cy="72"/>
            </a:xfrm>
            <a:custGeom>
              <a:avLst/>
              <a:gdLst>
                <a:gd name="T0" fmla="*/ 150 w 153"/>
                <a:gd name="T1" fmla="*/ 27 h 232"/>
                <a:gd name="T2" fmla="*/ 33 w 153"/>
                <a:gd name="T3" fmla="*/ 27 h 232"/>
                <a:gd name="T4" fmla="*/ 31 w 153"/>
                <a:gd name="T5" fmla="*/ 29 h 232"/>
                <a:gd name="T6" fmla="*/ 31 w 153"/>
                <a:gd name="T7" fmla="*/ 100 h 232"/>
                <a:gd name="T8" fmla="*/ 33 w 153"/>
                <a:gd name="T9" fmla="*/ 101 h 232"/>
                <a:gd name="T10" fmla="*/ 113 w 153"/>
                <a:gd name="T11" fmla="*/ 101 h 232"/>
                <a:gd name="T12" fmla="*/ 117 w 153"/>
                <a:gd name="T13" fmla="*/ 104 h 232"/>
                <a:gd name="T14" fmla="*/ 117 w 153"/>
                <a:gd name="T15" fmla="*/ 125 h 232"/>
                <a:gd name="T16" fmla="*/ 113 w 153"/>
                <a:gd name="T17" fmla="*/ 129 h 232"/>
                <a:gd name="T18" fmla="*/ 33 w 153"/>
                <a:gd name="T19" fmla="*/ 129 h 232"/>
                <a:gd name="T20" fmla="*/ 31 w 153"/>
                <a:gd name="T21" fmla="*/ 130 h 232"/>
                <a:gd name="T22" fmla="*/ 32 w 153"/>
                <a:gd name="T23" fmla="*/ 203 h 232"/>
                <a:gd name="T24" fmla="*/ 33 w 153"/>
                <a:gd name="T25" fmla="*/ 204 h 232"/>
                <a:gd name="T26" fmla="*/ 150 w 153"/>
                <a:gd name="T27" fmla="*/ 204 h 232"/>
                <a:gd name="T28" fmla="*/ 153 w 153"/>
                <a:gd name="T29" fmla="*/ 207 h 232"/>
                <a:gd name="T30" fmla="*/ 153 w 153"/>
                <a:gd name="T31" fmla="*/ 228 h 232"/>
                <a:gd name="T32" fmla="*/ 150 w 153"/>
                <a:gd name="T33" fmla="*/ 232 h 232"/>
                <a:gd name="T34" fmla="*/ 3 w 153"/>
                <a:gd name="T35" fmla="*/ 232 h 232"/>
                <a:gd name="T36" fmla="*/ 0 w 153"/>
                <a:gd name="T37" fmla="*/ 228 h 232"/>
                <a:gd name="T38" fmla="*/ 0 w 153"/>
                <a:gd name="T39" fmla="*/ 3 h 232"/>
                <a:gd name="T40" fmla="*/ 3 w 153"/>
                <a:gd name="T41" fmla="*/ 0 h 232"/>
                <a:gd name="T42" fmla="*/ 150 w 153"/>
                <a:gd name="T43" fmla="*/ 0 h 232"/>
                <a:gd name="T44" fmla="*/ 153 w 153"/>
                <a:gd name="T45" fmla="*/ 3 h 232"/>
                <a:gd name="T46" fmla="*/ 153 w 153"/>
                <a:gd name="T47" fmla="*/ 24 h 232"/>
                <a:gd name="T48" fmla="*/ 150 w 153"/>
                <a:gd name="T49" fmla="*/ 27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3" h="232">
                  <a:moveTo>
                    <a:pt x="150" y="27"/>
                  </a:moveTo>
                  <a:cubicBezTo>
                    <a:pt x="33" y="27"/>
                    <a:pt x="33" y="27"/>
                    <a:pt x="33" y="27"/>
                  </a:cubicBezTo>
                  <a:cubicBezTo>
                    <a:pt x="32" y="27"/>
                    <a:pt x="31" y="28"/>
                    <a:pt x="31" y="29"/>
                  </a:cubicBezTo>
                  <a:cubicBezTo>
                    <a:pt x="31" y="100"/>
                    <a:pt x="31" y="100"/>
                    <a:pt x="31" y="100"/>
                  </a:cubicBezTo>
                  <a:cubicBezTo>
                    <a:pt x="31" y="101"/>
                    <a:pt x="32" y="101"/>
                    <a:pt x="33" y="101"/>
                  </a:cubicBezTo>
                  <a:cubicBezTo>
                    <a:pt x="113" y="101"/>
                    <a:pt x="113" y="101"/>
                    <a:pt x="113" y="101"/>
                  </a:cubicBezTo>
                  <a:cubicBezTo>
                    <a:pt x="115" y="101"/>
                    <a:pt x="117" y="102"/>
                    <a:pt x="117" y="104"/>
                  </a:cubicBezTo>
                  <a:cubicBezTo>
                    <a:pt x="117" y="125"/>
                    <a:pt x="117" y="125"/>
                    <a:pt x="117" y="125"/>
                  </a:cubicBezTo>
                  <a:cubicBezTo>
                    <a:pt x="117" y="127"/>
                    <a:pt x="115" y="129"/>
                    <a:pt x="113" y="129"/>
                  </a:cubicBezTo>
                  <a:cubicBezTo>
                    <a:pt x="33" y="129"/>
                    <a:pt x="33" y="129"/>
                    <a:pt x="33" y="129"/>
                  </a:cubicBezTo>
                  <a:cubicBezTo>
                    <a:pt x="32" y="129"/>
                    <a:pt x="31" y="129"/>
                    <a:pt x="31" y="130"/>
                  </a:cubicBezTo>
                  <a:cubicBezTo>
                    <a:pt x="32" y="203"/>
                    <a:pt x="32" y="203"/>
                    <a:pt x="32" y="203"/>
                  </a:cubicBezTo>
                  <a:cubicBezTo>
                    <a:pt x="32" y="204"/>
                    <a:pt x="32" y="204"/>
                    <a:pt x="33" y="204"/>
                  </a:cubicBezTo>
                  <a:cubicBezTo>
                    <a:pt x="150" y="204"/>
                    <a:pt x="150" y="204"/>
                    <a:pt x="150" y="204"/>
                  </a:cubicBezTo>
                  <a:cubicBezTo>
                    <a:pt x="152" y="204"/>
                    <a:pt x="153" y="205"/>
                    <a:pt x="153" y="207"/>
                  </a:cubicBezTo>
                  <a:cubicBezTo>
                    <a:pt x="153" y="228"/>
                    <a:pt x="153" y="228"/>
                    <a:pt x="153" y="228"/>
                  </a:cubicBezTo>
                  <a:cubicBezTo>
                    <a:pt x="153" y="230"/>
                    <a:pt x="152" y="232"/>
                    <a:pt x="150" y="232"/>
                  </a:cubicBezTo>
                  <a:cubicBezTo>
                    <a:pt x="3" y="232"/>
                    <a:pt x="3" y="232"/>
                    <a:pt x="3" y="232"/>
                  </a:cubicBezTo>
                  <a:cubicBezTo>
                    <a:pt x="1" y="232"/>
                    <a:pt x="0" y="231"/>
                    <a:pt x="0" y="228"/>
                  </a:cubicBezTo>
                  <a:cubicBezTo>
                    <a:pt x="0" y="3"/>
                    <a:pt x="0" y="3"/>
                    <a:pt x="0" y="3"/>
                  </a:cubicBezTo>
                  <a:cubicBezTo>
                    <a:pt x="0" y="1"/>
                    <a:pt x="1" y="0"/>
                    <a:pt x="3" y="0"/>
                  </a:cubicBezTo>
                  <a:cubicBezTo>
                    <a:pt x="150" y="0"/>
                    <a:pt x="150" y="0"/>
                    <a:pt x="150" y="0"/>
                  </a:cubicBezTo>
                  <a:cubicBezTo>
                    <a:pt x="152" y="0"/>
                    <a:pt x="153" y="1"/>
                    <a:pt x="153" y="3"/>
                  </a:cubicBezTo>
                  <a:cubicBezTo>
                    <a:pt x="153" y="24"/>
                    <a:pt x="153" y="24"/>
                    <a:pt x="153" y="24"/>
                  </a:cubicBezTo>
                  <a:cubicBezTo>
                    <a:pt x="153" y="26"/>
                    <a:pt x="152" y="27"/>
                    <a:pt x="150" y="27"/>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7" name="Freeform 36">
              <a:extLst>
                <a:ext uri="{FF2B5EF4-FFF2-40B4-BE49-F238E27FC236}">
                  <a16:creationId xmlns:a16="http://schemas.microsoft.com/office/drawing/2014/main" id="{ACD208B1-B626-4F85-89AB-58A4FC70093D}"/>
                </a:ext>
              </a:extLst>
            </p:cNvPr>
            <p:cNvSpPr>
              <a:spLocks noEditPoints="1"/>
            </p:cNvSpPr>
            <p:nvPr userDrawn="1"/>
          </p:nvSpPr>
          <p:spPr bwMode="auto">
            <a:xfrm>
              <a:off x="7260" y="2858"/>
              <a:ext cx="50" cy="72"/>
            </a:xfrm>
            <a:custGeom>
              <a:avLst/>
              <a:gdLst>
                <a:gd name="T0" fmla="*/ 4 w 159"/>
                <a:gd name="T1" fmla="*/ 0 h 232"/>
                <a:gd name="T2" fmla="*/ 84 w 159"/>
                <a:gd name="T3" fmla="*/ 0 h 232"/>
                <a:gd name="T4" fmla="*/ 139 w 159"/>
                <a:gd name="T5" fmla="*/ 18 h 232"/>
                <a:gd name="T6" fmla="*/ 159 w 159"/>
                <a:gd name="T7" fmla="*/ 66 h 232"/>
                <a:gd name="T8" fmla="*/ 159 w 159"/>
                <a:gd name="T9" fmla="*/ 165 h 232"/>
                <a:gd name="T10" fmla="*/ 139 w 159"/>
                <a:gd name="T11" fmla="*/ 213 h 232"/>
                <a:gd name="T12" fmla="*/ 84 w 159"/>
                <a:gd name="T13" fmla="*/ 231 h 232"/>
                <a:gd name="T14" fmla="*/ 4 w 159"/>
                <a:gd name="T15" fmla="*/ 232 h 232"/>
                <a:gd name="T16" fmla="*/ 1 w 159"/>
                <a:gd name="T17" fmla="*/ 228 h 232"/>
                <a:gd name="T18" fmla="*/ 0 w 159"/>
                <a:gd name="T19" fmla="*/ 3 h 232"/>
                <a:gd name="T20" fmla="*/ 4 w 159"/>
                <a:gd name="T21" fmla="*/ 0 h 232"/>
                <a:gd name="T22" fmla="*/ 116 w 159"/>
                <a:gd name="T23" fmla="*/ 192 h 232"/>
                <a:gd name="T24" fmla="*/ 128 w 159"/>
                <a:gd name="T25" fmla="*/ 161 h 232"/>
                <a:gd name="T26" fmla="*/ 128 w 159"/>
                <a:gd name="T27" fmla="*/ 70 h 232"/>
                <a:gd name="T28" fmla="*/ 116 w 159"/>
                <a:gd name="T29" fmla="*/ 39 h 232"/>
                <a:gd name="T30" fmla="*/ 85 w 159"/>
                <a:gd name="T31" fmla="*/ 27 h 232"/>
                <a:gd name="T32" fmla="*/ 34 w 159"/>
                <a:gd name="T33" fmla="*/ 27 h 232"/>
                <a:gd name="T34" fmla="*/ 32 w 159"/>
                <a:gd name="T35" fmla="*/ 28 h 232"/>
                <a:gd name="T36" fmla="*/ 32 w 159"/>
                <a:gd name="T37" fmla="*/ 203 h 232"/>
                <a:gd name="T38" fmla="*/ 34 w 159"/>
                <a:gd name="T39" fmla="*/ 204 h 232"/>
                <a:gd name="T40" fmla="*/ 85 w 159"/>
                <a:gd name="T41" fmla="*/ 204 h 232"/>
                <a:gd name="T42" fmla="*/ 116 w 159"/>
                <a:gd name="T43" fmla="*/ 192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59" h="232">
                  <a:moveTo>
                    <a:pt x="4" y="0"/>
                  </a:moveTo>
                  <a:cubicBezTo>
                    <a:pt x="84" y="0"/>
                    <a:pt x="84" y="0"/>
                    <a:pt x="84" y="0"/>
                  </a:cubicBezTo>
                  <a:cubicBezTo>
                    <a:pt x="106" y="0"/>
                    <a:pt x="125" y="6"/>
                    <a:pt x="139" y="18"/>
                  </a:cubicBezTo>
                  <a:cubicBezTo>
                    <a:pt x="152" y="30"/>
                    <a:pt x="159" y="46"/>
                    <a:pt x="159" y="66"/>
                  </a:cubicBezTo>
                  <a:cubicBezTo>
                    <a:pt x="159" y="165"/>
                    <a:pt x="159" y="165"/>
                    <a:pt x="159" y="165"/>
                  </a:cubicBezTo>
                  <a:cubicBezTo>
                    <a:pt x="159" y="185"/>
                    <a:pt x="153" y="201"/>
                    <a:pt x="139" y="213"/>
                  </a:cubicBezTo>
                  <a:cubicBezTo>
                    <a:pt x="125" y="225"/>
                    <a:pt x="107" y="231"/>
                    <a:pt x="84" y="231"/>
                  </a:cubicBezTo>
                  <a:cubicBezTo>
                    <a:pt x="4" y="232"/>
                    <a:pt x="4" y="232"/>
                    <a:pt x="4" y="232"/>
                  </a:cubicBezTo>
                  <a:cubicBezTo>
                    <a:pt x="2" y="232"/>
                    <a:pt x="1" y="230"/>
                    <a:pt x="1" y="228"/>
                  </a:cubicBezTo>
                  <a:cubicBezTo>
                    <a:pt x="0" y="3"/>
                    <a:pt x="0" y="3"/>
                    <a:pt x="0" y="3"/>
                  </a:cubicBezTo>
                  <a:cubicBezTo>
                    <a:pt x="0" y="1"/>
                    <a:pt x="1" y="0"/>
                    <a:pt x="4" y="0"/>
                  </a:cubicBezTo>
                  <a:moveTo>
                    <a:pt x="116" y="192"/>
                  </a:moveTo>
                  <a:cubicBezTo>
                    <a:pt x="123" y="184"/>
                    <a:pt x="127" y="174"/>
                    <a:pt x="128" y="161"/>
                  </a:cubicBezTo>
                  <a:cubicBezTo>
                    <a:pt x="128" y="70"/>
                    <a:pt x="128" y="70"/>
                    <a:pt x="128" y="70"/>
                  </a:cubicBezTo>
                  <a:cubicBezTo>
                    <a:pt x="128" y="57"/>
                    <a:pt x="124" y="47"/>
                    <a:pt x="116" y="39"/>
                  </a:cubicBezTo>
                  <a:cubicBezTo>
                    <a:pt x="108" y="31"/>
                    <a:pt x="98" y="27"/>
                    <a:pt x="85" y="27"/>
                  </a:cubicBezTo>
                  <a:cubicBezTo>
                    <a:pt x="34" y="27"/>
                    <a:pt x="34" y="27"/>
                    <a:pt x="34" y="27"/>
                  </a:cubicBezTo>
                  <a:cubicBezTo>
                    <a:pt x="33" y="27"/>
                    <a:pt x="32" y="28"/>
                    <a:pt x="32" y="28"/>
                  </a:cubicBezTo>
                  <a:cubicBezTo>
                    <a:pt x="32" y="203"/>
                    <a:pt x="32" y="203"/>
                    <a:pt x="32" y="203"/>
                  </a:cubicBezTo>
                  <a:cubicBezTo>
                    <a:pt x="32" y="204"/>
                    <a:pt x="33" y="204"/>
                    <a:pt x="34" y="204"/>
                  </a:cubicBezTo>
                  <a:cubicBezTo>
                    <a:pt x="85" y="204"/>
                    <a:pt x="85" y="204"/>
                    <a:pt x="85" y="204"/>
                  </a:cubicBezTo>
                  <a:cubicBezTo>
                    <a:pt x="98" y="204"/>
                    <a:pt x="108" y="200"/>
                    <a:pt x="116" y="192"/>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8" name="Freeform 37">
              <a:extLst>
                <a:ext uri="{FF2B5EF4-FFF2-40B4-BE49-F238E27FC236}">
                  <a16:creationId xmlns:a16="http://schemas.microsoft.com/office/drawing/2014/main" id="{82CAA9AE-F4B1-9537-CA76-28E8CAED25A5}"/>
                </a:ext>
              </a:extLst>
            </p:cNvPr>
            <p:cNvSpPr>
              <a:spLocks/>
            </p:cNvSpPr>
            <p:nvPr userDrawn="1"/>
          </p:nvSpPr>
          <p:spPr bwMode="auto">
            <a:xfrm>
              <a:off x="6436" y="2961"/>
              <a:ext cx="50" cy="74"/>
            </a:xfrm>
            <a:custGeom>
              <a:avLst/>
              <a:gdLst>
                <a:gd name="T0" fmla="*/ 39 w 161"/>
                <a:gd name="T1" fmla="*/ 228 h 237"/>
                <a:gd name="T2" fmla="*/ 10 w 161"/>
                <a:gd name="T3" fmla="*/ 201 h 237"/>
                <a:gd name="T4" fmla="*/ 0 w 161"/>
                <a:gd name="T5" fmla="*/ 161 h 237"/>
                <a:gd name="T6" fmla="*/ 0 w 161"/>
                <a:gd name="T7" fmla="*/ 75 h 237"/>
                <a:gd name="T8" fmla="*/ 10 w 161"/>
                <a:gd name="T9" fmla="*/ 36 h 237"/>
                <a:gd name="T10" fmla="*/ 38 w 161"/>
                <a:gd name="T11" fmla="*/ 9 h 237"/>
                <a:gd name="T12" fmla="*/ 81 w 161"/>
                <a:gd name="T13" fmla="*/ 0 h 237"/>
                <a:gd name="T14" fmla="*/ 123 w 161"/>
                <a:gd name="T15" fmla="*/ 9 h 237"/>
                <a:gd name="T16" fmla="*/ 151 w 161"/>
                <a:gd name="T17" fmla="*/ 34 h 237"/>
                <a:gd name="T18" fmla="*/ 161 w 161"/>
                <a:gd name="T19" fmla="*/ 73 h 237"/>
                <a:gd name="T20" fmla="*/ 161 w 161"/>
                <a:gd name="T21" fmla="*/ 73 h 237"/>
                <a:gd name="T22" fmla="*/ 160 w 161"/>
                <a:gd name="T23" fmla="*/ 76 h 237"/>
                <a:gd name="T24" fmla="*/ 158 w 161"/>
                <a:gd name="T25" fmla="*/ 77 h 237"/>
                <a:gd name="T26" fmla="*/ 133 w 161"/>
                <a:gd name="T27" fmla="*/ 78 h 237"/>
                <a:gd name="T28" fmla="*/ 129 w 161"/>
                <a:gd name="T29" fmla="*/ 75 h 237"/>
                <a:gd name="T30" fmla="*/ 129 w 161"/>
                <a:gd name="T31" fmla="*/ 74 h 237"/>
                <a:gd name="T32" fmla="*/ 116 w 161"/>
                <a:gd name="T33" fmla="*/ 40 h 237"/>
                <a:gd name="T34" fmla="*/ 81 w 161"/>
                <a:gd name="T35" fmla="*/ 27 h 237"/>
                <a:gd name="T36" fmla="*/ 45 w 161"/>
                <a:gd name="T37" fmla="*/ 40 h 237"/>
                <a:gd name="T38" fmla="*/ 32 w 161"/>
                <a:gd name="T39" fmla="*/ 74 h 237"/>
                <a:gd name="T40" fmla="*/ 32 w 161"/>
                <a:gd name="T41" fmla="*/ 162 h 237"/>
                <a:gd name="T42" fmla="*/ 45 w 161"/>
                <a:gd name="T43" fmla="*/ 196 h 237"/>
                <a:gd name="T44" fmla="*/ 81 w 161"/>
                <a:gd name="T45" fmla="*/ 209 h 237"/>
                <a:gd name="T46" fmla="*/ 116 w 161"/>
                <a:gd name="T47" fmla="*/ 196 h 237"/>
                <a:gd name="T48" fmla="*/ 129 w 161"/>
                <a:gd name="T49" fmla="*/ 162 h 237"/>
                <a:gd name="T50" fmla="*/ 129 w 161"/>
                <a:gd name="T51" fmla="*/ 162 h 237"/>
                <a:gd name="T52" fmla="*/ 133 w 161"/>
                <a:gd name="T53" fmla="*/ 159 h 237"/>
                <a:gd name="T54" fmla="*/ 158 w 161"/>
                <a:gd name="T55" fmla="*/ 160 h 237"/>
                <a:gd name="T56" fmla="*/ 161 w 161"/>
                <a:gd name="T57" fmla="*/ 163 h 237"/>
                <a:gd name="T58" fmla="*/ 151 w 161"/>
                <a:gd name="T59" fmla="*/ 202 h 237"/>
                <a:gd name="T60" fmla="*/ 123 w 161"/>
                <a:gd name="T61" fmla="*/ 228 h 237"/>
                <a:gd name="T62" fmla="*/ 81 w 161"/>
                <a:gd name="T63" fmla="*/ 237 h 237"/>
                <a:gd name="T64" fmla="*/ 39 w 161"/>
                <a:gd name="T65" fmla="*/ 228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61" h="237">
                  <a:moveTo>
                    <a:pt x="39" y="228"/>
                  </a:moveTo>
                  <a:cubicBezTo>
                    <a:pt x="26" y="221"/>
                    <a:pt x="17" y="212"/>
                    <a:pt x="10" y="201"/>
                  </a:cubicBezTo>
                  <a:cubicBezTo>
                    <a:pt x="3" y="189"/>
                    <a:pt x="0" y="176"/>
                    <a:pt x="0" y="161"/>
                  </a:cubicBezTo>
                  <a:cubicBezTo>
                    <a:pt x="0" y="75"/>
                    <a:pt x="0" y="75"/>
                    <a:pt x="0" y="75"/>
                  </a:cubicBezTo>
                  <a:cubicBezTo>
                    <a:pt x="0" y="60"/>
                    <a:pt x="3" y="47"/>
                    <a:pt x="10" y="36"/>
                  </a:cubicBezTo>
                  <a:cubicBezTo>
                    <a:pt x="17" y="24"/>
                    <a:pt x="26" y="15"/>
                    <a:pt x="38" y="9"/>
                  </a:cubicBezTo>
                  <a:cubicBezTo>
                    <a:pt x="51" y="3"/>
                    <a:pt x="65" y="0"/>
                    <a:pt x="81" y="0"/>
                  </a:cubicBezTo>
                  <a:cubicBezTo>
                    <a:pt x="97" y="0"/>
                    <a:pt x="111" y="3"/>
                    <a:pt x="123" y="9"/>
                  </a:cubicBezTo>
                  <a:cubicBezTo>
                    <a:pt x="135" y="15"/>
                    <a:pt x="144" y="23"/>
                    <a:pt x="151" y="34"/>
                  </a:cubicBezTo>
                  <a:cubicBezTo>
                    <a:pt x="158" y="45"/>
                    <a:pt x="161" y="58"/>
                    <a:pt x="161" y="73"/>
                  </a:cubicBezTo>
                  <a:cubicBezTo>
                    <a:pt x="161" y="73"/>
                    <a:pt x="161" y="73"/>
                    <a:pt x="161" y="73"/>
                  </a:cubicBezTo>
                  <a:cubicBezTo>
                    <a:pt x="161" y="74"/>
                    <a:pt x="161" y="75"/>
                    <a:pt x="160" y="76"/>
                  </a:cubicBezTo>
                  <a:cubicBezTo>
                    <a:pt x="160" y="76"/>
                    <a:pt x="159" y="77"/>
                    <a:pt x="158" y="77"/>
                  </a:cubicBezTo>
                  <a:cubicBezTo>
                    <a:pt x="133" y="78"/>
                    <a:pt x="133" y="78"/>
                    <a:pt x="133" y="78"/>
                  </a:cubicBezTo>
                  <a:cubicBezTo>
                    <a:pt x="131" y="78"/>
                    <a:pt x="129" y="77"/>
                    <a:pt x="129" y="75"/>
                  </a:cubicBezTo>
                  <a:cubicBezTo>
                    <a:pt x="129" y="74"/>
                    <a:pt x="129" y="74"/>
                    <a:pt x="129" y="74"/>
                  </a:cubicBezTo>
                  <a:cubicBezTo>
                    <a:pt x="129" y="60"/>
                    <a:pt x="125" y="49"/>
                    <a:pt x="116" y="40"/>
                  </a:cubicBezTo>
                  <a:cubicBezTo>
                    <a:pt x="107" y="31"/>
                    <a:pt x="96" y="27"/>
                    <a:pt x="81" y="27"/>
                  </a:cubicBezTo>
                  <a:cubicBezTo>
                    <a:pt x="66" y="27"/>
                    <a:pt x="54" y="31"/>
                    <a:pt x="45" y="40"/>
                  </a:cubicBezTo>
                  <a:cubicBezTo>
                    <a:pt x="36" y="49"/>
                    <a:pt x="32" y="60"/>
                    <a:pt x="32" y="74"/>
                  </a:cubicBezTo>
                  <a:cubicBezTo>
                    <a:pt x="32" y="162"/>
                    <a:pt x="32" y="162"/>
                    <a:pt x="32" y="162"/>
                  </a:cubicBezTo>
                  <a:cubicBezTo>
                    <a:pt x="32" y="176"/>
                    <a:pt x="36" y="188"/>
                    <a:pt x="45" y="196"/>
                  </a:cubicBezTo>
                  <a:cubicBezTo>
                    <a:pt x="54" y="205"/>
                    <a:pt x="66" y="209"/>
                    <a:pt x="81" y="209"/>
                  </a:cubicBezTo>
                  <a:cubicBezTo>
                    <a:pt x="96" y="209"/>
                    <a:pt x="107" y="205"/>
                    <a:pt x="116" y="196"/>
                  </a:cubicBezTo>
                  <a:cubicBezTo>
                    <a:pt x="125" y="188"/>
                    <a:pt x="129" y="176"/>
                    <a:pt x="129" y="162"/>
                  </a:cubicBezTo>
                  <a:cubicBezTo>
                    <a:pt x="129" y="162"/>
                    <a:pt x="129" y="162"/>
                    <a:pt x="129" y="162"/>
                  </a:cubicBezTo>
                  <a:cubicBezTo>
                    <a:pt x="129" y="160"/>
                    <a:pt x="131" y="159"/>
                    <a:pt x="133" y="159"/>
                  </a:cubicBezTo>
                  <a:cubicBezTo>
                    <a:pt x="158" y="160"/>
                    <a:pt x="158" y="160"/>
                    <a:pt x="158" y="160"/>
                  </a:cubicBezTo>
                  <a:cubicBezTo>
                    <a:pt x="160" y="160"/>
                    <a:pt x="161" y="161"/>
                    <a:pt x="161" y="163"/>
                  </a:cubicBezTo>
                  <a:cubicBezTo>
                    <a:pt x="161" y="178"/>
                    <a:pt x="158" y="191"/>
                    <a:pt x="151" y="202"/>
                  </a:cubicBezTo>
                  <a:cubicBezTo>
                    <a:pt x="144" y="213"/>
                    <a:pt x="135" y="222"/>
                    <a:pt x="123" y="228"/>
                  </a:cubicBezTo>
                  <a:cubicBezTo>
                    <a:pt x="111" y="234"/>
                    <a:pt x="97" y="237"/>
                    <a:pt x="81" y="237"/>
                  </a:cubicBezTo>
                  <a:cubicBezTo>
                    <a:pt x="65" y="237"/>
                    <a:pt x="51" y="234"/>
                    <a:pt x="39" y="228"/>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9" name="Freeform 38">
              <a:extLst>
                <a:ext uri="{FF2B5EF4-FFF2-40B4-BE49-F238E27FC236}">
                  <a16:creationId xmlns:a16="http://schemas.microsoft.com/office/drawing/2014/main" id="{BA30503C-8A98-B74C-21CB-9742AAF568F9}"/>
                </a:ext>
              </a:extLst>
            </p:cNvPr>
            <p:cNvSpPr>
              <a:spLocks noEditPoints="1"/>
            </p:cNvSpPr>
            <p:nvPr userDrawn="1"/>
          </p:nvSpPr>
          <p:spPr bwMode="auto">
            <a:xfrm>
              <a:off x="6495" y="2961"/>
              <a:ext cx="51" cy="74"/>
            </a:xfrm>
            <a:custGeom>
              <a:avLst/>
              <a:gdLst>
                <a:gd name="T0" fmla="*/ 39 w 164"/>
                <a:gd name="T1" fmla="*/ 227 h 237"/>
                <a:gd name="T2" fmla="*/ 10 w 164"/>
                <a:gd name="T3" fmla="*/ 199 h 237"/>
                <a:gd name="T4" fmla="*/ 0 w 164"/>
                <a:gd name="T5" fmla="*/ 158 h 237"/>
                <a:gd name="T6" fmla="*/ 0 w 164"/>
                <a:gd name="T7" fmla="*/ 79 h 237"/>
                <a:gd name="T8" fmla="*/ 10 w 164"/>
                <a:gd name="T9" fmla="*/ 37 h 237"/>
                <a:gd name="T10" fmla="*/ 39 w 164"/>
                <a:gd name="T11" fmla="*/ 9 h 237"/>
                <a:gd name="T12" fmla="*/ 81 w 164"/>
                <a:gd name="T13" fmla="*/ 0 h 237"/>
                <a:gd name="T14" fmla="*/ 125 w 164"/>
                <a:gd name="T15" fmla="*/ 9 h 237"/>
                <a:gd name="T16" fmla="*/ 154 w 164"/>
                <a:gd name="T17" fmla="*/ 37 h 237"/>
                <a:gd name="T18" fmla="*/ 164 w 164"/>
                <a:gd name="T19" fmla="*/ 79 h 237"/>
                <a:gd name="T20" fmla="*/ 164 w 164"/>
                <a:gd name="T21" fmla="*/ 157 h 237"/>
                <a:gd name="T22" fmla="*/ 154 w 164"/>
                <a:gd name="T23" fmla="*/ 199 h 237"/>
                <a:gd name="T24" fmla="*/ 125 w 164"/>
                <a:gd name="T25" fmla="*/ 227 h 237"/>
                <a:gd name="T26" fmla="*/ 82 w 164"/>
                <a:gd name="T27" fmla="*/ 237 h 237"/>
                <a:gd name="T28" fmla="*/ 39 w 164"/>
                <a:gd name="T29" fmla="*/ 227 h 237"/>
                <a:gd name="T30" fmla="*/ 118 w 164"/>
                <a:gd name="T31" fmla="*/ 196 h 237"/>
                <a:gd name="T32" fmla="*/ 132 w 164"/>
                <a:gd name="T33" fmla="*/ 159 h 237"/>
                <a:gd name="T34" fmla="*/ 132 w 164"/>
                <a:gd name="T35" fmla="*/ 78 h 237"/>
                <a:gd name="T36" fmla="*/ 118 w 164"/>
                <a:gd name="T37" fmla="*/ 41 h 237"/>
                <a:gd name="T38" fmla="*/ 82 w 164"/>
                <a:gd name="T39" fmla="*/ 27 h 237"/>
                <a:gd name="T40" fmla="*/ 45 w 164"/>
                <a:gd name="T41" fmla="*/ 41 h 237"/>
                <a:gd name="T42" fmla="*/ 32 w 164"/>
                <a:gd name="T43" fmla="*/ 78 h 237"/>
                <a:gd name="T44" fmla="*/ 32 w 164"/>
                <a:gd name="T45" fmla="*/ 159 h 237"/>
                <a:gd name="T46" fmla="*/ 45 w 164"/>
                <a:gd name="T47" fmla="*/ 196 h 237"/>
                <a:gd name="T48" fmla="*/ 82 w 164"/>
                <a:gd name="T49" fmla="*/ 210 h 237"/>
                <a:gd name="T50" fmla="*/ 118 w 164"/>
                <a:gd name="T51" fmla="*/ 196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64" h="237">
                  <a:moveTo>
                    <a:pt x="39" y="227"/>
                  </a:moveTo>
                  <a:cubicBezTo>
                    <a:pt x="27" y="220"/>
                    <a:pt x="17" y="211"/>
                    <a:pt x="10" y="199"/>
                  </a:cubicBezTo>
                  <a:cubicBezTo>
                    <a:pt x="3" y="187"/>
                    <a:pt x="0" y="173"/>
                    <a:pt x="0" y="158"/>
                  </a:cubicBezTo>
                  <a:cubicBezTo>
                    <a:pt x="0" y="79"/>
                    <a:pt x="0" y="79"/>
                    <a:pt x="0" y="79"/>
                  </a:cubicBezTo>
                  <a:cubicBezTo>
                    <a:pt x="0" y="63"/>
                    <a:pt x="3" y="49"/>
                    <a:pt x="10" y="37"/>
                  </a:cubicBezTo>
                  <a:cubicBezTo>
                    <a:pt x="17" y="25"/>
                    <a:pt x="26" y="16"/>
                    <a:pt x="39" y="9"/>
                  </a:cubicBezTo>
                  <a:cubicBezTo>
                    <a:pt x="51" y="3"/>
                    <a:pt x="65" y="0"/>
                    <a:pt x="81" y="0"/>
                  </a:cubicBezTo>
                  <a:cubicBezTo>
                    <a:pt x="98" y="0"/>
                    <a:pt x="112" y="3"/>
                    <a:pt x="125" y="9"/>
                  </a:cubicBezTo>
                  <a:cubicBezTo>
                    <a:pt x="137" y="16"/>
                    <a:pt x="147" y="25"/>
                    <a:pt x="154" y="37"/>
                  </a:cubicBezTo>
                  <a:cubicBezTo>
                    <a:pt x="161" y="49"/>
                    <a:pt x="164" y="63"/>
                    <a:pt x="164" y="79"/>
                  </a:cubicBezTo>
                  <a:cubicBezTo>
                    <a:pt x="164" y="157"/>
                    <a:pt x="164" y="157"/>
                    <a:pt x="164" y="157"/>
                  </a:cubicBezTo>
                  <a:cubicBezTo>
                    <a:pt x="164" y="173"/>
                    <a:pt x="161" y="187"/>
                    <a:pt x="154" y="199"/>
                  </a:cubicBezTo>
                  <a:cubicBezTo>
                    <a:pt x="147" y="211"/>
                    <a:pt x="137" y="220"/>
                    <a:pt x="125" y="227"/>
                  </a:cubicBezTo>
                  <a:cubicBezTo>
                    <a:pt x="112" y="234"/>
                    <a:pt x="98" y="237"/>
                    <a:pt x="82" y="237"/>
                  </a:cubicBezTo>
                  <a:cubicBezTo>
                    <a:pt x="66" y="237"/>
                    <a:pt x="51" y="234"/>
                    <a:pt x="39" y="227"/>
                  </a:cubicBezTo>
                  <a:moveTo>
                    <a:pt x="118" y="196"/>
                  </a:moveTo>
                  <a:cubicBezTo>
                    <a:pt x="128" y="186"/>
                    <a:pt x="132" y="174"/>
                    <a:pt x="132" y="159"/>
                  </a:cubicBezTo>
                  <a:cubicBezTo>
                    <a:pt x="132" y="78"/>
                    <a:pt x="132" y="78"/>
                    <a:pt x="132" y="78"/>
                  </a:cubicBezTo>
                  <a:cubicBezTo>
                    <a:pt x="132" y="63"/>
                    <a:pt x="128" y="50"/>
                    <a:pt x="118" y="41"/>
                  </a:cubicBezTo>
                  <a:cubicBezTo>
                    <a:pt x="109" y="32"/>
                    <a:pt x="97" y="27"/>
                    <a:pt x="82" y="27"/>
                  </a:cubicBezTo>
                  <a:cubicBezTo>
                    <a:pt x="67" y="27"/>
                    <a:pt x="54" y="32"/>
                    <a:pt x="45" y="41"/>
                  </a:cubicBezTo>
                  <a:cubicBezTo>
                    <a:pt x="36" y="51"/>
                    <a:pt x="32" y="63"/>
                    <a:pt x="32" y="78"/>
                  </a:cubicBezTo>
                  <a:cubicBezTo>
                    <a:pt x="32" y="159"/>
                    <a:pt x="32" y="159"/>
                    <a:pt x="32" y="159"/>
                  </a:cubicBezTo>
                  <a:cubicBezTo>
                    <a:pt x="32" y="174"/>
                    <a:pt x="36" y="186"/>
                    <a:pt x="45" y="196"/>
                  </a:cubicBezTo>
                  <a:cubicBezTo>
                    <a:pt x="55" y="205"/>
                    <a:pt x="67" y="210"/>
                    <a:pt x="82" y="210"/>
                  </a:cubicBezTo>
                  <a:cubicBezTo>
                    <a:pt x="97" y="210"/>
                    <a:pt x="109" y="205"/>
                    <a:pt x="118" y="196"/>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0" name="Freeform 39">
              <a:extLst>
                <a:ext uri="{FF2B5EF4-FFF2-40B4-BE49-F238E27FC236}">
                  <a16:creationId xmlns:a16="http://schemas.microsoft.com/office/drawing/2014/main" id="{0B8FB765-02D4-A536-D83A-5B6D759E49AA}"/>
                </a:ext>
              </a:extLst>
            </p:cNvPr>
            <p:cNvSpPr>
              <a:spLocks/>
            </p:cNvSpPr>
            <p:nvPr userDrawn="1"/>
          </p:nvSpPr>
          <p:spPr bwMode="auto">
            <a:xfrm>
              <a:off x="6559" y="2962"/>
              <a:ext cx="57" cy="72"/>
            </a:xfrm>
            <a:custGeom>
              <a:avLst/>
              <a:gdLst>
                <a:gd name="T0" fmla="*/ 154 w 183"/>
                <a:gd name="T1" fmla="*/ 0 h 232"/>
                <a:gd name="T2" fmla="*/ 180 w 183"/>
                <a:gd name="T3" fmla="*/ 0 h 232"/>
                <a:gd name="T4" fmla="*/ 183 w 183"/>
                <a:gd name="T5" fmla="*/ 3 h 232"/>
                <a:gd name="T6" fmla="*/ 183 w 183"/>
                <a:gd name="T7" fmla="*/ 229 h 232"/>
                <a:gd name="T8" fmla="*/ 180 w 183"/>
                <a:gd name="T9" fmla="*/ 232 h 232"/>
                <a:gd name="T10" fmla="*/ 155 w 183"/>
                <a:gd name="T11" fmla="*/ 232 h 232"/>
                <a:gd name="T12" fmla="*/ 151 w 183"/>
                <a:gd name="T13" fmla="*/ 229 h 232"/>
                <a:gd name="T14" fmla="*/ 151 w 183"/>
                <a:gd name="T15" fmla="*/ 59 h 232"/>
                <a:gd name="T16" fmla="*/ 150 w 183"/>
                <a:gd name="T17" fmla="*/ 58 h 232"/>
                <a:gd name="T18" fmla="*/ 149 w 183"/>
                <a:gd name="T19" fmla="*/ 58 h 232"/>
                <a:gd name="T20" fmla="*/ 102 w 183"/>
                <a:gd name="T21" fmla="*/ 131 h 232"/>
                <a:gd name="T22" fmla="*/ 98 w 183"/>
                <a:gd name="T23" fmla="*/ 133 h 232"/>
                <a:gd name="T24" fmla="*/ 86 w 183"/>
                <a:gd name="T25" fmla="*/ 133 h 232"/>
                <a:gd name="T26" fmla="*/ 82 w 183"/>
                <a:gd name="T27" fmla="*/ 131 h 232"/>
                <a:gd name="T28" fmla="*/ 34 w 183"/>
                <a:gd name="T29" fmla="*/ 59 h 232"/>
                <a:gd name="T30" fmla="*/ 33 w 183"/>
                <a:gd name="T31" fmla="*/ 58 h 232"/>
                <a:gd name="T32" fmla="*/ 32 w 183"/>
                <a:gd name="T33" fmla="*/ 60 h 232"/>
                <a:gd name="T34" fmla="*/ 32 w 183"/>
                <a:gd name="T35" fmla="*/ 229 h 232"/>
                <a:gd name="T36" fmla="*/ 29 w 183"/>
                <a:gd name="T37" fmla="*/ 232 h 232"/>
                <a:gd name="T38" fmla="*/ 4 w 183"/>
                <a:gd name="T39" fmla="*/ 232 h 232"/>
                <a:gd name="T40" fmla="*/ 1 w 183"/>
                <a:gd name="T41" fmla="*/ 229 h 232"/>
                <a:gd name="T42" fmla="*/ 0 w 183"/>
                <a:gd name="T43" fmla="*/ 3 h 232"/>
                <a:gd name="T44" fmla="*/ 4 w 183"/>
                <a:gd name="T45" fmla="*/ 0 h 232"/>
                <a:gd name="T46" fmla="*/ 29 w 183"/>
                <a:gd name="T47" fmla="*/ 0 h 232"/>
                <a:gd name="T48" fmla="*/ 33 w 183"/>
                <a:gd name="T49" fmla="*/ 2 h 232"/>
                <a:gd name="T50" fmla="*/ 91 w 183"/>
                <a:gd name="T51" fmla="*/ 89 h 232"/>
                <a:gd name="T52" fmla="*/ 92 w 183"/>
                <a:gd name="T53" fmla="*/ 89 h 232"/>
                <a:gd name="T54" fmla="*/ 93 w 183"/>
                <a:gd name="T55" fmla="*/ 89 h 232"/>
                <a:gd name="T56" fmla="*/ 150 w 183"/>
                <a:gd name="T57" fmla="*/ 2 h 232"/>
                <a:gd name="T58" fmla="*/ 154 w 183"/>
                <a:gd name="T59" fmla="*/ 0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83" h="232">
                  <a:moveTo>
                    <a:pt x="154" y="0"/>
                  </a:moveTo>
                  <a:cubicBezTo>
                    <a:pt x="180" y="0"/>
                    <a:pt x="180" y="0"/>
                    <a:pt x="180" y="0"/>
                  </a:cubicBezTo>
                  <a:cubicBezTo>
                    <a:pt x="182" y="0"/>
                    <a:pt x="183" y="1"/>
                    <a:pt x="183" y="3"/>
                  </a:cubicBezTo>
                  <a:cubicBezTo>
                    <a:pt x="183" y="229"/>
                    <a:pt x="183" y="229"/>
                    <a:pt x="183" y="229"/>
                  </a:cubicBezTo>
                  <a:cubicBezTo>
                    <a:pt x="183" y="231"/>
                    <a:pt x="182" y="232"/>
                    <a:pt x="180" y="232"/>
                  </a:cubicBezTo>
                  <a:cubicBezTo>
                    <a:pt x="155" y="232"/>
                    <a:pt x="155" y="232"/>
                    <a:pt x="155" y="232"/>
                  </a:cubicBezTo>
                  <a:cubicBezTo>
                    <a:pt x="152" y="232"/>
                    <a:pt x="151" y="231"/>
                    <a:pt x="151" y="229"/>
                  </a:cubicBezTo>
                  <a:cubicBezTo>
                    <a:pt x="151" y="59"/>
                    <a:pt x="151" y="59"/>
                    <a:pt x="151" y="59"/>
                  </a:cubicBezTo>
                  <a:cubicBezTo>
                    <a:pt x="151" y="58"/>
                    <a:pt x="151" y="58"/>
                    <a:pt x="150" y="58"/>
                  </a:cubicBezTo>
                  <a:cubicBezTo>
                    <a:pt x="150" y="57"/>
                    <a:pt x="150" y="58"/>
                    <a:pt x="149" y="58"/>
                  </a:cubicBezTo>
                  <a:cubicBezTo>
                    <a:pt x="102" y="131"/>
                    <a:pt x="102" y="131"/>
                    <a:pt x="102" y="131"/>
                  </a:cubicBezTo>
                  <a:cubicBezTo>
                    <a:pt x="101" y="132"/>
                    <a:pt x="100" y="133"/>
                    <a:pt x="98" y="133"/>
                  </a:cubicBezTo>
                  <a:cubicBezTo>
                    <a:pt x="86" y="133"/>
                    <a:pt x="86" y="133"/>
                    <a:pt x="86" y="133"/>
                  </a:cubicBezTo>
                  <a:cubicBezTo>
                    <a:pt x="84" y="133"/>
                    <a:pt x="83" y="132"/>
                    <a:pt x="82" y="131"/>
                  </a:cubicBezTo>
                  <a:cubicBezTo>
                    <a:pt x="34" y="59"/>
                    <a:pt x="34" y="59"/>
                    <a:pt x="34" y="59"/>
                  </a:cubicBezTo>
                  <a:cubicBezTo>
                    <a:pt x="34" y="58"/>
                    <a:pt x="33" y="58"/>
                    <a:pt x="33" y="58"/>
                  </a:cubicBezTo>
                  <a:cubicBezTo>
                    <a:pt x="32" y="59"/>
                    <a:pt x="32" y="59"/>
                    <a:pt x="32" y="60"/>
                  </a:cubicBezTo>
                  <a:cubicBezTo>
                    <a:pt x="32" y="229"/>
                    <a:pt x="32" y="229"/>
                    <a:pt x="32" y="229"/>
                  </a:cubicBezTo>
                  <a:cubicBezTo>
                    <a:pt x="32" y="231"/>
                    <a:pt x="31" y="232"/>
                    <a:pt x="29" y="232"/>
                  </a:cubicBezTo>
                  <a:cubicBezTo>
                    <a:pt x="4" y="232"/>
                    <a:pt x="4" y="232"/>
                    <a:pt x="4" y="232"/>
                  </a:cubicBezTo>
                  <a:cubicBezTo>
                    <a:pt x="2" y="232"/>
                    <a:pt x="1" y="231"/>
                    <a:pt x="1" y="229"/>
                  </a:cubicBezTo>
                  <a:cubicBezTo>
                    <a:pt x="0" y="3"/>
                    <a:pt x="0" y="3"/>
                    <a:pt x="0" y="3"/>
                  </a:cubicBezTo>
                  <a:cubicBezTo>
                    <a:pt x="0" y="1"/>
                    <a:pt x="1" y="0"/>
                    <a:pt x="4" y="0"/>
                  </a:cubicBezTo>
                  <a:cubicBezTo>
                    <a:pt x="29" y="0"/>
                    <a:pt x="29" y="0"/>
                    <a:pt x="29" y="0"/>
                  </a:cubicBezTo>
                  <a:cubicBezTo>
                    <a:pt x="31" y="0"/>
                    <a:pt x="32" y="1"/>
                    <a:pt x="33" y="2"/>
                  </a:cubicBezTo>
                  <a:cubicBezTo>
                    <a:pt x="91" y="89"/>
                    <a:pt x="91" y="89"/>
                    <a:pt x="91" y="89"/>
                  </a:cubicBezTo>
                  <a:cubicBezTo>
                    <a:pt x="91" y="89"/>
                    <a:pt x="91" y="89"/>
                    <a:pt x="92" y="89"/>
                  </a:cubicBezTo>
                  <a:cubicBezTo>
                    <a:pt x="92" y="89"/>
                    <a:pt x="93" y="89"/>
                    <a:pt x="93" y="89"/>
                  </a:cubicBezTo>
                  <a:cubicBezTo>
                    <a:pt x="150" y="2"/>
                    <a:pt x="150" y="2"/>
                    <a:pt x="150" y="2"/>
                  </a:cubicBezTo>
                  <a:cubicBezTo>
                    <a:pt x="152" y="1"/>
                    <a:pt x="153" y="0"/>
                    <a:pt x="154" y="0"/>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1" name="Freeform 40">
              <a:extLst>
                <a:ext uri="{FF2B5EF4-FFF2-40B4-BE49-F238E27FC236}">
                  <a16:creationId xmlns:a16="http://schemas.microsoft.com/office/drawing/2014/main" id="{0B2D295F-03EA-4E4F-08C5-D25B55C12D02}"/>
                </a:ext>
              </a:extLst>
            </p:cNvPr>
            <p:cNvSpPr>
              <a:spLocks noEditPoints="1"/>
            </p:cNvSpPr>
            <p:nvPr userDrawn="1"/>
          </p:nvSpPr>
          <p:spPr bwMode="auto">
            <a:xfrm>
              <a:off x="6632" y="2962"/>
              <a:ext cx="51" cy="72"/>
            </a:xfrm>
            <a:custGeom>
              <a:avLst/>
              <a:gdLst>
                <a:gd name="T0" fmla="*/ 129 w 161"/>
                <a:gd name="T1" fmla="*/ 8 h 232"/>
                <a:gd name="T2" fmla="*/ 152 w 161"/>
                <a:gd name="T3" fmla="*/ 32 h 232"/>
                <a:gd name="T4" fmla="*/ 161 w 161"/>
                <a:gd name="T5" fmla="*/ 67 h 232"/>
                <a:gd name="T6" fmla="*/ 152 w 161"/>
                <a:gd name="T7" fmla="*/ 102 h 232"/>
                <a:gd name="T8" fmla="*/ 128 w 161"/>
                <a:gd name="T9" fmla="*/ 125 h 232"/>
                <a:gd name="T10" fmla="*/ 92 w 161"/>
                <a:gd name="T11" fmla="*/ 133 h 232"/>
                <a:gd name="T12" fmla="*/ 33 w 161"/>
                <a:gd name="T13" fmla="*/ 133 h 232"/>
                <a:gd name="T14" fmla="*/ 32 w 161"/>
                <a:gd name="T15" fmla="*/ 134 h 232"/>
                <a:gd name="T16" fmla="*/ 32 w 161"/>
                <a:gd name="T17" fmla="*/ 229 h 232"/>
                <a:gd name="T18" fmla="*/ 29 w 161"/>
                <a:gd name="T19" fmla="*/ 232 h 232"/>
                <a:gd name="T20" fmla="*/ 4 w 161"/>
                <a:gd name="T21" fmla="*/ 232 h 232"/>
                <a:gd name="T22" fmla="*/ 0 w 161"/>
                <a:gd name="T23" fmla="*/ 229 h 232"/>
                <a:gd name="T24" fmla="*/ 0 w 161"/>
                <a:gd name="T25" fmla="*/ 3 h 232"/>
                <a:gd name="T26" fmla="*/ 4 w 161"/>
                <a:gd name="T27" fmla="*/ 0 h 232"/>
                <a:gd name="T28" fmla="*/ 93 w 161"/>
                <a:gd name="T29" fmla="*/ 0 h 232"/>
                <a:gd name="T30" fmla="*/ 129 w 161"/>
                <a:gd name="T31" fmla="*/ 8 h 232"/>
                <a:gd name="T32" fmla="*/ 118 w 161"/>
                <a:gd name="T33" fmla="*/ 96 h 232"/>
                <a:gd name="T34" fmla="*/ 129 w 161"/>
                <a:gd name="T35" fmla="*/ 67 h 232"/>
                <a:gd name="T36" fmla="*/ 118 w 161"/>
                <a:gd name="T37" fmla="*/ 38 h 232"/>
                <a:gd name="T38" fmla="*/ 89 w 161"/>
                <a:gd name="T39" fmla="*/ 27 h 232"/>
                <a:gd name="T40" fmla="*/ 33 w 161"/>
                <a:gd name="T41" fmla="*/ 27 h 232"/>
                <a:gd name="T42" fmla="*/ 32 w 161"/>
                <a:gd name="T43" fmla="*/ 28 h 232"/>
                <a:gd name="T44" fmla="*/ 32 w 161"/>
                <a:gd name="T45" fmla="*/ 106 h 232"/>
                <a:gd name="T46" fmla="*/ 33 w 161"/>
                <a:gd name="T47" fmla="*/ 107 h 232"/>
                <a:gd name="T48" fmla="*/ 89 w 161"/>
                <a:gd name="T49" fmla="*/ 107 h 232"/>
                <a:gd name="T50" fmla="*/ 118 w 161"/>
                <a:gd name="T51" fmla="*/ 96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61" h="232">
                  <a:moveTo>
                    <a:pt x="129" y="8"/>
                  </a:moveTo>
                  <a:cubicBezTo>
                    <a:pt x="139" y="14"/>
                    <a:pt x="147" y="22"/>
                    <a:pt x="152" y="32"/>
                  </a:cubicBezTo>
                  <a:cubicBezTo>
                    <a:pt x="158" y="42"/>
                    <a:pt x="161" y="54"/>
                    <a:pt x="161" y="67"/>
                  </a:cubicBezTo>
                  <a:cubicBezTo>
                    <a:pt x="161" y="80"/>
                    <a:pt x="158" y="92"/>
                    <a:pt x="152" y="102"/>
                  </a:cubicBezTo>
                  <a:cubicBezTo>
                    <a:pt x="147" y="112"/>
                    <a:pt x="138" y="119"/>
                    <a:pt x="128" y="125"/>
                  </a:cubicBezTo>
                  <a:cubicBezTo>
                    <a:pt x="118" y="130"/>
                    <a:pt x="105" y="133"/>
                    <a:pt x="92" y="133"/>
                  </a:cubicBezTo>
                  <a:cubicBezTo>
                    <a:pt x="33" y="133"/>
                    <a:pt x="33" y="133"/>
                    <a:pt x="33" y="133"/>
                  </a:cubicBezTo>
                  <a:cubicBezTo>
                    <a:pt x="33" y="133"/>
                    <a:pt x="32" y="134"/>
                    <a:pt x="32" y="134"/>
                  </a:cubicBezTo>
                  <a:cubicBezTo>
                    <a:pt x="32" y="229"/>
                    <a:pt x="32" y="229"/>
                    <a:pt x="32" y="229"/>
                  </a:cubicBezTo>
                  <a:cubicBezTo>
                    <a:pt x="32" y="231"/>
                    <a:pt x="31" y="232"/>
                    <a:pt x="29" y="232"/>
                  </a:cubicBezTo>
                  <a:cubicBezTo>
                    <a:pt x="4" y="232"/>
                    <a:pt x="4" y="232"/>
                    <a:pt x="4" y="232"/>
                  </a:cubicBezTo>
                  <a:cubicBezTo>
                    <a:pt x="1" y="232"/>
                    <a:pt x="0" y="231"/>
                    <a:pt x="0" y="229"/>
                  </a:cubicBezTo>
                  <a:cubicBezTo>
                    <a:pt x="0" y="3"/>
                    <a:pt x="0" y="3"/>
                    <a:pt x="0" y="3"/>
                  </a:cubicBezTo>
                  <a:cubicBezTo>
                    <a:pt x="0" y="1"/>
                    <a:pt x="1" y="0"/>
                    <a:pt x="4" y="0"/>
                  </a:cubicBezTo>
                  <a:cubicBezTo>
                    <a:pt x="93" y="0"/>
                    <a:pt x="93" y="0"/>
                    <a:pt x="93" y="0"/>
                  </a:cubicBezTo>
                  <a:cubicBezTo>
                    <a:pt x="106" y="0"/>
                    <a:pt x="118" y="2"/>
                    <a:pt x="129" y="8"/>
                  </a:cubicBezTo>
                  <a:moveTo>
                    <a:pt x="118" y="96"/>
                  </a:moveTo>
                  <a:cubicBezTo>
                    <a:pt x="125" y="89"/>
                    <a:pt x="129" y="79"/>
                    <a:pt x="129" y="67"/>
                  </a:cubicBezTo>
                  <a:cubicBezTo>
                    <a:pt x="129" y="55"/>
                    <a:pt x="125" y="46"/>
                    <a:pt x="118" y="38"/>
                  </a:cubicBezTo>
                  <a:cubicBezTo>
                    <a:pt x="111" y="31"/>
                    <a:pt x="101" y="27"/>
                    <a:pt x="89" y="27"/>
                  </a:cubicBezTo>
                  <a:cubicBezTo>
                    <a:pt x="33" y="27"/>
                    <a:pt x="33" y="27"/>
                    <a:pt x="33" y="27"/>
                  </a:cubicBezTo>
                  <a:cubicBezTo>
                    <a:pt x="32" y="27"/>
                    <a:pt x="32" y="28"/>
                    <a:pt x="32" y="28"/>
                  </a:cubicBezTo>
                  <a:cubicBezTo>
                    <a:pt x="32" y="106"/>
                    <a:pt x="32" y="106"/>
                    <a:pt x="32" y="106"/>
                  </a:cubicBezTo>
                  <a:cubicBezTo>
                    <a:pt x="32" y="107"/>
                    <a:pt x="33" y="107"/>
                    <a:pt x="33" y="107"/>
                  </a:cubicBezTo>
                  <a:cubicBezTo>
                    <a:pt x="89" y="107"/>
                    <a:pt x="89" y="107"/>
                    <a:pt x="89" y="107"/>
                  </a:cubicBezTo>
                  <a:cubicBezTo>
                    <a:pt x="101" y="107"/>
                    <a:pt x="111" y="104"/>
                    <a:pt x="118" y="96"/>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2" name="Freeform 41">
              <a:extLst>
                <a:ext uri="{FF2B5EF4-FFF2-40B4-BE49-F238E27FC236}">
                  <a16:creationId xmlns:a16="http://schemas.microsoft.com/office/drawing/2014/main" id="{45EC7DEE-88EE-3A49-545D-3E6555FBF892}"/>
                </a:ext>
              </a:extLst>
            </p:cNvPr>
            <p:cNvSpPr>
              <a:spLocks noEditPoints="1"/>
            </p:cNvSpPr>
            <p:nvPr userDrawn="1"/>
          </p:nvSpPr>
          <p:spPr bwMode="auto">
            <a:xfrm>
              <a:off x="6681" y="2962"/>
              <a:ext cx="59" cy="72"/>
            </a:xfrm>
            <a:custGeom>
              <a:avLst/>
              <a:gdLst>
                <a:gd name="T0" fmla="*/ 154 w 188"/>
                <a:gd name="T1" fmla="*/ 229 h 232"/>
                <a:gd name="T2" fmla="*/ 142 w 188"/>
                <a:gd name="T3" fmla="*/ 190 h 232"/>
                <a:gd name="T4" fmla="*/ 140 w 188"/>
                <a:gd name="T5" fmla="*/ 189 h 232"/>
                <a:gd name="T6" fmla="*/ 47 w 188"/>
                <a:gd name="T7" fmla="*/ 189 h 232"/>
                <a:gd name="T8" fmla="*/ 46 w 188"/>
                <a:gd name="T9" fmla="*/ 190 h 232"/>
                <a:gd name="T10" fmla="*/ 34 w 188"/>
                <a:gd name="T11" fmla="*/ 229 h 232"/>
                <a:gd name="T12" fmla="*/ 30 w 188"/>
                <a:gd name="T13" fmla="*/ 232 h 232"/>
                <a:gd name="T14" fmla="*/ 3 w 188"/>
                <a:gd name="T15" fmla="*/ 232 h 232"/>
                <a:gd name="T16" fmla="*/ 0 w 188"/>
                <a:gd name="T17" fmla="*/ 228 h 232"/>
                <a:gd name="T18" fmla="*/ 73 w 188"/>
                <a:gd name="T19" fmla="*/ 2 h 232"/>
                <a:gd name="T20" fmla="*/ 77 w 188"/>
                <a:gd name="T21" fmla="*/ 0 h 232"/>
                <a:gd name="T22" fmla="*/ 110 w 188"/>
                <a:gd name="T23" fmla="*/ 0 h 232"/>
                <a:gd name="T24" fmla="*/ 114 w 188"/>
                <a:gd name="T25" fmla="*/ 2 h 232"/>
                <a:gd name="T26" fmla="*/ 187 w 188"/>
                <a:gd name="T27" fmla="*/ 228 h 232"/>
                <a:gd name="T28" fmla="*/ 188 w 188"/>
                <a:gd name="T29" fmla="*/ 229 h 232"/>
                <a:gd name="T30" fmla="*/ 185 w 188"/>
                <a:gd name="T31" fmla="*/ 232 h 232"/>
                <a:gd name="T32" fmla="*/ 158 w 188"/>
                <a:gd name="T33" fmla="*/ 232 h 232"/>
                <a:gd name="T34" fmla="*/ 154 w 188"/>
                <a:gd name="T35" fmla="*/ 229 h 232"/>
                <a:gd name="T36" fmla="*/ 55 w 188"/>
                <a:gd name="T37" fmla="*/ 164 h 232"/>
                <a:gd name="T38" fmla="*/ 56 w 188"/>
                <a:gd name="T39" fmla="*/ 164 h 232"/>
                <a:gd name="T40" fmla="*/ 132 w 188"/>
                <a:gd name="T41" fmla="*/ 164 h 232"/>
                <a:gd name="T42" fmla="*/ 133 w 188"/>
                <a:gd name="T43" fmla="*/ 164 h 232"/>
                <a:gd name="T44" fmla="*/ 133 w 188"/>
                <a:gd name="T45" fmla="*/ 162 h 232"/>
                <a:gd name="T46" fmla="*/ 94 w 188"/>
                <a:gd name="T47" fmla="*/ 40 h 232"/>
                <a:gd name="T48" fmla="*/ 93 w 188"/>
                <a:gd name="T49" fmla="*/ 39 h 232"/>
                <a:gd name="T50" fmla="*/ 92 w 188"/>
                <a:gd name="T51" fmla="*/ 40 h 232"/>
                <a:gd name="T52" fmla="*/ 54 w 188"/>
                <a:gd name="T53" fmla="*/ 163 h 232"/>
                <a:gd name="T54" fmla="*/ 55 w 188"/>
                <a:gd name="T55" fmla="*/ 164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88" h="232">
                  <a:moveTo>
                    <a:pt x="154" y="229"/>
                  </a:moveTo>
                  <a:cubicBezTo>
                    <a:pt x="142" y="190"/>
                    <a:pt x="142" y="190"/>
                    <a:pt x="142" y="190"/>
                  </a:cubicBezTo>
                  <a:cubicBezTo>
                    <a:pt x="142" y="190"/>
                    <a:pt x="141" y="189"/>
                    <a:pt x="140" y="189"/>
                  </a:cubicBezTo>
                  <a:cubicBezTo>
                    <a:pt x="47" y="189"/>
                    <a:pt x="47" y="189"/>
                    <a:pt x="47" y="189"/>
                  </a:cubicBezTo>
                  <a:cubicBezTo>
                    <a:pt x="46" y="189"/>
                    <a:pt x="46" y="190"/>
                    <a:pt x="46" y="190"/>
                  </a:cubicBezTo>
                  <a:cubicBezTo>
                    <a:pt x="34" y="229"/>
                    <a:pt x="34" y="229"/>
                    <a:pt x="34" y="229"/>
                  </a:cubicBezTo>
                  <a:cubicBezTo>
                    <a:pt x="33" y="231"/>
                    <a:pt x="32" y="232"/>
                    <a:pt x="30" y="232"/>
                  </a:cubicBezTo>
                  <a:cubicBezTo>
                    <a:pt x="3" y="232"/>
                    <a:pt x="3" y="232"/>
                    <a:pt x="3" y="232"/>
                  </a:cubicBezTo>
                  <a:cubicBezTo>
                    <a:pt x="1" y="232"/>
                    <a:pt x="0" y="231"/>
                    <a:pt x="0" y="228"/>
                  </a:cubicBezTo>
                  <a:cubicBezTo>
                    <a:pt x="73" y="2"/>
                    <a:pt x="73" y="2"/>
                    <a:pt x="73" y="2"/>
                  </a:cubicBezTo>
                  <a:cubicBezTo>
                    <a:pt x="73" y="1"/>
                    <a:pt x="75" y="0"/>
                    <a:pt x="77" y="0"/>
                  </a:cubicBezTo>
                  <a:cubicBezTo>
                    <a:pt x="110" y="0"/>
                    <a:pt x="110" y="0"/>
                    <a:pt x="110" y="0"/>
                  </a:cubicBezTo>
                  <a:cubicBezTo>
                    <a:pt x="112" y="0"/>
                    <a:pt x="114" y="1"/>
                    <a:pt x="114" y="2"/>
                  </a:cubicBezTo>
                  <a:cubicBezTo>
                    <a:pt x="187" y="228"/>
                    <a:pt x="187" y="228"/>
                    <a:pt x="187" y="228"/>
                  </a:cubicBezTo>
                  <a:cubicBezTo>
                    <a:pt x="188" y="229"/>
                    <a:pt x="188" y="229"/>
                    <a:pt x="188" y="229"/>
                  </a:cubicBezTo>
                  <a:cubicBezTo>
                    <a:pt x="188" y="231"/>
                    <a:pt x="187" y="232"/>
                    <a:pt x="185" y="232"/>
                  </a:cubicBezTo>
                  <a:cubicBezTo>
                    <a:pt x="158" y="232"/>
                    <a:pt x="158" y="232"/>
                    <a:pt x="158" y="232"/>
                  </a:cubicBezTo>
                  <a:cubicBezTo>
                    <a:pt x="156" y="232"/>
                    <a:pt x="154" y="231"/>
                    <a:pt x="154" y="229"/>
                  </a:cubicBezTo>
                  <a:moveTo>
                    <a:pt x="55" y="164"/>
                  </a:moveTo>
                  <a:cubicBezTo>
                    <a:pt x="55" y="164"/>
                    <a:pt x="55" y="164"/>
                    <a:pt x="56" y="164"/>
                  </a:cubicBezTo>
                  <a:cubicBezTo>
                    <a:pt x="132" y="164"/>
                    <a:pt x="132" y="164"/>
                    <a:pt x="132" y="164"/>
                  </a:cubicBezTo>
                  <a:cubicBezTo>
                    <a:pt x="132" y="164"/>
                    <a:pt x="133" y="164"/>
                    <a:pt x="133" y="164"/>
                  </a:cubicBezTo>
                  <a:cubicBezTo>
                    <a:pt x="133" y="163"/>
                    <a:pt x="133" y="163"/>
                    <a:pt x="133" y="162"/>
                  </a:cubicBezTo>
                  <a:cubicBezTo>
                    <a:pt x="94" y="40"/>
                    <a:pt x="94" y="40"/>
                    <a:pt x="94" y="40"/>
                  </a:cubicBezTo>
                  <a:cubicBezTo>
                    <a:pt x="94" y="39"/>
                    <a:pt x="94" y="39"/>
                    <a:pt x="93" y="39"/>
                  </a:cubicBezTo>
                  <a:cubicBezTo>
                    <a:pt x="93" y="39"/>
                    <a:pt x="93" y="39"/>
                    <a:pt x="92" y="40"/>
                  </a:cubicBezTo>
                  <a:cubicBezTo>
                    <a:pt x="54" y="163"/>
                    <a:pt x="54" y="163"/>
                    <a:pt x="54" y="163"/>
                  </a:cubicBezTo>
                  <a:cubicBezTo>
                    <a:pt x="54" y="163"/>
                    <a:pt x="54" y="163"/>
                    <a:pt x="55" y="164"/>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3" name="Freeform 42">
              <a:extLst>
                <a:ext uri="{FF2B5EF4-FFF2-40B4-BE49-F238E27FC236}">
                  <a16:creationId xmlns:a16="http://schemas.microsoft.com/office/drawing/2014/main" id="{EFF73B99-6F31-93CC-29B1-0A63C7668F86}"/>
                </a:ext>
              </a:extLst>
            </p:cNvPr>
            <p:cNvSpPr>
              <a:spLocks/>
            </p:cNvSpPr>
            <p:nvPr userDrawn="1"/>
          </p:nvSpPr>
          <p:spPr bwMode="auto">
            <a:xfrm>
              <a:off x="6750" y="2962"/>
              <a:ext cx="52" cy="72"/>
            </a:xfrm>
            <a:custGeom>
              <a:avLst/>
              <a:gdLst>
                <a:gd name="T0" fmla="*/ 140 w 168"/>
                <a:gd name="T1" fmla="*/ 0 h 232"/>
                <a:gd name="T2" fmla="*/ 165 w 168"/>
                <a:gd name="T3" fmla="*/ 0 h 232"/>
                <a:gd name="T4" fmla="*/ 168 w 168"/>
                <a:gd name="T5" fmla="*/ 3 h 232"/>
                <a:gd name="T6" fmla="*/ 168 w 168"/>
                <a:gd name="T7" fmla="*/ 228 h 232"/>
                <a:gd name="T8" fmla="*/ 165 w 168"/>
                <a:gd name="T9" fmla="*/ 232 h 232"/>
                <a:gd name="T10" fmla="*/ 141 w 168"/>
                <a:gd name="T11" fmla="*/ 232 h 232"/>
                <a:gd name="T12" fmla="*/ 137 w 168"/>
                <a:gd name="T13" fmla="*/ 229 h 232"/>
                <a:gd name="T14" fmla="*/ 33 w 168"/>
                <a:gd name="T15" fmla="*/ 60 h 232"/>
                <a:gd name="T16" fmla="*/ 32 w 168"/>
                <a:gd name="T17" fmla="*/ 59 h 232"/>
                <a:gd name="T18" fmla="*/ 31 w 168"/>
                <a:gd name="T19" fmla="*/ 60 h 232"/>
                <a:gd name="T20" fmla="*/ 32 w 168"/>
                <a:gd name="T21" fmla="*/ 228 h 232"/>
                <a:gd name="T22" fmla="*/ 28 w 168"/>
                <a:gd name="T23" fmla="*/ 232 h 232"/>
                <a:gd name="T24" fmla="*/ 3 w 168"/>
                <a:gd name="T25" fmla="*/ 232 h 232"/>
                <a:gd name="T26" fmla="*/ 0 w 168"/>
                <a:gd name="T27" fmla="*/ 228 h 232"/>
                <a:gd name="T28" fmla="*/ 0 w 168"/>
                <a:gd name="T29" fmla="*/ 3 h 232"/>
                <a:gd name="T30" fmla="*/ 3 w 168"/>
                <a:gd name="T31" fmla="*/ 0 h 232"/>
                <a:gd name="T32" fmla="*/ 28 w 168"/>
                <a:gd name="T33" fmla="*/ 0 h 232"/>
                <a:gd name="T34" fmla="*/ 32 w 168"/>
                <a:gd name="T35" fmla="*/ 2 h 232"/>
                <a:gd name="T36" fmla="*/ 135 w 168"/>
                <a:gd name="T37" fmla="*/ 171 h 232"/>
                <a:gd name="T38" fmla="*/ 136 w 168"/>
                <a:gd name="T39" fmla="*/ 172 h 232"/>
                <a:gd name="T40" fmla="*/ 137 w 168"/>
                <a:gd name="T41" fmla="*/ 171 h 232"/>
                <a:gd name="T42" fmla="*/ 136 w 168"/>
                <a:gd name="T43" fmla="*/ 3 h 232"/>
                <a:gd name="T44" fmla="*/ 140 w 168"/>
                <a:gd name="T45" fmla="*/ 0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8" h="232">
                  <a:moveTo>
                    <a:pt x="140" y="0"/>
                  </a:moveTo>
                  <a:cubicBezTo>
                    <a:pt x="165" y="0"/>
                    <a:pt x="165" y="0"/>
                    <a:pt x="165" y="0"/>
                  </a:cubicBezTo>
                  <a:cubicBezTo>
                    <a:pt x="167" y="0"/>
                    <a:pt x="168" y="1"/>
                    <a:pt x="168" y="3"/>
                  </a:cubicBezTo>
                  <a:cubicBezTo>
                    <a:pt x="168" y="228"/>
                    <a:pt x="168" y="228"/>
                    <a:pt x="168" y="228"/>
                  </a:cubicBezTo>
                  <a:cubicBezTo>
                    <a:pt x="168" y="230"/>
                    <a:pt x="167" y="232"/>
                    <a:pt x="165" y="232"/>
                  </a:cubicBezTo>
                  <a:cubicBezTo>
                    <a:pt x="141" y="232"/>
                    <a:pt x="141" y="232"/>
                    <a:pt x="141" y="232"/>
                  </a:cubicBezTo>
                  <a:cubicBezTo>
                    <a:pt x="139" y="232"/>
                    <a:pt x="138" y="231"/>
                    <a:pt x="137" y="229"/>
                  </a:cubicBezTo>
                  <a:cubicBezTo>
                    <a:pt x="33" y="60"/>
                    <a:pt x="33" y="60"/>
                    <a:pt x="33" y="60"/>
                  </a:cubicBezTo>
                  <a:cubicBezTo>
                    <a:pt x="33" y="59"/>
                    <a:pt x="32" y="59"/>
                    <a:pt x="32" y="59"/>
                  </a:cubicBezTo>
                  <a:cubicBezTo>
                    <a:pt x="32" y="59"/>
                    <a:pt x="31" y="60"/>
                    <a:pt x="31" y="60"/>
                  </a:cubicBezTo>
                  <a:cubicBezTo>
                    <a:pt x="32" y="228"/>
                    <a:pt x="32" y="228"/>
                    <a:pt x="32" y="228"/>
                  </a:cubicBezTo>
                  <a:cubicBezTo>
                    <a:pt x="32" y="231"/>
                    <a:pt x="31" y="232"/>
                    <a:pt x="28" y="232"/>
                  </a:cubicBezTo>
                  <a:cubicBezTo>
                    <a:pt x="3" y="232"/>
                    <a:pt x="3" y="232"/>
                    <a:pt x="3" y="232"/>
                  </a:cubicBezTo>
                  <a:cubicBezTo>
                    <a:pt x="1" y="232"/>
                    <a:pt x="0" y="231"/>
                    <a:pt x="0" y="228"/>
                  </a:cubicBezTo>
                  <a:cubicBezTo>
                    <a:pt x="0" y="3"/>
                    <a:pt x="0" y="3"/>
                    <a:pt x="0" y="3"/>
                  </a:cubicBezTo>
                  <a:cubicBezTo>
                    <a:pt x="0" y="1"/>
                    <a:pt x="1" y="0"/>
                    <a:pt x="3" y="0"/>
                  </a:cubicBezTo>
                  <a:cubicBezTo>
                    <a:pt x="28" y="0"/>
                    <a:pt x="28" y="0"/>
                    <a:pt x="28" y="0"/>
                  </a:cubicBezTo>
                  <a:cubicBezTo>
                    <a:pt x="29" y="0"/>
                    <a:pt x="31" y="1"/>
                    <a:pt x="32" y="2"/>
                  </a:cubicBezTo>
                  <a:cubicBezTo>
                    <a:pt x="135" y="171"/>
                    <a:pt x="135" y="171"/>
                    <a:pt x="135" y="171"/>
                  </a:cubicBezTo>
                  <a:cubicBezTo>
                    <a:pt x="135" y="172"/>
                    <a:pt x="136" y="172"/>
                    <a:pt x="136" y="172"/>
                  </a:cubicBezTo>
                  <a:cubicBezTo>
                    <a:pt x="137" y="172"/>
                    <a:pt x="137" y="172"/>
                    <a:pt x="137" y="171"/>
                  </a:cubicBezTo>
                  <a:cubicBezTo>
                    <a:pt x="136" y="3"/>
                    <a:pt x="136" y="3"/>
                    <a:pt x="136" y="3"/>
                  </a:cubicBezTo>
                  <a:cubicBezTo>
                    <a:pt x="136" y="1"/>
                    <a:pt x="137" y="0"/>
                    <a:pt x="140" y="0"/>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4" name="Freeform 43">
              <a:extLst>
                <a:ext uri="{FF2B5EF4-FFF2-40B4-BE49-F238E27FC236}">
                  <a16:creationId xmlns:a16="http://schemas.microsoft.com/office/drawing/2014/main" id="{89987540-3CF6-C61F-58BC-5DB5A197AE0E}"/>
                </a:ext>
              </a:extLst>
            </p:cNvPr>
            <p:cNvSpPr>
              <a:spLocks/>
            </p:cNvSpPr>
            <p:nvPr userDrawn="1"/>
          </p:nvSpPr>
          <p:spPr bwMode="auto">
            <a:xfrm>
              <a:off x="6819" y="2962"/>
              <a:ext cx="9" cy="72"/>
            </a:xfrm>
            <a:custGeom>
              <a:avLst/>
              <a:gdLst>
                <a:gd name="T0" fmla="*/ 3 w 32"/>
                <a:gd name="T1" fmla="*/ 0 h 232"/>
                <a:gd name="T2" fmla="*/ 29 w 32"/>
                <a:gd name="T3" fmla="*/ 0 h 232"/>
                <a:gd name="T4" fmla="*/ 32 w 32"/>
                <a:gd name="T5" fmla="*/ 3 h 232"/>
                <a:gd name="T6" fmla="*/ 32 w 32"/>
                <a:gd name="T7" fmla="*/ 228 h 232"/>
                <a:gd name="T8" fmla="*/ 29 w 32"/>
                <a:gd name="T9" fmla="*/ 232 h 232"/>
                <a:gd name="T10" fmla="*/ 4 w 32"/>
                <a:gd name="T11" fmla="*/ 232 h 232"/>
                <a:gd name="T12" fmla="*/ 0 w 32"/>
                <a:gd name="T13" fmla="*/ 228 h 232"/>
                <a:gd name="T14" fmla="*/ 0 w 32"/>
                <a:gd name="T15" fmla="*/ 3 h 232"/>
                <a:gd name="T16" fmla="*/ 3 w 32"/>
                <a:gd name="T17" fmla="*/ 0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232">
                  <a:moveTo>
                    <a:pt x="3" y="0"/>
                  </a:moveTo>
                  <a:cubicBezTo>
                    <a:pt x="29" y="0"/>
                    <a:pt x="29" y="0"/>
                    <a:pt x="29" y="0"/>
                  </a:cubicBezTo>
                  <a:cubicBezTo>
                    <a:pt x="31" y="0"/>
                    <a:pt x="32" y="1"/>
                    <a:pt x="32" y="3"/>
                  </a:cubicBezTo>
                  <a:cubicBezTo>
                    <a:pt x="32" y="228"/>
                    <a:pt x="32" y="228"/>
                    <a:pt x="32" y="228"/>
                  </a:cubicBezTo>
                  <a:cubicBezTo>
                    <a:pt x="32" y="230"/>
                    <a:pt x="31" y="232"/>
                    <a:pt x="29" y="232"/>
                  </a:cubicBezTo>
                  <a:cubicBezTo>
                    <a:pt x="4" y="232"/>
                    <a:pt x="4" y="232"/>
                    <a:pt x="4" y="232"/>
                  </a:cubicBezTo>
                  <a:cubicBezTo>
                    <a:pt x="1" y="232"/>
                    <a:pt x="0" y="230"/>
                    <a:pt x="0" y="228"/>
                  </a:cubicBezTo>
                  <a:cubicBezTo>
                    <a:pt x="0" y="3"/>
                    <a:pt x="0" y="3"/>
                    <a:pt x="0" y="3"/>
                  </a:cubicBezTo>
                  <a:cubicBezTo>
                    <a:pt x="0" y="1"/>
                    <a:pt x="1" y="0"/>
                    <a:pt x="3" y="0"/>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5" name="Freeform 44">
              <a:extLst>
                <a:ext uri="{FF2B5EF4-FFF2-40B4-BE49-F238E27FC236}">
                  <a16:creationId xmlns:a16="http://schemas.microsoft.com/office/drawing/2014/main" id="{ED976123-412A-98AD-6CB1-D1C67A61C642}"/>
                </a:ext>
              </a:extLst>
            </p:cNvPr>
            <p:cNvSpPr>
              <a:spLocks/>
            </p:cNvSpPr>
            <p:nvPr userDrawn="1"/>
          </p:nvSpPr>
          <p:spPr bwMode="auto">
            <a:xfrm>
              <a:off x="6845" y="2962"/>
              <a:ext cx="48" cy="72"/>
            </a:xfrm>
            <a:custGeom>
              <a:avLst/>
              <a:gdLst>
                <a:gd name="T0" fmla="*/ 150 w 154"/>
                <a:gd name="T1" fmla="*/ 27 h 231"/>
                <a:gd name="T2" fmla="*/ 33 w 154"/>
                <a:gd name="T3" fmla="*/ 27 h 231"/>
                <a:gd name="T4" fmla="*/ 32 w 154"/>
                <a:gd name="T5" fmla="*/ 28 h 231"/>
                <a:gd name="T6" fmla="*/ 32 w 154"/>
                <a:gd name="T7" fmla="*/ 100 h 231"/>
                <a:gd name="T8" fmla="*/ 33 w 154"/>
                <a:gd name="T9" fmla="*/ 101 h 231"/>
                <a:gd name="T10" fmla="*/ 114 w 154"/>
                <a:gd name="T11" fmla="*/ 101 h 231"/>
                <a:gd name="T12" fmla="*/ 117 w 154"/>
                <a:gd name="T13" fmla="*/ 104 h 231"/>
                <a:gd name="T14" fmla="*/ 117 w 154"/>
                <a:gd name="T15" fmla="*/ 125 h 231"/>
                <a:gd name="T16" fmla="*/ 114 w 154"/>
                <a:gd name="T17" fmla="*/ 128 h 231"/>
                <a:gd name="T18" fmla="*/ 33 w 154"/>
                <a:gd name="T19" fmla="*/ 128 h 231"/>
                <a:gd name="T20" fmla="*/ 32 w 154"/>
                <a:gd name="T21" fmla="*/ 130 h 231"/>
                <a:gd name="T22" fmla="*/ 32 w 154"/>
                <a:gd name="T23" fmla="*/ 203 h 231"/>
                <a:gd name="T24" fmla="*/ 33 w 154"/>
                <a:gd name="T25" fmla="*/ 204 h 231"/>
                <a:gd name="T26" fmla="*/ 150 w 154"/>
                <a:gd name="T27" fmla="*/ 204 h 231"/>
                <a:gd name="T28" fmla="*/ 154 w 154"/>
                <a:gd name="T29" fmla="*/ 207 h 231"/>
                <a:gd name="T30" fmla="*/ 154 w 154"/>
                <a:gd name="T31" fmla="*/ 228 h 231"/>
                <a:gd name="T32" fmla="*/ 150 w 154"/>
                <a:gd name="T33" fmla="*/ 231 h 231"/>
                <a:gd name="T34" fmla="*/ 3 w 154"/>
                <a:gd name="T35" fmla="*/ 231 h 231"/>
                <a:gd name="T36" fmla="*/ 0 w 154"/>
                <a:gd name="T37" fmla="*/ 228 h 231"/>
                <a:gd name="T38" fmla="*/ 0 w 154"/>
                <a:gd name="T39" fmla="*/ 3 h 231"/>
                <a:gd name="T40" fmla="*/ 3 w 154"/>
                <a:gd name="T41" fmla="*/ 0 h 231"/>
                <a:gd name="T42" fmla="*/ 150 w 154"/>
                <a:gd name="T43" fmla="*/ 0 h 231"/>
                <a:gd name="T44" fmla="*/ 154 w 154"/>
                <a:gd name="T45" fmla="*/ 3 h 231"/>
                <a:gd name="T46" fmla="*/ 154 w 154"/>
                <a:gd name="T47" fmla="*/ 24 h 231"/>
                <a:gd name="T48" fmla="*/ 150 w 154"/>
                <a:gd name="T49" fmla="*/ 27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231">
                  <a:moveTo>
                    <a:pt x="150" y="27"/>
                  </a:moveTo>
                  <a:cubicBezTo>
                    <a:pt x="33" y="27"/>
                    <a:pt x="33" y="27"/>
                    <a:pt x="33" y="27"/>
                  </a:cubicBezTo>
                  <a:cubicBezTo>
                    <a:pt x="32" y="27"/>
                    <a:pt x="32" y="28"/>
                    <a:pt x="32" y="28"/>
                  </a:cubicBezTo>
                  <a:cubicBezTo>
                    <a:pt x="32" y="100"/>
                    <a:pt x="32" y="100"/>
                    <a:pt x="32" y="100"/>
                  </a:cubicBezTo>
                  <a:cubicBezTo>
                    <a:pt x="32" y="101"/>
                    <a:pt x="32" y="101"/>
                    <a:pt x="33" y="101"/>
                  </a:cubicBezTo>
                  <a:cubicBezTo>
                    <a:pt x="114" y="101"/>
                    <a:pt x="114" y="101"/>
                    <a:pt x="114" y="101"/>
                  </a:cubicBezTo>
                  <a:cubicBezTo>
                    <a:pt x="116" y="101"/>
                    <a:pt x="117" y="102"/>
                    <a:pt x="117" y="104"/>
                  </a:cubicBezTo>
                  <a:cubicBezTo>
                    <a:pt x="117" y="125"/>
                    <a:pt x="117" y="125"/>
                    <a:pt x="117" y="125"/>
                  </a:cubicBezTo>
                  <a:cubicBezTo>
                    <a:pt x="117" y="127"/>
                    <a:pt x="116" y="128"/>
                    <a:pt x="114" y="128"/>
                  </a:cubicBezTo>
                  <a:cubicBezTo>
                    <a:pt x="33" y="128"/>
                    <a:pt x="33" y="128"/>
                    <a:pt x="33" y="128"/>
                  </a:cubicBezTo>
                  <a:cubicBezTo>
                    <a:pt x="32" y="128"/>
                    <a:pt x="32" y="129"/>
                    <a:pt x="32" y="130"/>
                  </a:cubicBezTo>
                  <a:cubicBezTo>
                    <a:pt x="32" y="203"/>
                    <a:pt x="32" y="203"/>
                    <a:pt x="32" y="203"/>
                  </a:cubicBezTo>
                  <a:cubicBezTo>
                    <a:pt x="32" y="204"/>
                    <a:pt x="32" y="204"/>
                    <a:pt x="33" y="204"/>
                  </a:cubicBezTo>
                  <a:cubicBezTo>
                    <a:pt x="150" y="204"/>
                    <a:pt x="150" y="204"/>
                    <a:pt x="150" y="204"/>
                  </a:cubicBezTo>
                  <a:cubicBezTo>
                    <a:pt x="153" y="204"/>
                    <a:pt x="154" y="205"/>
                    <a:pt x="154" y="207"/>
                  </a:cubicBezTo>
                  <a:cubicBezTo>
                    <a:pt x="154" y="228"/>
                    <a:pt x="154" y="228"/>
                    <a:pt x="154" y="228"/>
                  </a:cubicBezTo>
                  <a:cubicBezTo>
                    <a:pt x="154" y="230"/>
                    <a:pt x="153" y="231"/>
                    <a:pt x="150" y="231"/>
                  </a:cubicBezTo>
                  <a:cubicBezTo>
                    <a:pt x="3" y="231"/>
                    <a:pt x="3" y="231"/>
                    <a:pt x="3" y="231"/>
                  </a:cubicBezTo>
                  <a:cubicBezTo>
                    <a:pt x="1" y="231"/>
                    <a:pt x="0" y="230"/>
                    <a:pt x="0" y="228"/>
                  </a:cubicBezTo>
                  <a:cubicBezTo>
                    <a:pt x="0" y="3"/>
                    <a:pt x="0" y="3"/>
                    <a:pt x="0" y="3"/>
                  </a:cubicBezTo>
                  <a:cubicBezTo>
                    <a:pt x="0" y="1"/>
                    <a:pt x="1" y="0"/>
                    <a:pt x="3" y="0"/>
                  </a:cubicBezTo>
                  <a:cubicBezTo>
                    <a:pt x="150" y="0"/>
                    <a:pt x="150" y="0"/>
                    <a:pt x="150" y="0"/>
                  </a:cubicBezTo>
                  <a:cubicBezTo>
                    <a:pt x="153" y="0"/>
                    <a:pt x="154" y="1"/>
                    <a:pt x="154" y="3"/>
                  </a:cubicBezTo>
                  <a:cubicBezTo>
                    <a:pt x="154" y="24"/>
                    <a:pt x="154" y="24"/>
                    <a:pt x="154" y="24"/>
                  </a:cubicBezTo>
                  <a:cubicBezTo>
                    <a:pt x="154" y="26"/>
                    <a:pt x="153" y="27"/>
                    <a:pt x="150" y="27"/>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6" name="Freeform 45">
              <a:extLst>
                <a:ext uri="{FF2B5EF4-FFF2-40B4-BE49-F238E27FC236}">
                  <a16:creationId xmlns:a16="http://schemas.microsoft.com/office/drawing/2014/main" id="{1D2A41E9-0846-5D08-B741-D7872899598C}"/>
                </a:ext>
              </a:extLst>
            </p:cNvPr>
            <p:cNvSpPr>
              <a:spLocks/>
            </p:cNvSpPr>
            <p:nvPr userDrawn="1"/>
          </p:nvSpPr>
          <p:spPr bwMode="auto">
            <a:xfrm>
              <a:off x="6900" y="2961"/>
              <a:ext cx="51" cy="74"/>
            </a:xfrm>
            <a:custGeom>
              <a:avLst/>
              <a:gdLst>
                <a:gd name="T0" fmla="*/ 39 w 164"/>
                <a:gd name="T1" fmla="*/ 229 h 237"/>
                <a:gd name="T2" fmla="*/ 10 w 164"/>
                <a:gd name="T3" fmla="*/ 207 h 237"/>
                <a:gd name="T4" fmla="*/ 0 w 164"/>
                <a:gd name="T5" fmla="*/ 172 h 237"/>
                <a:gd name="T6" fmla="*/ 0 w 164"/>
                <a:gd name="T7" fmla="*/ 163 h 237"/>
                <a:gd name="T8" fmla="*/ 4 w 164"/>
                <a:gd name="T9" fmla="*/ 160 h 237"/>
                <a:gd name="T10" fmla="*/ 28 w 164"/>
                <a:gd name="T11" fmla="*/ 160 h 237"/>
                <a:gd name="T12" fmla="*/ 31 w 164"/>
                <a:gd name="T13" fmla="*/ 163 h 237"/>
                <a:gd name="T14" fmla="*/ 31 w 164"/>
                <a:gd name="T15" fmla="*/ 171 h 237"/>
                <a:gd name="T16" fmla="*/ 46 w 164"/>
                <a:gd name="T17" fmla="*/ 199 h 237"/>
                <a:gd name="T18" fmla="*/ 86 w 164"/>
                <a:gd name="T19" fmla="*/ 210 h 237"/>
                <a:gd name="T20" fmla="*/ 120 w 164"/>
                <a:gd name="T21" fmla="*/ 200 h 237"/>
                <a:gd name="T22" fmla="*/ 132 w 164"/>
                <a:gd name="T23" fmla="*/ 175 h 237"/>
                <a:gd name="T24" fmla="*/ 126 w 164"/>
                <a:gd name="T25" fmla="*/ 157 h 237"/>
                <a:gd name="T26" fmla="*/ 108 w 164"/>
                <a:gd name="T27" fmla="*/ 144 h 237"/>
                <a:gd name="T28" fmla="*/ 75 w 164"/>
                <a:gd name="T29" fmla="*/ 129 h 237"/>
                <a:gd name="T30" fmla="*/ 37 w 164"/>
                <a:gd name="T31" fmla="*/ 112 h 237"/>
                <a:gd name="T32" fmla="*/ 13 w 164"/>
                <a:gd name="T33" fmla="*/ 92 h 237"/>
                <a:gd name="T34" fmla="*/ 4 w 164"/>
                <a:gd name="T35" fmla="*/ 61 h 237"/>
                <a:gd name="T36" fmla="*/ 25 w 164"/>
                <a:gd name="T37" fmla="*/ 16 h 237"/>
                <a:gd name="T38" fmla="*/ 80 w 164"/>
                <a:gd name="T39" fmla="*/ 0 h 237"/>
                <a:gd name="T40" fmla="*/ 123 w 164"/>
                <a:gd name="T41" fmla="*/ 8 h 237"/>
                <a:gd name="T42" fmla="*/ 151 w 164"/>
                <a:gd name="T43" fmla="*/ 31 h 237"/>
                <a:gd name="T44" fmla="*/ 162 w 164"/>
                <a:gd name="T45" fmla="*/ 66 h 237"/>
                <a:gd name="T46" fmla="*/ 162 w 164"/>
                <a:gd name="T47" fmla="*/ 72 h 237"/>
                <a:gd name="T48" fmla="*/ 158 w 164"/>
                <a:gd name="T49" fmla="*/ 76 h 237"/>
                <a:gd name="T50" fmla="*/ 133 w 164"/>
                <a:gd name="T51" fmla="*/ 76 h 237"/>
                <a:gd name="T52" fmla="*/ 130 w 164"/>
                <a:gd name="T53" fmla="*/ 72 h 237"/>
                <a:gd name="T54" fmla="*/ 130 w 164"/>
                <a:gd name="T55" fmla="*/ 67 h 237"/>
                <a:gd name="T56" fmla="*/ 116 w 164"/>
                <a:gd name="T57" fmla="*/ 39 h 237"/>
                <a:gd name="T58" fmla="*/ 78 w 164"/>
                <a:gd name="T59" fmla="*/ 27 h 237"/>
                <a:gd name="T60" fmla="*/ 47 w 164"/>
                <a:gd name="T61" fmla="*/ 36 h 237"/>
                <a:gd name="T62" fmla="*/ 35 w 164"/>
                <a:gd name="T63" fmla="*/ 60 h 237"/>
                <a:gd name="T64" fmla="*/ 41 w 164"/>
                <a:gd name="T65" fmla="*/ 78 h 237"/>
                <a:gd name="T66" fmla="*/ 58 w 164"/>
                <a:gd name="T67" fmla="*/ 90 h 237"/>
                <a:gd name="T68" fmla="*/ 92 w 164"/>
                <a:gd name="T69" fmla="*/ 104 h 237"/>
                <a:gd name="T70" fmla="*/ 130 w 164"/>
                <a:gd name="T71" fmla="*/ 122 h 237"/>
                <a:gd name="T72" fmla="*/ 154 w 164"/>
                <a:gd name="T73" fmla="*/ 142 h 237"/>
                <a:gd name="T74" fmla="*/ 164 w 164"/>
                <a:gd name="T75" fmla="*/ 174 h 237"/>
                <a:gd name="T76" fmla="*/ 142 w 164"/>
                <a:gd name="T77" fmla="*/ 220 h 237"/>
                <a:gd name="T78" fmla="*/ 83 w 164"/>
                <a:gd name="T79" fmla="*/ 237 h 237"/>
                <a:gd name="T80" fmla="*/ 39 w 164"/>
                <a:gd name="T81" fmla="*/ 229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64" h="237">
                  <a:moveTo>
                    <a:pt x="39" y="229"/>
                  </a:moveTo>
                  <a:cubicBezTo>
                    <a:pt x="27" y="224"/>
                    <a:pt x="17" y="216"/>
                    <a:pt x="10" y="207"/>
                  </a:cubicBezTo>
                  <a:cubicBezTo>
                    <a:pt x="4" y="197"/>
                    <a:pt x="0" y="185"/>
                    <a:pt x="0" y="172"/>
                  </a:cubicBezTo>
                  <a:cubicBezTo>
                    <a:pt x="0" y="163"/>
                    <a:pt x="0" y="163"/>
                    <a:pt x="0" y="163"/>
                  </a:cubicBezTo>
                  <a:cubicBezTo>
                    <a:pt x="0" y="161"/>
                    <a:pt x="1" y="160"/>
                    <a:pt x="4" y="160"/>
                  </a:cubicBezTo>
                  <a:cubicBezTo>
                    <a:pt x="28" y="160"/>
                    <a:pt x="28" y="160"/>
                    <a:pt x="28" y="160"/>
                  </a:cubicBezTo>
                  <a:cubicBezTo>
                    <a:pt x="30" y="160"/>
                    <a:pt x="31" y="161"/>
                    <a:pt x="31" y="163"/>
                  </a:cubicBezTo>
                  <a:cubicBezTo>
                    <a:pt x="31" y="171"/>
                    <a:pt x="31" y="171"/>
                    <a:pt x="31" y="171"/>
                  </a:cubicBezTo>
                  <a:cubicBezTo>
                    <a:pt x="31" y="182"/>
                    <a:pt x="36" y="191"/>
                    <a:pt x="46" y="199"/>
                  </a:cubicBezTo>
                  <a:cubicBezTo>
                    <a:pt x="55" y="206"/>
                    <a:pt x="69" y="210"/>
                    <a:pt x="86" y="210"/>
                  </a:cubicBezTo>
                  <a:cubicBezTo>
                    <a:pt x="101" y="210"/>
                    <a:pt x="112" y="206"/>
                    <a:pt x="120" y="200"/>
                  </a:cubicBezTo>
                  <a:cubicBezTo>
                    <a:pt x="128" y="193"/>
                    <a:pt x="132" y="185"/>
                    <a:pt x="132" y="175"/>
                  </a:cubicBezTo>
                  <a:cubicBezTo>
                    <a:pt x="132" y="168"/>
                    <a:pt x="130" y="162"/>
                    <a:pt x="126" y="157"/>
                  </a:cubicBezTo>
                  <a:cubicBezTo>
                    <a:pt x="122" y="152"/>
                    <a:pt x="116" y="148"/>
                    <a:pt x="108" y="144"/>
                  </a:cubicBezTo>
                  <a:cubicBezTo>
                    <a:pt x="101" y="140"/>
                    <a:pt x="90" y="135"/>
                    <a:pt x="75" y="129"/>
                  </a:cubicBezTo>
                  <a:cubicBezTo>
                    <a:pt x="59" y="123"/>
                    <a:pt x="46" y="117"/>
                    <a:pt x="37" y="112"/>
                  </a:cubicBezTo>
                  <a:cubicBezTo>
                    <a:pt x="27" y="107"/>
                    <a:pt x="20" y="100"/>
                    <a:pt x="13" y="92"/>
                  </a:cubicBezTo>
                  <a:cubicBezTo>
                    <a:pt x="7" y="84"/>
                    <a:pt x="4" y="73"/>
                    <a:pt x="4" y="61"/>
                  </a:cubicBezTo>
                  <a:cubicBezTo>
                    <a:pt x="4" y="42"/>
                    <a:pt x="11" y="27"/>
                    <a:pt x="25" y="16"/>
                  </a:cubicBezTo>
                  <a:cubicBezTo>
                    <a:pt x="38" y="5"/>
                    <a:pt x="56" y="0"/>
                    <a:pt x="80" y="0"/>
                  </a:cubicBezTo>
                  <a:cubicBezTo>
                    <a:pt x="96" y="0"/>
                    <a:pt x="110" y="3"/>
                    <a:pt x="123" y="8"/>
                  </a:cubicBezTo>
                  <a:cubicBezTo>
                    <a:pt x="135" y="14"/>
                    <a:pt x="145" y="21"/>
                    <a:pt x="151" y="31"/>
                  </a:cubicBezTo>
                  <a:cubicBezTo>
                    <a:pt x="158" y="41"/>
                    <a:pt x="162" y="53"/>
                    <a:pt x="162" y="66"/>
                  </a:cubicBezTo>
                  <a:cubicBezTo>
                    <a:pt x="162" y="72"/>
                    <a:pt x="162" y="72"/>
                    <a:pt x="162" y="72"/>
                  </a:cubicBezTo>
                  <a:cubicBezTo>
                    <a:pt x="162" y="75"/>
                    <a:pt x="160" y="76"/>
                    <a:pt x="158" y="76"/>
                  </a:cubicBezTo>
                  <a:cubicBezTo>
                    <a:pt x="133" y="76"/>
                    <a:pt x="133" y="76"/>
                    <a:pt x="133" y="76"/>
                  </a:cubicBezTo>
                  <a:cubicBezTo>
                    <a:pt x="131" y="76"/>
                    <a:pt x="130" y="75"/>
                    <a:pt x="130" y="72"/>
                  </a:cubicBezTo>
                  <a:cubicBezTo>
                    <a:pt x="130" y="67"/>
                    <a:pt x="130" y="67"/>
                    <a:pt x="130" y="67"/>
                  </a:cubicBezTo>
                  <a:cubicBezTo>
                    <a:pt x="130" y="56"/>
                    <a:pt x="125" y="46"/>
                    <a:pt x="116" y="39"/>
                  </a:cubicBezTo>
                  <a:cubicBezTo>
                    <a:pt x="107" y="31"/>
                    <a:pt x="94" y="27"/>
                    <a:pt x="78" y="27"/>
                  </a:cubicBezTo>
                  <a:cubicBezTo>
                    <a:pt x="65" y="27"/>
                    <a:pt x="54" y="30"/>
                    <a:pt x="47" y="36"/>
                  </a:cubicBezTo>
                  <a:cubicBezTo>
                    <a:pt x="39" y="41"/>
                    <a:pt x="35" y="50"/>
                    <a:pt x="35" y="60"/>
                  </a:cubicBezTo>
                  <a:cubicBezTo>
                    <a:pt x="35" y="67"/>
                    <a:pt x="37" y="73"/>
                    <a:pt x="41" y="78"/>
                  </a:cubicBezTo>
                  <a:cubicBezTo>
                    <a:pt x="45" y="83"/>
                    <a:pt x="50" y="87"/>
                    <a:pt x="58" y="90"/>
                  </a:cubicBezTo>
                  <a:cubicBezTo>
                    <a:pt x="65" y="94"/>
                    <a:pt x="76" y="99"/>
                    <a:pt x="92" y="104"/>
                  </a:cubicBezTo>
                  <a:cubicBezTo>
                    <a:pt x="107" y="111"/>
                    <a:pt x="120" y="116"/>
                    <a:pt x="130" y="122"/>
                  </a:cubicBezTo>
                  <a:cubicBezTo>
                    <a:pt x="139" y="127"/>
                    <a:pt x="148" y="134"/>
                    <a:pt x="154" y="142"/>
                  </a:cubicBezTo>
                  <a:cubicBezTo>
                    <a:pt x="160" y="151"/>
                    <a:pt x="164" y="161"/>
                    <a:pt x="164" y="174"/>
                  </a:cubicBezTo>
                  <a:cubicBezTo>
                    <a:pt x="164" y="193"/>
                    <a:pt x="156" y="209"/>
                    <a:pt x="142" y="220"/>
                  </a:cubicBezTo>
                  <a:cubicBezTo>
                    <a:pt x="128" y="231"/>
                    <a:pt x="108" y="237"/>
                    <a:pt x="83" y="237"/>
                  </a:cubicBezTo>
                  <a:cubicBezTo>
                    <a:pt x="66" y="237"/>
                    <a:pt x="52" y="234"/>
                    <a:pt x="39" y="229"/>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7" name="Freeform 46">
              <a:extLst>
                <a:ext uri="{FF2B5EF4-FFF2-40B4-BE49-F238E27FC236}">
                  <a16:creationId xmlns:a16="http://schemas.microsoft.com/office/drawing/2014/main" id="{0BB94854-3470-9A38-3C5F-1FB2667609A7}"/>
                </a:ext>
              </a:extLst>
            </p:cNvPr>
            <p:cNvSpPr>
              <a:spLocks/>
            </p:cNvSpPr>
            <p:nvPr userDrawn="1"/>
          </p:nvSpPr>
          <p:spPr bwMode="auto">
            <a:xfrm>
              <a:off x="6980" y="2962"/>
              <a:ext cx="47" cy="72"/>
            </a:xfrm>
            <a:custGeom>
              <a:avLst/>
              <a:gdLst>
                <a:gd name="T0" fmla="*/ 51 w 150"/>
                <a:gd name="T1" fmla="*/ 113 h 230"/>
                <a:gd name="T2" fmla="*/ 1 w 150"/>
                <a:gd name="T3" fmla="*/ 12 h 230"/>
                <a:gd name="T4" fmla="*/ 0 w 150"/>
                <a:gd name="T5" fmla="*/ 7 h 230"/>
                <a:gd name="T6" fmla="*/ 8 w 150"/>
                <a:gd name="T7" fmla="*/ 0 h 230"/>
                <a:gd name="T8" fmla="*/ 89 w 150"/>
                <a:gd name="T9" fmla="*/ 0 h 230"/>
                <a:gd name="T10" fmla="*/ 100 w 150"/>
                <a:gd name="T11" fmla="*/ 7 h 230"/>
                <a:gd name="T12" fmla="*/ 149 w 150"/>
                <a:gd name="T13" fmla="*/ 108 h 230"/>
                <a:gd name="T14" fmla="*/ 150 w 150"/>
                <a:gd name="T15" fmla="*/ 115 h 230"/>
                <a:gd name="T16" fmla="*/ 149 w 150"/>
                <a:gd name="T17" fmla="*/ 121 h 230"/>
                <a:gd name="T18" fmla="*/ 100 w 150"/>
                <a:gd name="T19" fmla="*/ 222 h 230"/>
                <a:gd name="T20" fmla="*/ 89 w 150"/>
                <a:gd name="T21" fmla="*/ 230 h 230"/>
                <a:gd name="T22" fmla="*/ 8 w 150"/>
                <a:gd name="T23" fmla="*/ 230 h 230"/>
                <a:gd name="T24" fmla="*/ 0 w 150"/>
                <a:gd name="T25" fmla="*/ 223 h 230"/>
                <a:gd name="T26" fmla="*/ 1 w 150"/>
                <a:gd name="T27" fmla="*/ 218 h 230"/>
                <a:gd name="T28" fmla="*/ 51 w 150"/>
                <a:gd name="T29" fmla="*/ 117 h 230"/>
                <a:gd name="T30" fmla="*/ 51 w 150"/>
                <a:gd name="T31" fmla="*/ 113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50" h="230">
                  <a:moveTo>
                    <a:pt x="51" y="113"/>
                  </a:moveTo>
                  <a:cubicBezTo>
                    <a:pt x="1" y="12"/>
                    <a:pt x="1" y="12"/>
                    <a:pt x="1" y="12"/>
                  </a:cubicBezTo>
                  <a:cubicBezTo>
                    <a:pt x="0" y="7"/>
                    <a:pt x="0" y="7"/>
                    <a:pt x="0" y="7"/>
                  </a:cubicBezTo>
                  <a:cubicBezTo>
                    <a:pt x="0" y="2"/>
                    <a:pt x="3" y="0"/>
                    <a:pt x="8" y="0"/>
                  </a:cubicBezTo>
                  <a:cubicBezTo>
                    <a:pt x="89" y="0"/>
                    <a:pt x="89" y="0"/>
                    <a:pt x="89" y="0"/>
                  </a:cubicBezTo>
                  <a:cubicBezTo>
                    <a:pt x="94" y="0"/>
                    <a:pt x="98" y="2"/>
                    <a:pt x="100" y="7"/>
                  </a:cubicBezTo>
                  <a:cubicBezTo>
                    <a:pt x="149" y="108"/>
                    <a:pt x="149" y="108"/>
                    <a:pt x="149" y="108"/>
                  </a:cubicBezTo>
                  <a:cubicBezTo>
                    <a:pt x="150" y="110"/>
                    <a:pt x="150" y="112"/>
                    <a:pt x="150" y="115"/>
                  </a:cubicBezTo>
                  <a:cubicBezTo>
                    <a:pt x="150" y="117"/>
                    <a:pt x="150" y="120"/>
                    <a:pt x="149" y="121"/>
                  </a:cubicBezTo>
                  <a:cubicBezTo>
                    <a:pt x="100" y="222"/>
                    <a:pt x="100" y="222"/>
                    <a:pt x="100" y="222"/>
                  </a:cubicBezTo>
                  <a:cubicBezTo>
                    <a:pt x="98" y="227"/>
                    <a:pt x="94" y="230"/>
                    <a:pt x="89" y="230"/>
                  </a:cubicBezTo>
                  <a:cubicBezTo>
                    <a:pt x="8" y="230"/>
                    <a:pt x="8" y="230"/>
                    <a:pt x="8" y="230"/>
                  </a:cubicBezTo>
                  <a:cubicBezTo>
                    <a:pt x="3" y="230"/>
                    <a:pt x="0" y="227"/>
                    <a:pt x="0" y="223"/>
                  </a:cubicBezTo>
                  <a:cubicBezTo>
                    <a:pt x="1" y="218"/>
                    <a:pt x="1" y="218"/>
                    <a:pt x="1" y="218"/>
                  </a:cubicBezTo>
                  <a:cubicBezTo>
                    <a:pt x="51" y="117"/>
                    <a:pt x="51" y="117"/>
                    <a:pt x="51" y="117"/>
                  </a:cubicBezTo>
                  <a:cubicBezTo>
                    <a:pt x="52" y="116"/>
                    <a:pt x="52" y="114"/>
                    <a:pt x="51" y="113"/>
                  </a:cubicBezTo>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8" name="Freeform 47">
              <a:extLst>
                <a:ext uri="{FF2B5EF4-FFF2-40B4-BE49-F238E27FC236}">
                  <a16:creationId xmlns:a16="http://schemas.microsoft.com/office/drawing/2014/main" id="{DDE406C7-2858-642E-78AE-E6716A5F8C0F}"/>
                </a:ext>
              </a:extLst>
            </p:cNvPr>
            <p:cNvSpPr>
              <a:spLocks/>
            </p:cNvSpPr>
            <p:nvPr userDrawn="1"/>
          </p:nvSpPr>
          <p:spPr bwMode="auto">
            <a:xfrm>
              <a:off x="7027" y="2962"/>
              <a:ext cx="46" cy="72"/>
            </a:xfrm>
            <a:custGeom>
              <a:avLst/>
              <a:gdLst>
                <a:gd name="T0" fmla="*/ 51 w 150"/>
                <a:gd name="T1" fmla="*/ 113 h 230"/>
                <a:gd name="T2" fmla="*/ 1 w 150"/>
                <a:gd name="T3" fmla="*/ 12 h 230"/>
                <a:gd name="T4" fmla="*/ 0 w 150"/>
                <a:gd name="T5" fmla="*/ 7 h 230"/>
                <a:gd name="T6" fmla="*/ 8 w 150"/>
                <a:gd name="T7" fmla="*/ 0 h 230"/>
                <a:gd name="T8" fmla="*/ 89 w 150"/>
                <a:gd name="T9" fmla="*/ 0 h 230"/>
                <a:gd name="T10" fmla="*/ 100 w 150"/>
                <a:gd name="T11" fmla="*/ 7 h 230"/>
                <a:gd name="T12" fmla="*/ 149 w 150"/>
                <a:gd name="T13" fmla="*/ 108 h 230"/>
                <a:gd name="T14" fmla="*/ 150 w 150"/>
                <a:gd name="T15" fmla="*/ 115 h 230"/>
                <a:gd name="T16" fmla="*/ 149 w 150"/>
                <a:gd name="T17" fmla="*/ 121 h 230"/>
                <a:gd name="T18" fmla="*/ 100 w 150"/>
                <a:gd name="T19" fmla="*/ 222 h 230"/>
                <a:gd name="T20" fmla="*/ 89 w 150"/>
                <a:gd name="T21" fmla="*/ 230 h 230"/>
                <a:gd name="T22" fmla="*/ 8 w 150"/>
                <a:gd name="T23" fmla="*/ 230 h 230"/>
                <a:gd name="T24" fmla="*/ 0 w 150"/>
                <a:gd name="T25" fmla="*/ 223 h 230"/>
                <a:gd name="T26" fmla="*/ 1 w 150"/>
                <a:gd name="T27" fmla="*/ 218 h 230"/>
                <a:gd name="T28" fmla="*/ 51 w 150"/>
                <a:gd name="T29" fmla="*/ 117 h 230"/>
                <a:gd name="T30" fmla="*/ 51 w 150"/>
                <a:gd name="T31" fmla="*/ 113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50" h="230">
                  <a:moveTo>
                    <a:pt x="51" y="113"/>
                  </a:moveTo>
                  <a:cubicBezTo>
                    <a:pt x="1" y="12"/>
                    <a:pt x="1" y="12"/>
                    <a:pt x="1" y="12"/>
                  </a:cubicBezTo>
                  <a:cubicBezTo>
                    <a:pt x="0" y="7"/>
                    <a:pt x="0" y="7"/>
                    <a:pt x="0" y="7"/>
                  </a:cubicBezTo>
                  <a:cubicBezTo>
                    <a:pt x="0" y="2"/>
                    <a:pt x="3" y="0"/>
                    <a:pt x="8" y="0"/>
                  </a:cubicBezTo>
                  <a:cubicBezTo>
                    <a:pt x="89" y="0"/>
                    <a:pt x="89" y="0"/>
                    <a:pt x="89" y="0"/>
                  </a:cubicBezTo>
                  <a:cubicBezTo>
                    <a:pt x="94" y="0"/>
                    <a:pt x="98" y="2"/>
                    <a:pt x="100" y="7"/>
                  </a:cubicBezTo>
                  <a:cubicBezTo>
                    <a:pt x="149" y="108"/>
                    <a:pt x="149" y="108"/>
                    <a:pt x="149" y="108"/>
                  </a:cubicBezTo>
                  <a:cubicBezTo>
                    <a:pt x="150" y="110"/>
                    <a:pt x="150" y="112"/>
                    <a:pt x="150" y="115"/>
                  </a:cubicBezTo>
                  <a:cubicBezTo>
                    <a:pt x="150" y="117"/>
                    <a:pt x="150" y="120"/>
                    <a:pt x="149" y="121"/>
                  </a:cubicBezTo>
                  <a:cubicBezTo>
                    <a:pt x="100" y="222"/>
                    <a:pt x="100" y="222"/>
                    <a:pt x="100" y="222"/>
                  </a:cubicBezTo>
                  <a:cubicBezTo>
                    <a:pt x="98" y="227"/>
                    <a:pt x="94" y="230"/>
                    <a:pt x="89" y="230"/>
                  </a:cubicBezTo>
                  <a:cubicBezTo>
                    <a:pt x="8" y="230"/>
                    <a:pt x="8" y="230"/>
                    <a:pt x="8" y="230"/>
                  </a:cubicBezTo>
                  <a:cubicBezTo>
                    <a:pt x="3" y="230"/>
                    <a:pt x="0" y="227"/>
                    <a:pt x="0" y="223"/>
                  </a:cubicBezTo>
                  <a:cubicBezTo>
                    <a:pt x="1" y="218"/>
                    <a:pt x="1" y="218"/>
                    <a:pt x="1" y="218"/>
                  </a:cubicBezTo>
                  <a:cubicBezTo>
                    <a:pt x="51" y="117"/>
                    <a:pt x="51" y="117"/>
                    <a:pt x="51" y="117"/>
                  </a:cubicBezTo>
                  <a:cubicBezTo>
                    <a:pt x="52" y="116"/>
                    <a:pt x="52" y="114"/>
                    <a:pt x="51" y="113"/>
                  </a:cubicBezTo>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9" name="Freeform 48">
              <a:extLst>
                <a:ext uri="{FF2B5EF4-FFF2-40B4-BE49-F238E27FC236}">
                  <a16:creationId xmlns:a16="http://schemas.microsoft.com/office/drawing/2014/main" id="{169471E2-3BE1-694A-9189-6363831CC461}"/>
                </a:ext>
              </a:extLst>
            </p:cNvPr>
            <p:cNvSpPr>
              <a:spLocks/>
            </p:cNvSpPr>
            <p:nvPr userDrawn="1"/>
          </p:nvSpPr>
          <p:spPr bwMode="auto">
            <a:xfrm>
              <a:off x="6291" y="2858"/>
              <a:ext cx="111" cy="176"/>
            </a:xfrm>
            <a:custGeom>
              <a:avLst/>
              <a:gdLst>
                <a:gd name="T0" fmla="*/ 174 w 355"/>
                <a:gd name="T1" fmla="*/ 141 h 564"/>
                <a:gd name="T2" fmla="*/ 161 w 355"/>
                <a:gd name="T3" fmla="*/ 179 h 564"/>
                <a:gd name="T4" fmla="*/ 284 w 355"/>
                <a:gd name="T5" fmla="*/ 277 h 564"/>
                <a:gd name="T6" fmla="*/ 355 w 355"/>
                <a:gd name="T7" fmla="*/ 422 h 564"/>
                <a:gd name="T8" fmla="*/ 314 w 355"/>
                <a:gd name="T9" fmla="*/ 522 h 564"/>
                <a:gd name="T10" fmla="*/ 214 w 355"/>
                <a:gd name="T11" fmla="*/ 564 h 564"/>
                <a:gd name="T12" fmla="*/ 7 w 355"/>
                <a:gd name="T13" fmla="*/ 564 h 564"/>
                <a:gd name="T14" fmla="*/ 0 w 355"/>
                <a:gd name="T15" fmla="*/ 557 h 564"/>
                <a:gd name="T16" fmla="*/ 0 w 355"/>
                <a:gd name="T17" fmla="*/ 429 h 564"/>
                <a:gd name="T18" fmla="*/ 7 w 355"/>
                <a:gd name="T19" fmla="*/ 422 h 564"/>
                <a:gd name="T20" fmla="*/ 181 w 355"/>
                <a:gd name="T21" fmla="*/ 422 h 564"/>
                <a:gd name="T22" fmla="*/ 194 w 355"/>
                <a:gd name="T23" fmla="*/ 385 h 564"/>
                <a:gd name="T24" fmla="*/ 70 w 355"/>
                <a:gd name="T25" fmla="*/ 287 h 564"/>
                <a:gd name="T26" fmla="*/ 0 w 355"/>
                <a:gd name="T27" fmla="*/ 141 h 564"/>
                <a:gd name="T28" fmla="*/ 141 w 355"/>
                <a:gd name="T29" fmla="*/ 0 h 564"/>
                <a:gd name="T30" fmla="*/ 320 w 355"/>
                <a:gd name="T31" fmla="*/ 0 h 564"/>
                <a:gd name="T32" fmla="*/ 334 w 355"/>
                <a:gd name="T33" fmla="*/ 14 h 564"/>
                <a:gd name="T34" fmla="*/ 334 w 355"/>
                <a:gd name="T35" fmla="*/ 127 h 564"/>
                <a:gd name="T36" fmla="*/ 320 w 355"/>
                <a:gd name="T37" fmla="*/ 141 h 564"/>
                <a:gd name="T38" fmla="*/ 174 w 355"/>
                <a:gd name="T39" fmla="*/ 141 h 5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55" h="564">
                  <a:moveTo>
                    <a:pt x="174" y="141"/>
                  </a:moveTo>
                  <a:cubicBezTo>
                    <a:pt x="154" y="141"/>
                    <a:pt x="145" y="166"/>
                    <a:pt x="161" y="179"/>
                  </a:cubicBezTo>
                  <a:cubicBezTo>
                    <a:pt x="284" y="277"/>
                    <a:pt x="284" y="277"/>
                    <a:pt x="284" y="277"/>
                  </a:cubicBezTo>
                  <a:cubicBezTo>
                    <a:pt x="329" y="312"/>
                    <a:pt x="355" y="366"/>
                    <a:pt x="355" y="422"/>
                  </a:cubicBezTo>
                  <a:cubicBezTo>
                    <a:pt x="355" y="461"/>
                    <a:pt x="339" y="497"/>
                    <a:pt x="314" y="522"/>
                  </a:cubicBezTo>
                  <a:cubicBezTo>
                    <a:pt x="288" y="548"/>
                    <a:pt x="253" y="564"/>
                    <a:pt x="214" y="564"/>
                  </a:cubicBezTo>
                  <a:cubicBezTo>
                    <a:pt x="7" y="564"/>
                    <a:pt x="7" y="564"/>
                    <a:pt x="7" y="564"/>
                  </a:cubicBezTo>
                  <a:cubicBezTo>
                    <a:pt x="3" y="564"/>
                    <a:pt x="0" y="560"/>
                    <a:pt x="0" y="557"/>
                  </a:cubicBezTo>
                  <a:cubicBezTo>
                    <a:pt x="0" y="429"/>
                    <a:pt x="0" y="429"/>
                    <a:pt x="0" y="429"/>
                  </a:cubicBezTo>
                  <a:cubicBezTo>
                    <a:pt x="0" y="426"/>
                    <a:pt x="3" y="422"/>
                    <a:pt x="7" y="422"/>
                  </a:cubicBezTo>
                  <a:cubicBezTo>
                    <a:pt x="181" y="422"/>
                    <a:pt x="181" y="422"/>
                    <a:pt x="181" y="422"/>
                  </a:cubicBezTo>
                  <a:cubicBezTo>
                    <a:pt x="201" y="422"/>
                    <a:pt x="210" y="397"/>
                    <a:pt x="194" y="385"/>
                  </a:cubicBezTo>
                  <a:cubicBezTo>
                    <a:pt x="70" y="287"/>
                    <a:pt x="70" y="287"/>
                    <a:pt x="70" y="287"/>
                  </a:cubicBezTo>
                  <a:cubicBezTo>
                    <a:pt x="25" y="251"/>
                    <a:pt x="0" y="198"/>
                    <a:pt x="0" y="141"/>
                  </a:cubicBezTo>
                  <a:cubicBezTo>
                    <a:pt x="0" y="63"/>
                    <a:pt x="63" y="0"/>
                    <a:pt x="141" y="0"/>
                  </a:cubicBezTo>
                  <a:cubicBezTo>
                    <a:pt x="320" y="0"/>
                    <a:pt x="320" y="0"/>
                    <a:pt x="320" y="0"/>
                  </a:cubicBezTo>
                  <a:cubicBezTo>
                    <a:pt x="327" y="0"/>
                    <a:pt x="334" y="6"/>
                    <a:pt x="334" y="14"/>
                  </a:cubicBezTo>
                  <a:cubicBezTo>
                    <a:pt x="334" y="127"/>
                    <a:pt x="334" y="127"/>
                    <a:pt x="334" y="127"/>
                  </a:cubicBezTo>
                  <a:cubicBezTo>
                    <a:pt x="334" y="135"/>
                    <a:pt x="327" y="141"/>
                    <a:pt x="320" y="141"/>
                  </a:cubicBezTo>
                  <a:lnTo>
                    <a:pt x="174" y="141"/>
                  </a:lnTo>
                  <a:close/>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60" name="Freeform 49">
              <a:extLst>
                <a:ext uri="{FF2B5EF4-FFF2-40B4-BE49-F238E27FC236}">
                  <a16:creationId xmlns:a16="http://schemas.microsoft.com/office/drawing/2014/main" id="{1544FE0D-8537-6550-8EF3-D492AF2F85D7}"/>
                </a:ext>
              </a:extLst>
            </p:cNvPr>
            <p:cNvSpPr>
              <a:spLocks/>
            </p:cNvSpPr>
            <p:nvPr userDrawn="1"/>
          </p:nvSpPr>
          <p:spPr bwMode="auto">
            <a:xfrm>
              <a:off x="6017" y="2858"/>
              <a:ext cx="263" cy="209"/>
            </a:xfrm>
            <a:custGeom>
              <a:avLst/>
              <a:gdLst>
                <a:gd name="T0" fmla="*/ 704 w 845"/>
                <a:gd name="T1" fmla="*/ 0 h 669"/>
                <a:gd name="T2" fmla="*/ 528 w 845"/>
                <a:gd name="T3" fmla="*/ 0 h 669"/>
                <a:gd name="T4" fmla="*/ 387 w 845"/>
                <a:gd name="T5" fmla="*/ 141 h 669"/>
                <a:gd name="T6" fmla="*/ 387 w 845"/>
                <a:gd name="T7" fmla="*/ 422 h 669"/>
                <a:gd name="T8" fmla="*/ 387 w 845"/>
                <a:gd name="T9" fmla="*/ 423 h 669"/>
                <a:gd name="T10" fmla="*/ 197 w 845"/>
                <a:gd name="T11" fmla="*/ 423 h 669"/>
                <a:gd name="T12" fmla="*/ 140 w 845"/>
                <a:gd name="T13" fmla="*/ 366 h 669"/>
                <a:gd name="T14" fmla="*/ 140 w 845"/>
                <a:gd name="T15" fmla="*/ 344 h 669"/>
                <a:gd name="T16" fmla="*/ 147 w 845"/>
                <a:gd name="T17" fmla="*/ 337 h 669"/>
                <a:gd name="T18" fmla="*/ 239 w 845"/>
                <a:gd name="T19" fmla="*/ 337 h 669"/>
                <a:gd name="T20" fmla="*/ 253 w 845"/>
                <a:gd name="T21" fmla="*/ 323 h 669"/>
                <a:gd name="T22" fmla="*/ 253 w 845"/>
                <a:gd name="T23" fmla="*/ 238 h 669"/>
                <a:gd name="T24" fmla="*/ 239 w 845"/>
                <a:gd name="T25" fmla="*/ 224 h 669"/>
                <a:gd name="T26" fmla="*/ 147 w 845"/>
                <a:gd name="T27" fmla="*/ 224 h 669"/>
                <a:gd name="T28" fmla="*/ 140 w 845"/>
                <a:gd name="T29" fmla="*/ 217 h 669"/>
                <a:gd name="T30" fmla="*/ 140 w 845"/>
                <a:gd name="T31" fmla="*/ 197 h 669"/>
                <a:gd name="T32" fmla="*/ 197 w 845"/>
                <a:gd name="T33" fmla="*/ 141 h 669"/>
                <a:gd name="T34" fmla="*/ 338 w 845"/>
                <a:gd name="T35" fmla="*/ 141 h 669"/>
                <a:gd name="T36" fmla="*/ 352 w 845"/>
                <a:gd name="T37" fmla="*/ 127 h 669"/>
                <a:gd name="T38" fmla="*/ 352 w 845"/>
                <a:gd name="T39" fmla="*/ 14 h 669"/>
                <a:gd name="T40" fmla="*/ 338 w 845"/>
                <a:gd name="T41" fmla="*/ 0 h 669"/>
                <a:gd name="T42" fmla="*/ 141 w 845"/>
                <a:gd name="T43" fmla="*/ 0 h 669"/>
                <a:gd name="T44" fmla="*/ 0 w 845"/>
                <a:gd name="T45" fmla="*/ 141 h 669"/>
                <a:gd name="T46" fmla="*/ 0 w 845"/>
                <a:gd name="T47" fmla="*/ 423 h 669"/>
                <a:gd name="T48" fmla="*/ 141 w 845"/>
                <a:gd name="T49" fmla="*/ 564 h 669"/>
                <a:gd name="T50" fmla="*/ 662 w 845"/>
                <a:gd name="T51" fmla="*/ 564 h 669"/>
                <a:gd name="T52" fmla="*/ 670 w 845"/>
                <a:gd name="T53" fmla="*/ 557 h 669"/>
                <a:gd name="T54" fmla="*/ 670 w 845"/>
                <a:gd name="T55" fmla="*/ 430 h 669"/>
                <a:gd name="T56" fmla="*/ 662 w 845"/>
                <a:gd name="T57" fmla="*/ 423 h 669"/>
                <a:gd name="T58" fmla="*/ 584 w 845"/>
                <a:gd name="T59" fmla="*/ 423 h 669"/>
                <a:gd name="T60" fmla="*/ 528 w 845"/>
                <a:gd name="T61" fmla="*/ 366 h 669"/>
                <a:gd name="T62" fmla="*/ 528 w 845"/>
                <a:gd name="T63" fmla="*/ 197 h 669"/>
                <a:gd name="T64" fmla="*/ 584 w 845"/>
                <a:gd name="T65" fmla="*/ 141 h 669"/>
                <a:gd name="T66" fmla="*/ 648 w 845"/>
                <a:gd name="T67" fmla="*/ 141 h 669"/>
                <a:gd name="T68" fmla="*/ 705 w 845"/>
                <a:gd name="T69" fmla="*/ 197 h 669"/>
                <a:gd name="T70" fmla="*/ 705 w 845"/>
                <a:gd name="T71" fmla="*/ 562 h 669"/>
                <a:gd name="T72" fmla="*/ 705 w 845"/>
                <a:gd name="T73" fmla="*/ 655 h 669"/>
                <a:gd name="T74" fmla="*/ 719 w 845"/>
                <a:gd name="T75" fmla="*/ 669 h 669"/>
                <a:gd name="T76" fmla="*/ 831 w 845"/>
                <a:gd name="T77" fmla="*/ 669 h 669"/>
                <a:gd name="T78" fmla="*/ 845 w 845"/>
                <a:gd name="T79" fmla="*/ 655 h 669"/>
                <a:gd name="T80" fmla="*/ 845 w 845"/>
                <a:gd name="T81" fmla="*/ 422 h 669"/>
                <a:gd name="T82" fmla="*/ 845 w 845"/>
                <a:gd name="T83" fmla="*/ 141 h 669"/>
                <a:gd name="T84" fmla="*/ 704 w 845"/>
                <a:gd name="T85" fmla="*/ 0 h 6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45" h="669">
                  <a:moveTo>
                    <a:pt x="704" y="0"/>
                  </a:moveTo>
                  <a:cubicBezTo>
                    <a:pt x="528" y="0"/>
                    <a:pt x="528" y="0"/>
                    <a:pt x="528" y="0"/>
                  </a:cubicBezTo>
                  <a:cubicBezTo>
                    <a:pt x="450" y="0"/>
                    <a:pt x="387" y="63"/>
                    <a:pt x="387" y="141"/>
                  </a:cubicBezTo>
                  <a:cubicBezTo>
                    <a:pt x="387" y="422"/>
                    <a:pt x="387" y="422"/>
                    <a:pt x="387" y="422"/>
                  </a:cubicBezTo>
                  <a:cubicBezTo>
                    <a:pt x="387" y="422"/>
                    <a:pt x="387" y="422"/>
                    <a:pt x="387" y="423"/>
                  </a:cubicBezTo>
                  <a:cubicBezTo>
                    <a:pt x="197" y="423"/>
                    <a:pt x="197" y="423"/>
                    <a:pt x="197" y="423"/>
                  </a:cubicBezTo>
                  <a:cubicBezTo>
                    <a:pt x="166" y="423"/>
                    <a:pt x="140" y="397"/>
                    <a:pt x="140" y="366"/>
                  </a:cubicBezTo>
                  <a:cubicBezTo>
                    <a:pt x="140" y="344"/>
                    <a:pt x="140" y="344"/>
                    <a:pt x="140" y="344"/>
                  </a:cubicBezTo>
                  <a:cubicBezTo>
                    <a:pt x="140" y="340"/>
                    <a:pt x="144" y="337"/>
                    <a:pt x="147" y="337"/>
                  </a:cubicBezTo>
                  <a:cubicBezTo>
                    <a:pt x="239" y="337"/>
                    <a:pt x="239" y="337"/>
                    <a:pt x="239" y="337"/>
                  </a:cubicBezTo>
                  <a:cubicBezTo>
                    <a:pt x="247" y="337"/>
                    <a:pt x="253" y="330"/>
                    <a:pt x="253" y="323"/>
                  </a:cubicBezTo>
                  <a:cubicBezTo>
                    <a:pt x="253" y="238"/>
                    <a:pt x="253" y="238"/>
                    <a:pt x="253" y="238"/>
                  </a:cubicBezTo>
                  <a:cubicBezTo>
                    <a:pt x="253" y="231"/>
                    <a:pt x="247" y="224"/>
                    <a:pt x="239" y="224"/>
                  </a:cubicBezTo>
                  <a:cubicBezTo>
                    <a:pt x="147" y="224"/>
                    <a:pt x="147" y="224"/>
                    <a:pt x="147" y="224"/>
                  </a:cubicBezTo>
                  <a:cubicBezTo>
                    <a:pt x="144" y="224"/>
                    <a:pt x="140" y="221"/>
                    <a:pt x="140" y="217"/>
                  </a:cubicBezTo>
                  <a:cubicBezTo>
                    <a:pt x="140" y="197"/>
                    <a:pt x="140" y="197"/>
                    <a:pt x="140" y="197"/>
                  </a:cubicBezTo>
                  <a:cubicBezTo>
                    <a:pt x="140" y="166"/>
                    <a:pt x="166" y="141"/>
                    <a:pt x="197" y="141"/>
                  </a:cubicBezTo>
                  <a:cubicBezTo>
                    <a:pt x="338" y="141"/>
                    <a:pt x="338" y="141"/>
                    <a:pt x="338" y="141"/>
                  </a:cubicBezTo>
                  <a:cubicBezTo>
                    <a:pt x="346" y="141"/>
                    <a:pt x="352" y="135"/>
                    <a:pt x="352" y="127"/>
                  </a:cubicBezTo>
                  <a:cubicBezTo>
                    <a:pt x="352" y="14"/>
                    <a:pt x="352" y="14"/>
                    <a:pt x="352" y="14"/>
                  </a:cubicBezTo>
                  <a:cubicBezTo>
                    <a:pt x="352" y="6"/>
                    <a:pt x="346" y="0"/>
                    <a:pt x="338" y="0"/>
                  </a:cubicBezTo>
                  <a:cubicBezTo>
                    <a:pt x="141" y="0"/>
                    <a:pt x="141" y="0"/>
                    <a:pt x="141" y="0"/>
                  </a:cubicBezTo>
                  <a:cubicBezTo>
                    <a:pt x="63" y="0"/>
                    <a:pt x="0" y="63"/>
                    <a:pt x="0" y="141"/>
                  </a:cubicBezTo>
                  <a:cubicBezTo>
                    <a:pt x="0" y="423"/>
                    <a:pt x="0" y="423"/>
                    <a:pt x="0" y="423"/>
                  </a:cubicBezTo>
                  <a:cubicBezTo>
                    <a:pt x="0" y="501"/>
                    <a:pt x="63" y="564"/>
                    <a:pt x="141" y="564"/>
                  </a:cubicBezTo>
                  <a:cubicBezTo>
                    <a:pt x="662" y="564"/>
                    <a:pt x="662" y="564"/>
                    <a:pt x="662" y="564"/>
                  </a:cubicBezTo>
                  <a:cubicBezTo>
                    <a:pt x="666" y="564"/>
                    <a:pt x="670" y="560"/>
                    <a:pt x="670" y="557"/>
                  </a:cubicBezTo>
                  <a:cubicBezTo>
                    <a:pt x="670" y="430"/>
                    <a:pt x="670" y="430"/>
                    <a:pt x="670" y="430"/>
                  </a:cubicBezTo>
                  <a:cubicBezTo>
                    <a:pt x="670" y="426"/>
                    <a:pt x="666" y="423"/>
                    <a:pt x="662" y="423"/>
                  </a:cubicBezTo>
                  <a:cubicBezTo>
                    <a:pt x="584" y="423"/>
                    <a:pt x="584" y="423"/>
                    <a:pt x="584" y="423"/>
                  </a:cubicBezTo>
                  <a:cubicBezTo>
                    <a:pt x="553" y="423"/>
                    <a:pt x="528" y="397"/>
                    <a:pt x="528" y="366"/>
                  </a:cubicBezTo>
                  <a:cubicBezTo>
                    <a:pt x="528" y="197"/>
                    <a:pt x="528" y="197"/>
                    <a:pt x="528" y="197"/>
                  </a:cubicBezTo>
                  <a:cubicBezTo>
                    <a:pt x="528" y="166"/>
                    <a:pt x="553" y="141"/>
                    <a:pt x="584" y="141"/>
                  </a:cubicBezTo>
                  <a:cubicBezTo>
                    <a:pt x="648" y="141"/>
                    <a:pt x="648" y="141"/>
                    <a:pt x="648" y="141"/>
                  </a:cubicBezTo>
                  <a:cubicBezTo>
                    <a:pt x="679" y="141"/>
                    <a:pt x="705" y="166"/>
                    <a:pt x="705" y="197"/>
                  </a:cubicBezTo>
                  <a:cubicBezTo>
                    <a:pt x="705" y="562"/>
                    <a:pt x="705" y="562"/>
                    <a:pt x="705" y="562"/>
                  </a:cubicBezTo>
                  <a:cubicBezTo>
                    <a:pt x="705" y="655"/>
                    <a:pt x="705" y="655"/>
                    <a:pt x="705" y="655"/>
                  </a:cubicBezTo>
                  <a:cubicBezTo>
                    <a:pt x="705" y="663"/>
                    <a:pt x="711" y="669"/>
                    <a:pt x="719" y="669"/>
                  </a:cubicBezTo>
                  <a:cubicBezTo>
                    <a:pt x="831" y="669"/>
                    <a:pt x="831" y="669"/>
                    <a:pt x="831" y="669"/>
                  </a:cubicBezTo>
                  <a:cubicBezTo>
                    <a:pt x="839" y="669"/>
                    <a:pt x="845" y="663"/>
                    <a:pt x="845" y="655"/>
                  </a:cubicBezTo>
                  <a:cubicBezTo>
                    <a:pt x="845" y="422"/>
                    <a:pt x="845" y="422"/>
                    <a:pt x="845" y="422"/>
                  </a:cubicBezTo>
                  <a:cubicBezTo>
                    <a:pt x="845" y="141"/>
                    <a:pt x="845" y="141"/>
                    <a:pt x="845" y="141"/>
                  </a:cubicBezTo>
                  <a:cubicBezTo>
                    <a:pt x="845" y="63"/>
                    <a:pt x="782" y="0"/>
                    <a:pt x="704" y="0"/>
                  </a:cubicBezTo>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grpSp>
    </p:spTree>
    <p:extLst>
      <p:ext uri="{BB962C8B-B14F-4D97-AF65-F5344CB8AC3E}">
        <p14:creationId xmlns:p14="http://schemas.microsoft.com/office/powerpoint/2010/main" val="636398403"/>
      </p:ext>
    </p:extLst>
  </p:cSld>
  <p:clrMapOvr>
    <a:masterClrMapping/>
  </p:clrMapOvr>
  <p:extLst>
    <p:ext uri="{DCECCB84-F9BA-43D5-87BE-67443E8EF086}">
      <p15:sldGuideLst xmlns:p15="http://schemas.microsoft.com/office/powerpoint/2012/main"/>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End slide with pictur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BA4E336-7EB3-3D91-6249-3B676358C207}"/>
              </a:ext>
            </a:extLst>
          </p:cNvPr>
          <p:cNvSpPr>
            <a:spLocks noGrp="1"/>
          </p:cNvSpPr>
          <p:nvPr>
            <p:ph type="title" hasCustomPrompt="1"/>
          </p:nvPr>
        </p:nvSpPr>
        <p:spPr bwMode="gray">
          <a:xfrm>
            <a:off x="1092200" y="2658668"/>
            <a:ext cx="4895850" cy="1540664"/>
          </a:xfrm>
        </p:spPr>
        <p:txBody>
          <a:bodyPr anchor="ctr"/>
          <a:lstStyle>
            <a:lvl1pPr>
              <a:defRPr sz="3700">
                <a:solidFill>
                  <a:schemeClr val="tx1"/>
                </a:solidFill>
              </a:defRPr>
            </a:lvl1pPr>
          </a:lstStyle>
          <a:p>
            <a:r>
              <a:rPr lang="de-DE"/>
              <a:t>Closing </a:t>
            </a:r>
            <a:br>
              <a:rPr lang="de-DE"/>
            </a:br>
            <a:r>
              <a:rPr lang="de-DE"/>
              <a:t>Words</a:t>
            </a:r>
          </a:p>
        </p:txBody>
      </p:sp>
      <p:sp>
        <p:nvSpPr>
          <p:cNvPr id="16" name="Bildplatzhalter 15">
            <a:extLst>
              <a:ext uri="{FF2B5EF4-FFF2-40B4-BE49-F238E27FC236}">
                <a16:creationId xmlns:a16="http://schemas.microsoft.com/office/drawing/2014/main" id="{4E539FDA-711C-3428-33FC-45198E62E834}"/>
              </a:ext>
            </a:extLst>
          </p:cNvPr>
          <p:cNvSpPr>
            <a:spLocks noGrp="1"/>
          </p:cNvSpPr>
          <p:nvPr>
            <p:ph type="pic" sz="quarter" idx="10" hasCustomPrompt="1"/>
          </p:nvPr>
        </p:nvSpPr>
        <p:spPr bwMode="gray">
          <a:xfrm>
            <a:off x="3694788" y="0"/>
            <a:ext cx="8497212" cy="6858000"/>
          </a:xfrm>
          <a:custGeom>
            <a:avLst/>
            <a:gdLst>
              <a:gd name="connsiteX0" fmla="*/ 0 w 8497212"/>
              <a:gd name="connsiteY0" fmla="*/ 0 h 6858000"/>
              <a:gd name="connsiteX1" fmla="*/ 8497212 w 8497212"/>
              <a:gd name="connsiteY1" fmla="*/ 0 h 6858000"/>
              <a:gd name="connsiteX2" fmla="*/ 8497212 w 8497212"/>
              <a:gd name="connsiteY2" fmla="*/ 6858000 h 6858000"/>
              <a:gd name="connsiteX3" fmla="*/ 8493912 w 8497212"/>
              <a:gd name="connsiteY3" fmla="*/ 6858000 h 6858000"/>
              <a:gd name="connsiteX4" fmla="*/ 8493912 w 8497212"/>
              <a:gd name="connsiteY4" fmla="*/ 4237555 h 6858000"/>
              <a:gd name="connsiteX5" fmla="*/ 8493025 w 8497212"/>
              <a:gd name="connsiteY5" fmla="*/ 4237555 h 6858000"/>
              <a:gd name="connsiteX6" fmla="*/ 8314629 w 8497212"/>
              <a:gd name="connsiteY6" fmla="*/ 4126731 h 6858000"/>
              <a:gd name="connsiteX7" fmla="*/ 6346823 w 8497212"/>
              <a:gd name="connsiteY7" fmla="*/ 3471334 h 6858000"/>
              <a:gd name="connsiteX8" fmla="*/ 5773572 w 8497212"/>
              <a:gd name="connsiteY8" fmla="*/ 3759525 h 6858000"/>
              <a:gd name="connsiteX9" fmla="*/ 5120006 w 8497212"/>
              <a:gd name="connsiteY9" fmla="*/ 5732716 h 6858000"/>
              <a:gd name="connsiteX10" fmla="*/ 5113027 w 8497212"/>
              <a:gd name="connsiteY10" fmla="*/ 5996224 h 6858000"/>
              <a:gd name="connsiteX11" fmla="*/ 5123431 w 8497212"/>
              <a:gd name="connsiteY11" fmla="*/ 6044192 h 6858000"/>
              <a:gd name="connsiteX12" fmla="*/ 5133836 w 8497212"/>
              <a:gd name="connsiteY12" fmla="*/ 6092288 h 6858000"/>
              <a:gd name="connsiteX13" fmla="*/ 5144240 w 8497212"/>
              <a:gd name="connsiteY13" fmla="*/ 6140256 h 6858000"/>
              <a:gd name="connsiteX14" fmla="*/ 5154644 w 8497212"/>
              <a:gd name="connsiteY14" fmla="*/ 6188351 h 6858000"/>
              <a:gd name="connsiteX15" fmla="*/ 5165049 w 8497212"/>
              <a:gd name="connsiteY15" fmla="*/ 6236320 h 6858000"/>
              <a:gd name="connsiteX16" fmla="*/ 5175453 w 8497212"/>
              <a:gd name="connsiteY16" fmla="*/ 6284415 h 6858000"/>
              <a:gd name="connsiteX17" fmla="*/ 5185857 w 8497212"/>
              <a:gd name="connsiteY17" fmla="*/ 6332511 h 6858000"/>
              <a:gd name="connsiteX18" fmla="*/ 5196261 w 8497212"/>
              <a:gd name="connsiteY18" fmla="*/ 6380479 h 6858000"/>
              <a:gd name="connsiteX19" fmla="*/ 5206666 w 8497212"/>
              <a:gd name="connsiteY19" fmla="*/ 6428575 h 6858000"/>
              <a:gd name="connsiteX20" fmla="*/ 5217070 w 8497212"/>
              <a:gd name="connsiteY20" fmla="*/ 6476543 h 6858000"/>
              <a:gd name="connsiteX21" fmla="*/ 5227474 w 8497212"/>
              <a:gd name="connsiteY21" fmla="*/ 6524639 h 6858000"/>
              <a:gd name="connsiteX22" fmla="*/ 5237879 w 8497212"/>
              <a:gd name="connsiteY22" fmla="*/ 6572607 h 6858000"/>
              <a:gd name="connsiteX23" fmla="*/ 5248283 w 8497212"/>
              <a:gd name="connsiteY23" fmla="*/ 6620703 h 6858000"/>
              <a:gd name="connsiteX24" fmla="*/ 5258687 w 8497212"/>
              <a:gd name="connsiteY24" fmla="*/ 6668798 h 6858000"/>
              <a:gd name="connsiteX25" fmla="*/ 5269091 w 8497212"/>
              <a:gd name="connsiteY25" fmla="*/ 6716766 h 6858000"/>
              <a:gd name="connsiteX26" fmla="*/ 5279496 w 8497212"/>
              <a:gd name="connsiteY26" fmla="*/ 6764862 h 6858000"/>
              <a:gd name="connsiteX27" fmla="*/ 5289900 w 8497212"/>
              <a:gd name="connsiteY27" fmla="*/ 6812830 h 6858000"/>
              <a:gd name="connsiteX28" fmla="*/ 5299671 w 8497212"/>
              <a:gd name="connsiteY28" fmla="*/ 6858000 h 6858000"/>
              <a:gd name="connsiteX29" fmla="*/ 1217638 w 8497212"/>
              <a:gd name="connsiteY29" fmla="*/ 6858000 h 6858000"/>
              <a:gd name="connsiteX30" fmla="*/ 3536682 w 8497212"/>
              <a:gd name="connsiteY30" fmla="*/ 2937256 h 6858000"/>
              <a:gd name="connsiteX31" fmla="*/ 3282648 w 8497212"/>
              <a:gd name="connsiteY31" fmla="*/ 1945132 h 6858000"/>
              <a:gd name="connsiteX32" fmla="*/ 3282775 w 8497212"/>
              <a:gd name="connsiteY32" fmla="*/ 1945132 h 6858000"/>
              <a:gd name="connsiteX0" fmla="*/ 0 w 8497212"/>
              <a:gd name="connsiteY0" fmla="*/ 0 h 6858000"/>
              <a:gd name="connsiteX1" fmla="*/ 8497212 w 8497212"/>
              <a:gd name="connsiteY1" fmla="*/ 0 h 6858000"/>
              <a:gd name="connsiteX2" fmla="*/ 8497212 w 8497212"/>
              <a:gd name="connsiteY2" fmla="*/ 6858000 h 6858000"/>
              <a:gd name="connsiteX3" fmla="*/ 8493912 w 8497212"/>
              <a:gd name="connsiteY3" fmla="*/ 4237555 h 6858000"/>
              <a:gd name="connsiteX4" fmla="*/ 8493025 w 8497212"/>
              <a:gd name="connsiteY4" fmla="*/ 4237555 h 6858000"/>
              <a:gd name="connsiteX5" fmla="*/ 8314629 w 8497212"/>
              <a:gd name="connsiteY5" fmla="*/ 4126731 h 6858000"/>
              <a:gd name="connsiteX6" fmla="*/ 6346823 w 8497212"/>
              <a:gd name="connsiteY6" fmla="*/ 3471334 h 6858000"/>
              <a:gd name="connsiteX7" fmla="*/ 5773572 w 8497212"/>
              <a:gd name="connsiteY7" fmla="*/ 3759525 h 6858000"/>
              <a:gd name="connsiteX8" fmla="*/ 5120006 w 8497212"/>
              <a:gd name="connsiteY8" fmla="*/ 5732716 h 6858000"/>
              <a:gd name="connsiteX9" fmla="*/ 5113027 w 8497212"/>
              <a:gd name="connsiteY9" fmla="*/ 5996224 h 6858000"/>
              <a:gd name="connsiteX10" fmla="*/ 5123431 w 8497212"/>
              <a:gd name="connsiteY10" fmla="*/ 6044192 h 6858000"/>
              <a:gd name="connsiteX11" fmla="*/ 5133836 w 8497212"/>
              <a:gd name="connsiteY11" fmla="*/ 6092288 h 6858000"/>
              <a:gd name="connsiteX12" fmla="*/ 5144240 w 8497212"/>
              <a:gd name="connsiteY12" fmla="*/ 6140256 h 6858000"/>
              <a:gd name="connsiteX13" fmla="*/ 5154644 w 8497212"/>
              <a:gd name="connsiteY13" fmla="*/ 6188351 h 6858000"/>
              <a:gd name="connsiteX14" fmla="*/ 5165049 w 8497212"/>
              <a:gd name="connsiteY14" fmla="*/ 6236320 h 6858000"/>
              <a:gd name="connsiteX15" fmla="*/ 5175453 w 8497212"/>
              <a:gd name="connsiteY15" fmla="*/ 6284415 h 6858000"/>
              <a:gd name="connsiteX16" fmla="*/ 5185857 w 8497212"/>
              <a:gd name="connsiteY16" fmla="*/ 6332511 h 6858000"/>
              <a:gd name="connsiteX17" fmla="*/ 5196261 w 8497212"/>
              <a:gd name="connsiteY17" fmla="*/ 6380479 h 6858000"/>
              <a:gd name="connsiteX18" fmla="*/ 5206666 w 8497212"/>
              <a:gd name="connsiteY18" fmla="*/ 6428575 h 6858000"/>
              <a:gd name="connsiteX19" fmla="*/ 5217070 w 8497212"/>
              <a:gd name="connsiteY19" fmla="*/ 6476543 h 6858000"/>
              <a:gd name="connsiteX20" fmla="*/ 5227474 w 8497212"/>
              <a:gd name="connsiteY20" fmla="*/ 6524639 h 6858000"/>
              <a:gd name="connsiteX21" fmla="*/ 5237879 w 8497212"/>
              <a:gd name="connsiteY21" fmla="*/ 6572607 h 6858000"/>
              <a:gd name="connsiteX22" fmla="*/ 5248283 w 8497212"/>
              <a:gd name="connsiteY22" fmla="*/ 6620703 h 6858000"/>
              <a:gd name="connsiteX23" fmla="*/ 5258687 w 8497212"/>
              <a:gd name="connsiteY23" fmla="*/ 6668798 h 6858000"/>
              <a:gd name="connsiteX24" fmla="*/ 5269091 w 8497212"/>
              <a:gd name="connsiteY24" fmla="*/ 6716766 h 6858000"/>
              <a:gd name="connsiteX25" fmla="*/ 5279496 w 8497212"/>
              <a:gd name="connsiteY25" fmla="*/ 6764862 h 6858000"/>
              <a:gd name="connsiteX26" fmla="*/ 5289900 w 8497212"/>
              <a:gd name="connsiteY26" fmla="*/ 6812830 h 6858000"/>
              <a:gd name="connsiteX27" fmla="*/ 5299671 w 8497212"/>
              <a:gd name="connsiteY27" fmla="*/ 6858000 h 6858000"/>
              <a:gd name="connsiteX28" fmla="*/ 1217638 w 8497212"/>
              <a:gd name="connsiteY28" fmla="*/ 6858000 h 6858000"/>
              <a:gd name="connsiteX29" fmla="*/ 3536682 w 8497212"/>
              <a:gd name="connsiteY29" fmla="*/ 2937256 h 6858000"/>
              <a:gd name="connsiteX30" fmla="*/ 3282648 w 8497212"/>
              <a:gd name="connsiteY30" fmla="*/ 1945132 h 6858000"/>
              <a:gd name="connsiteX31" fmla="*/ 3282775 w 8497212"/>
              <a:gd name="connsiteY31" fmla="*/ 1945132 h 6858000"/>
              <a:gd name="connsiteX32" fmla="*/ 0 w 8497212"/>
              <a:gd name="connsiteY32" fmla="*/ 0 h 6858000"/>
              <a:gd name="connsiteX0" fmla="*/ 0 w 8497212"/>
              <a:gd name="connsiteY0" fmla="*/ 0 h 6858000"/>
              <a:gd name="connsiteX1" fmla="*/ 8497212 w 8497212"/>
              <a:gd name="connsiteY1" fmla="*/ 0 h 6858000"/>
              <a:gd name="connsiteX2" fmla="*/ 8493912 w 8497212"/>
              <a:gd name="connsiteY2" fmla="*/ 4237555 h 6858000"/>
              <a:gd name="connsiteX3" fmla="*/ 8493025 w 8497212"/>
              <a:gd name="connsiteY3" fmla="*/ 4237555 h 6858000"/>
              <a:gd name="connsiteX4" fmla="*/ 8314629 w 8497212"/>
              <a:gd name="connsiteY4" fmla="*/ 4126731 h 6858000"/>
              <a:gd name="connsiteX5" fmla="*/ 6346823 w 8497212"/>
              <a:gd name="connsiteY5" fmla="*/ 3471334 h 6858000"/>
              <a:gd name="connsiteX6" fmla="*/ 5773572 w 8497212"/>
              <a:gd name="connsiteY6" fmla="*/ 3759525 h 6858000"/>
              <a:gd name="connsiteX7" fmla="*/ 5120006 w 8497212"/>
              <a:gd name="connsiteY7" fmla="*/ 5732716 h 6858000"/>
              <a:gd name="connsiteX8" fmla="*/ 5113027 w 8497212"/>
              <a:gd name="connsiteY8" fmla="*/ 5996224 h 6858000"/>
              <a:gd name="connsiteX9" fmla="*/ 5123431 w 8497212"/>
              <a:gd name="connsiteY9" fmla="*/ 6044192 h 6858000"/>
              <a:gd name="connsiteX10" fmla="*/ 5133836 w 8497212"/>
              <a:gd name="connsiteY10" fmla="*/ 6092288 h 6858000"/>
              <a:gd name="connsiteX11" fmla="*/ 5144240 w 8497212"/>
              <a:gd name="connsiteY11" fmla="*/ 6140256 h 6858000"/>
              <a:gd name="connsiteX12" fmla="*/ 5154644 w 8497212"/>
              <a:gd name="connsiteY12" fmla="*/ 6188351 h 6858000"/>
              <a:gd name="connsiteX13" fmla="*/ 5165049 w 8497212"/>
              <a:gd name="connsiteY13" fmla="*/ 6236320 h 6858000"/>
              <a:gd name="connsiteX14" fmla="*/ 5175453 w 8497212"/>
              <a:gd name="connsiteY14" fmla="*/ 6284415 h 6858000"/>
              <a:gd name="connsiteX15" fmla="*/ 5185857 w 8497212"/>
              <a:gd name="connsiteY15" fmla="*/ 6332511 h 6858000"/>
              <a:gd name="connsiteX16" fmla="*/ 5196261 w 8497212"/>
              <a:gd name="connsiteY16" fmla="*/ 6380479 h 6858000"/>
              <a:gd name="connsiteX17" fmla="*/ 5206666 w 8497212"/>
              <a:gd name="connsiteY17" fmla="*/ 6428575 h 6858000"/>
              <a:gd name="connsiteX18" fmla="*/ 5217070 w 8497212"/>
              <a:gd name="connsiteY18" fmla="*/ 6476543 h 6858000"/>
              <a:gd name="connsiteX19" fmla="*/ 5227474 w 8497212"/>
              <a:gd name="connsiteY19" fmla="*/ 6524639 h 6858000"/>
              <a:gd name="connsiteX20" fmla="*/ 5237879 w 8497212"/>
              <a:gd name="connsiteY20" fmla="*/ 6572607 h 6858000"/>
              <a:gd name="connsiteX21" fmla="*/ 5248283 w 8497212"/>
              <a:gd name="connsiteY21" fmla="*/ 6620703 h 6858000"/>
              <a:gd name="connsiteX22" fmla="*/ 5258687 w 8497212"/>
              <a:gd name="connsiteY22" fmla="*/ 6668798 h 6858000"/>
              <a:gd name="connsiteX23" fmla="*/ 5269091 w 8497212"/>
              <a:gd name="connsiteY23" fmla="*/ 6716766 h 6858000"/>
              <a:gd name="connsiteX24" fmla="*/ 5279496 w 8497212"/>
              <a:gd name="connsiteY24" fmla="*/ 6764862 h 6858000"/>
              <a:gd name="connsiteX25" fmla="*/ 5289900 w 8497212"/>
              <a:gd name="connsiteY25" fmla="*/ 6812830 h 6858000"/>
              <a:gd name="connsiteX26" fmla="*/ 5299671 w 8497212"/>
              <a:gd name="connsiteY26" fmla="*/ 6858000 h 6858000"/>
              <a:gd name="connsiteX27" fmla="*/ 1217638 w 8497212"/>
              <a:gd name="connsiteY27" fmla="*/ 6858000 h 6858000"/>
              <a:gd name="connsiteX28" fmla="*/ 3536682 w 8497212"/>
              <a:gd name="connsiteY28" fmla="*/ 2937256 h 6858000"/>
              <a:gd name="connsiteX29" fmla="*/ 3282648 w 8497212"/>
              <a:gd name="connsiteY29" fmla="*/ 1945132 h 6858000"/>
              <a:gd name="connsiteX30" fmla="*/ 3282775 w 8497212"/>
              <a:gd name="connsiteY30" fmla="*/ 1945132 h 6858000"/>
              <a:gd name="connsiteX31" fmla="*/ 0 w 8497212"/>
              <a:gd name="connsiteY31"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8497212" h="6858000">
                <a:moveTo>
                  <a:pt x="0" y="0"/>
                </a:moveTo>
                <a:lnTo>
                  <a:pt x="8497212" y="0"/>
                </a:lnTo>
                <a:lnTo>
                  <a:pt x="8493912" y="4237555"/>
                </a:lnTo>
                <a:lnTo>
                  <a:pt x="8493025" y="4237555"/>
                </a:lnTo>
                <a:cubicBezTo>
                  <a:pt x="8444556" y="4188568"/>
                  <a:pt x="8384287" y="4150016"/>
                  <a:pt x="8314629" y="4126731"/>
                </a:cubicBezTo>
                <a:lnTo>
                  <a:pt x="6346823" y="3471334"/>
                </a:lnTo>
                <a:cubicBezTo>
                  <a:pt x="6109174" y="3392192"/>
                  <a:pt x="5852493" y="3521211"/>
                  <a:pt x="5773572" y="3759525"/>
                </a:cubicBezTo>
                <a:lnTo>
                  <a:pt x="5120006" y="5732716"/>
                </a:lnTo>
                <a:cubicBezTo>
                  <a:pt x="5090696" y="5821273"/>
                  <a:pt x="5090062" y="5912502"/>
                  <a:pt x="5113027" y="5996224"/>
                </a:cubicBezTo>
                <a:cubicBezTo>
                  <a:pt x="5115692" y="6012510"/>
                  <a:pt x="5119117" y="6028542"/>
                  <a:pt x="5123431" y="6044192"/>
                </a:cubicBezTo>
                <a:cubicBezTo>
                  <a:pt x="5126096" y="6060478"/>
                  <a:pt x="5129522" y="6076510"/>
                  <a:pt x="5133836" y="6092288"/>
                </a:cubicBezTo>
                <a:cubicBezTo>
                  <a:pt x="5136500" y="6108574"/>
                  <a:pt x="5139799" y="6124606"/>
                  <a:pt x="5144240" y="6140256"/>
                </a:cubicBezTo>
                <a:cubicBezTo>
                  <a:pt x="5146905" y="6156542"/>
                  <a:pt x="5150330" y="6172574"/>
                  <a:pt x="5154644" y="6188351"/>
                </a:cubicBezTo>
                <a:cubicBezTo>
                  <a:pt x="5157309" y="6204638"/>
                  <a:pt x="5160735" y="6220670"/>
                  <a:pt x="5165049" y="6236320"/>
                </a:cubicBezTo>
                <a:cubicBezTo>
                  <a:pt x="5167713" y="6252606"/>
                  <a:pt x="5171139" y="6268638"/>
                  <a:pt x="5175453" y="6284415"/>
                </a:cubicBezTo>
                <a:cubicBezTo>
                  <a:pt x="5178117" y="6300702"/>
                  <a:pt x="5181543" y="6316734"/>
                  <a:pt x="5185857" y="6332511"/>
                </a:cubicBezTo>
                <a:cubicBezTo>
                  <a:pt x="5188522" y="6348797"/>
                  <a:pt x="5191947" y="6364829"/>
                  <a:pt x="5196261" y="6380479"/>
                </a:cubicBezTo>
                <a:cubicBezTo>
                  <a:pt x="5198926" y="6396766"/>
                  <a:pt x="5202225" y="6412797"/>
                  <a:pt x="5206666" y="6428575"/>
                </a:cubicBezTo>
                <a:cubicBezTo>
                  <a:pt x="5209330" y="6444861"/>
                  <a:pt x="5212629" y="6460893"/>
                  <a:pt x="5217070" y="6476543"/>
                </a:cubicBezTo>
                <a:cubicBezTo>
                  <a:pt x="5219735" y="6492829"/>
                  <a:pt x="5223160" y="6508861"/>
                  <a:pt x="5227474" y="6524639"/>
                </a:cubicBezTo>
                <a:cubicBezTo>
                  <a:pt x="5230139" y="6540925"/>
                  <a:pt x="5233565" y="6556957"/>
                  <a:pt x="5237879" y="6572607"/>
                </a:cubicBezTo>
                <a:cubicBezTo>
                  <a:pt x="5240543" y="6588893"/>
                  <a:pt x="5243969" y="6604925"/>
                  <a:pt x="5248283" y="6620703"/>
                </a:cubicBezTo>
                <a:cubicBezTo>
                  <a:pt x="5250947" y="6636989"/>
                  <a:pt x="5254373" y="6653021"/>
                  <a:pt x="5258687" y="6668798"/>
                </a:cubicBezTo>
                <a:cubicBezTo>
                  <a:pt x="5261352" y="6685084"/>
                  <a:pt x="5264777" y="6701116"/>
                  <a:pt x="5269091" y="6716766"/>
                </a:cubicBezTo>
                <a:cubicBezTo>
                  <a:pt x="5271756" y="6733053"/>
                  <a:pt x="5275182" y="6749085"/>
                  <a:pt x="5279496" y="6764862"/>
                </a:cubicBezTo>
                <a:cubicBezTo>
                  <a:pt x="5282160" y="6781148"/>
                  <a:pt x="5285586" y="6797180"/>
                  <a:pt x="5289900" y="6812830"/>
                </a:cubicBezTo>
                <a:lnTo>
                  <a:pt x="5299671" y="6858000"/>
                </a:lnTo>
                <a:lnTo>
                  <a:pt x="1217638" y="6858000"/>
                </a:lnTo>
                <a:lnTo>
                  <a:pt x="3536682" y="2937256"/>
                </a:lnTo>
                <a:cubicBezTo>
                  <a:pt x="3740214" y="2593086"/>
                  <a:pt x="3626520" y="2148840"/>
                  <a:pt x="3282648" y="1945132"/>
                </a:cubicBezTo>
                <a:lnTo>
                  <a:pt x="3282775" y="1945132"/>
                </a:lnTo>
                <a:lnTo>
                  <a:pt x="0" y="0"/>
                </a:lnTo>
                <a:close/>
              </a:path>
            </a:pathLst>
          </a:custGeom>
          <a:solidFill>
            <a:schemeClr val="bg1">
              <a:lumMod val="95000"/>
            </a:schemeClr>
          </a:solidFill>
          <a:ln>
            <a:noFill/>
          </a:ln>
        </p:spPr>
        <p:txBody>
          <a:bodyPr wrap="square">
            <a:noAutofit/>
          </a:bodyPr>
          <a:lstStyle/>
          <a:p>
            <a:r>
              <a:rPr lang="de-DE"/>
              <a:t> </a:t>
            </a:r>
          </a:p>
        </p:txBody>
      </p:sp>
      <p:sp>
        <p:nvSpPr>
          <p:cNvPr id="3" name="Titel 1">
            <a:extLst>
              <a:ext uri="{FF2B5EF4-FFF2-40B4-BE49-F238E27FC236}">
                <a16:creationId xmlns:a16="http://schemas.microsoft.com/office/drawing/2014/main" id="{8619D360-8B14-C303-6F58-E0DBF5E25088}"/>
              </a:ext>
            </a:extLst>
          </p:cNvPr>
          <p:cNvSpPr txBox="1">
            <a:spLocks/>
          </p:cNvSpPr>
          <p:nvPr userDrawn="1"/>
        </p:nvSpPr>
        <p:spPr bwMode="gray">
          <a:xfrm>
            <a:off x="9552384" y="5913276"/>
            <a:ext cx="1979464" cy="252028"/>
          </a:xfrm>
          <a:prstGeom prst="rect">
            <a:avLst/>
          </a:prstGeom>
        </p:spPr>
        <p:txBody>
          <a:bodyPr vert="horz" lIns="0" tIns="0" rIns="0" bIns="0" rtlCol="0" anchor="t">
            <a:noAutofit/>
          </a:bodyPr>
          <a:lstStyle>
            <a:lvl1pPr marL="0" indent="0" algn="l" defTabSz="914400" rtl="0" eaLnBrk="1" latinLnBrk="0" hangingPunct="1">
              <a:lnSpc>
                <a:spcPct val="100000"/>
              </a:lnSpc>
              <a:spcBef>
                <a:spcPct val="0"/>
              </a:spcBef>
              <a:buFont typeface="Yanone Kaffeesatz" panose="00000500000000000000" pitchFamily="50" charset="0"/>
              <a:buNone/>
              <a:defRPr sz="4700" kern="1200" cap="all" baseline="0">
                <a:solidFill>
                  <a:schemeClr val="bg1"/>
                </a:solidFill>
                <a:latin typeface="Barlow Black" panose="00000A00000000000000" pitchFamily="2" charset="0"/>
                <a:ea typeface="+mj-ea"/>
                <a:cs typeface="+mj-cs"/>
              </a:defRPr>
            </a:lvl1pPr>
          </a:lstStyle>
          <a:p>
            <a:r>
              <a:rPr lang="de-DE" sz="1200" cap="none" baseline="0">
                <a:solidFill>
                  <a:schemeClr val="tx1"/>
                </a:solidFill>
                <a:latin typeface="+mn-lt"/>
              </a:rPr>
              <a:t>www.eqs.com</a:t>
            </a:r>
          </a:p>
        </p:txBody>
      </p:sp>
      <p:grpSp>
        <p:nvGrpSpPr>
          <p:cNvPr id="4" name="Group 4">
            <a:extLst>
              <a:ext uri="{FF2B5EF4-FFF2-40B4-BE49-F238E27FC236}">
                <a16:creationId xmlns:a16="http://schemas.microsoft.com/office/drawing/2014/main" id="{05967963-11B7-AC55-2448-48D3613FADB2}"/>
              </a:ext>
            </a:extLst>
          </p:cNvPr>
          <p:cNvGrpSpPr>
            <a:grpSpLocks noChangeAspect="1"/>
          </p:cNvGrpSpPr>
          <p:nvPr userDrawn="1"/>
        </p:nvGrpSpPr>
        <p:grpSpPr bwMode="auto">
          <a:xfrm>
            <a:off x="9551988" y="5553075"/>
            <a:ext cx="1879600" cy="323850"/>
            <a:chOff x="6017" y="3498"/>
            <a:chExt cx="1184" cy="204"/>
          </a:xfrm>
        </p:grpSpPr>
        <p:sp>
          <p:nvSpPr>
            <p:cNvPr id="5" name="AutoShape 3">
              <a:extLst>
                <a:ext uri="{FF2B5EF4-FFF2-40B4-BE49-F238E27FC236}">
                  <a16:creationId xmlns:a16="http://schemas.microsoft.com/office/drawing/2014/main" id="{54C15D16-68C1-A48D-F49C-05D1627E48E2}"/>
                </a:ext>
              </a:extLst>
            </p:cNvPr>
            <p:cNvSpPr>
              <a:spLocks noChangeAspect="1" noChangeArrowheads="1" noTextEdit="1"/>
            </p:cNvSpPr>
            <p:nvPr userDrawn="1"/>
          </p:nvSpPr>
          <p:spPr bwMode="auto">
            <a:xfrm>
              <a:off x="6017" y="3498"/>
              <a:ext cx="1184" cy="2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6" name="Freeform 5">
              <a:extLst>
                <a:ext uri="{FF2B5EF4-FFF2-40B4-BE49-F238E27FC236}">
                  <a16:creationId xmlns:a16="http://schemas.microsoft.com/office/drawing/2014/main" id="{66D9C2A3-A8F1-730C-DE5D-094ED2F6B2C8}"/>
                </a:ext>
              </a:extLst>
            </p:cNvPr>
            <p:cNvSpPr>
              <a:spLocks/>
            </p:cNvSpPr>
            <p:nvPr userDrawn="1"/>
          </p:nvSpPr>
          <p:spPr bwMode="auto">
            <a:xfrm>
              <a:off x="6015" y="3496"/>
              <a:ext cx="205" cy="208"/>
            </a:xfrm>
            <a:custGeom>
              <a:avLst/>
              <a:gdLst>
                <a:gd name="T0" fmla="*/ 18 w 105"/>
                <a:gd name="T1" fmla="*/ 0 h 104"/>
                <a:gd name="T2" fmla="*/ 0 w 105"/>
                <a:gd name="T3" fmla="*/ 18 h 104"/>
                <a:gd name="T4" fmla="*/ 0 w 105"/>
                <a:gd name="T5" fmla="*/ 86 h 104"/>
                <a:gd name="T6" fmla="*/ 18 w 105"/>
                <a:gd name="T7" fmla="*/ 104 h 104"/>
                <a:gd name="T8" fmla="*/ 87 w 105"/>
                <a:gd name="T9" fmla="*/ 104 h 104"/>
                <a:gd name="T10" fmla="*/ 105 w 105"/>
                <a:gd name="T11" fmla="*/ 86 h 104"/>
                <a:gd name="T12" fmla="*/ 105 w 105"/>
                <a:gd name="T13" fmla="*/ 18 h 104"/>
                <a:gd name="T14" fmla="*/ 87 w 105"/>
                <a:gd name="T15" fmla="*/ 0 h 104"/>
                <a:gd name="T16" fmla="*/ 18 w 105"/>
                <a:gd name="T17" fmla="*/ 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5" h="104">
                  <a:moveTo>
                    <a:pt x="18" y="0"/>
                  </a:moveTo>
                  <a:cubicBezTo>
                    <a:pt x="8" y="0"/>
                    <a:pt x="0" y="8"/>
                    <a:pt x="0" y="18"/>
                  </a:cubicBezTo>
                  <a:cubicBezTo>
                    <a:pt x="0" y="86"/>
                    <a:pt x="0" y="86"/>
                    <a:pt x="0" y="86"/>
                  </a:cubicBezTo>
                  <a:cubicBezTo>
                    <a:pt x="0" y="96"/>
                    <a:pt x="8" y="104"/>
                    <a:pt x="18" y="104"/>
                  </a:cubicBezTo>
                  <a:cubicBezTo>
                    <a:pt x="87" y="104"/>
                    <a:pt x="87" y="104"/>
                    <a:pt x="87" y="104"/>
                  </a:cubicBezTo>
                  <a:cubicBezTo>
                    <a:pt x="97" y="104"/>
                    <a:pt x="105" y="96"/>
                    <a:pt x="105" y="86"/>
                  </a:cubicBezTo>
                  <a:cubicBezTo>
                    <a:pt x="105" y="18"/>
                    <a:pt x="105" y="18"/>
                    <a:pt x="105" y="18"/>
                  </a:cubicBezTo>
                  <a:cubicBezTo>
                    <a:pt x="105" y="8"/>
                    <a:pt x="97" y="0"/>
                    <a:pt x="87" y="0"/>
                  </a:cubicBezTo>
                  <a:lnTo>
                    <a:pt x="18" y="0"/>
                  </a:lnTo>
                  <a:close/>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7" name="Freeform 6">
              <a:extLst>
                <a:ext uri="{FF2B5EF4-FFF2-40B4-BE49-F238E27FC236}">
                  <a16:creationId xmlns:a16="http://schemas.microsoft.com/office/drawing/2014/main" id="{F2853FA3-DE3F-FB87-85D1-E500C1D3B6BA}"/>
                </a:ext>
              </a:extLst>
            </p:cNvPr>
            <p:cNvSpPr>
              <a:spLocks/>
            </p:cNvSpPr>
            <p:nvPr userDrawn="1"/>
          </p:nvSpPr>
          <p:spPr bwMode="auto">
            <a:xfrm>
              <a:off x="6046" y="3540"/>
              <a:ext cx="145" cy="120"/>
            </a:xfrm>
            <a:custGeom>
              <a:avLst/>
              <a:gdLst>
                <a:gd name="T0" fmla="*/ 0 w 74"/>
                <a:gd name="T1" fmla="*/ 53 h 60"/>
                <a:gd name="T2" fmla="*/ 23 w 74"/>
                <a:gd name="T3" fmla="*/ 60 h 60"/>
                <a:gd name="T4" fmla="*/ 66 w 74"/>
                <a:gd name="T5" fmla="*/ 17 h 60"/>
                <a:gd name="T6" fmla="*/ 66 w 74"/>
                <a:gd name="T7" fmla="*/ 15 h 60"/>
                <a:gd name="T8" fmla="*/ 74 w 74"/>
                <a:gd name="T9" fmla="*/ 7 h 60"/>
                <a:gd name="T10" fmla="*/ 65 w 74"/>
                <a:gd name="T11" fmla="*/ 10 h 60"/>
                <a:gd name="T12" fmla="*/ 71 w 74"/>
                <a:gd name="T13" fmla="*/ 1 h 60"/>
                <a:gd name="T14" fmla="*/ 62 w 74"/>
                <a:gd name="T15" fmla="*/ 5 h 60"/>
                <a:gd name="T16" fmla="*/ 51 w 74"/>
                <a:gd name="T17" fmla="*/ 0 h 60"/>
                <a:gd name="T18" fmla="*/ 36 w 74"/>
                <a:gd name="T19" fmla="*/ 15 h 60"/>
                <a:gd name="T20" fmla="*/ 36 w 74"/>
                <a:gd name="T21" fmla="*/ 19 h 60"/>
                <a:gd name="T22" fmla="*/ 5 w 74"/>
                <a:gd name="T23" fmla="*/ 3 h 60"/>
                <a:gd name="T24" fmla="*/ 3 w 74"/>
                <a:gd name="T25" fmla="*/ 10 h 60"/>
                <a:gd name="T26" fmla="*/ 10 w 74"/>
                <a:gd name="T27" fmla="*/ 23 h 60"/>
                <a:gd name="T28" fmla="*/ 3 w 74"/>
                <a:gd name="T29" fmla="*/ 21 h 60"/>
                <a:gd name="T30" fmla="*/ 3 w 74"/>
                <a:gd name="T31" fmla="*/ 21 h 60"/>
                <a:gd name="T32" fmla="*/ 15 w 74"/>
                <a:gd name="T33" fmla="*/ 36 h 60"/>
                <a:gd name="T34" fmla="*/ 11 w 74"/>
                <a:gd name="T35" fmla="*/ 37 h 60"/>
                <a:gd name="T36" fmla="*/ 8 w 74"/>
                <a:gd name="T37" fmla="*/ 36 h 60"/>
                <a:gd name="T38" fmla="*/ 22 w 74"/>
                <a:gd name="T39" fmla="*/ 47 h 60"/>
                <a:gd name="T40" fmla="*/ 4 w 74"/>
                <a:gd name="T41" fmla="*/ 53 h 60"/>
                <a:gd name="T42" fmla="*/ 0 w 74"/>
                <a:gd name="T43" fmla="*/ 53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74" h="60">
                  <a:moveTo>
                    <a:pt x="0" y="53"/>
                  </a:moveTo>
                  <a:cubicBezTo>
                    <a:pt x="7" y="57"/>
                    <a:pt x="15" y="60"/>
                    <a:pt x="23" y="60"/>
                  </a:cubicBezTo>
                  <a:cubicBezTo>
                    <a:pt x="51" y="60"/>
                    <a:pt x="66" y="37"/>
                    <a:pt x="66" y="17"/>
                  </a:cubicBezTo>
                  <a:cubicBezTo>
                    <a:pt x="66" y="16"/>
                    <a:pt x="66" y="16"/>
                    <a:pt x="66" y="15"/>
                  </a:cubicBezTo>
                  <a:cubicBezTo>
                    <a:pt x="69" y="13"/>
                    <a:pt x="71" y="10"/>
                    <a:pt x="74" y="7"/>
                  </a:cubicBezTo>
                  <a:cubicBezTo>
                    <a:pt x="71" y="8"/>
                    <a:pt x="68" y="9"/>
                    <a:pt x="65" y="10"/>
                  </a:cubicBezTo>
                  <a:cubicBezTo>
                    <a:pt x="68" y="8"/>
                    <a:pt x="70" y="5"/>
                    <a:pt x="71" y="1"/>
                  </a:cubicBezTo>
                  <a:cubicBezTo>
                    <a:pt x="69" y="3"/>
                    <a:pt x="65" y="4"/>
                    <a:pt x="62" y="5"/>
                  </a:cubicBezTo>
                  <a:cubicBezTo>
                    <a:pt x="59" y="2"/>
                    <a:pt x="55" y="0"/>
                    <a:pt x="51" y="0"/>
                  </a:cubicBezTo>
                  <a:cubicBezTo>
                    <a:pt x="43" y="0"/>
                    <a:pt x="36" y="7"/>
                    <a:pt x="36" y="15"/>
                  </a:cubicBezTo>
                  <a:cubicBezTo>
                    <a:pt x="36" y="16"/>
                    <a:pt x="36" y="17"/>
                    <a:pt x="36" y="19"/>
                  </a:cubicBezTo>
                  <a:cubicBezTo>
                    <a:pt x="24" y="18"/>
                    <a:pt x="13" y="12"/>
                    <a:pt x="5" y="3"/>
                  </a:cubicBezTo>
                  <a:cubicBezTo>
                    <a:pt x="4" y="5"/>
                    <a:pt x="3" y="8"/>
                    <a:pt x="3" y="10"/>
                  </a:cubicBezTo>
                  <a:cubicBezTo>
                    <a:pt x="3" y="16"/>
                    <a:pt x="6" y="20"/>
                    <a:pt x="10" y="23"/>
                  </a:cubicBezTo>
                  <a:cubicBezTo>
                    <a:pt x="7" y="23"/>
                    <a:pt x="5" y="22"/>
                    <a:pt x="3" y="21"/>
                  </a:cubicBezTo>
                  <a:cubicBezTo>
                    <a:pt x="3" y="21"/>
                    <a:pt x="3" y="21"/>
                    <a:pt x="3" y="21"/>
                  </a:cubicBezTo>
                  <a:cubicBezTo>
                    <a:pt x="3" y="29"/>
                    <a:pt x="8" y="35"/>
                    <a:pt x="15" y="36"/>
                  </a:cubicBezTo>
                  <a:cubicBezTo>
                    <a:pt x="14" y="36"/>
                    <a:pt x="13" y="37"/>
                    <a:pt x="11" y="37"/>
                  </a:cubicBezTo>
                  <a:cubicBezTo>
                    <a:pt x="10" y="37"/>
                    <a:pt x="9" y="36"/>
                    <a:pt x="8" y="36"/>
                  </a:cubicBezTo>
                  <a:cubicBezTo>
                    <a:pt x="10" y="42"/>
                    <a:pt x="16" y="47"/>
                    <a:pt x="22" y="47"/>
                  </a:cubicBezTo>
                  <a:cubicBezTo>
                    <a:pt x="17" y="51"/>
                    <a:pt x="11" y="53"/>
                    <a:pt x="4" y="53"/>
                  </a:cubicBezTo>
                  <a:cubicBezTo>
                    <a:pt x="2" y="53"/>
                    <a:pt x="1" y="53"/>
                    <a:pt x="0" y="53"/>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8" name="Freeform 7">
              <a:extLst>
                <a:ext uri="{FF2B5EF4-FFF2-40B4-BE49-F238E27FC236}">
                  <a16:creationId xmlns:a16="http://schemas.microsoft.com/office/drawing/2014/main" id="{C459950A-F6DD-DEEF-3BF2-9079CEFA656A}"/>
                </a:ext>
              </a:extLst>
            </p:cNvPr>
            <p:cNvSpPr>
              <a:spLocks/>
            </p:cNvSpPr>
            <p:nvPr userDrawn="1"/>
          </p:nvSpPr>
          <p:spPr bwMode="auto">
            <a:xfrm>
              <a:off x="6261" y="3496"/>
              <a:ext cx="205" cy="208"/>
            </a:xfrm>
            <a:custGeom>
              <a:avLst/>
              <a:gdLst>
                <a:gd name="T0" fmla="*/ 18 w 105"/>
                <a:gd name="T1" fmla="*/ 0 h 104"/>
                <a:gd name="T2" fmla="*/ 0 w 105"/>
                <a:gd name="T3" fmla="*/ 18 h 104"/>
                <a:gd name="T4" fmla="*/ 0 w 105"/>
                <a:gd name="T5" fmla="*/ 86 h 104"/>
                <a:gd name="T6" fmla="*/ 18 w 105"/>
                <a:gd name="T7" fmla="*/ 104 h 104"/>
                <a:gd name="T8" fmla="*/ 87 w 105"/>
                <a:gd name="T9" fmla="*/ 104 h 104"/>
                <a:gd name="T10" fmla="*/ 105 w 105"/>
                <a:gd name="T11" fmla="*/ 86 h 104"/>
                <a:gd name="T12" fmla="*/ 105 w 105"/>
                <a:gd name="T13" fmla="*/ 18 h 104"/>
                <a:gd name="T14" fmla="*/ 87 w 105"/>
                <a:gd name="T15" fmla="*/ 0 h 104"/>
                <a:gd name="T16" fmla="*/ 18 w 105"/>
                <a:gd name="T17" fmla="*/ 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5" h="104">
                  <a:moveTo>
                    <a:pt x="18" y="0"/>
                  </a:moveTo>
                  <a:cubicBezTo>
                    <a:pt x="8" y="0"/>
                    <a:pt x="0" y="8"/>
                    <a:pt x="0" y="18"/>
                  </a:cubicBezTo>
                  <a:cubicBezTo>
                    <a:pt x="0" y="86"/>
                    <a:pt x="0" y="86"/>
                    <a:pt x="0" y="86"/>
                  </a:cubicBezTo>
                  <a:cubicBezTo>
                    <a:pt x="0" y="96"/>
                    <a:pt x="8" y="104"/>
                    <a:pt x="18" y="104"/>
                  </a:cubicBezTo>
                  <a:cubicBezTo>
                    <a:pt x="87" y="104"/>
                    <a:pt x="87" y="104"/>
                    <a:pt x="87" y="104"/>
                  </a:cubicBezTo>
                  <a:cubicBezTo>
                    <a:pt x="97" y="104"/>
                    <a:pt x="105" y="96"/>
                    <a:pt x="105" y="86"/>
                  </a:cubicBezTo>
                  <a:cubicBezTo>
                    <a:pt x="105" y="18"/>
                    <a:pt x="105" y="18"/>
                    <a:pt x="105" y="18"/>
                  </a:cubicBezTo>
                  <a:cubicBezTo>
                    <a:pt x="105" y="8"/>
                    <a:pt x="97" y="0"/>
                    <a:pt x="87" y="0"/>
                  </a:cubicBezTo>
                  <a:lnTo>
                    <a:pt x="18" y="0"/>
                  </a:lnTo>
                  <a:close/>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9" name="Freeform 8">
              <a:extLst>
                <a:ext uri="{FF2B5EF4-FFF2-40B4-BE49-F238E27FC236}">
                  <a16:creationId xmlns:a16="http://schemas.microsoft.com/office/drawing/2014/main" id="{9122091E-D4AD-DC3C-6D96-3D5976970020}"/>
                </a:ext>
              </a:extLst>
            </p:cNvPr>
            <p:cNvSpPr>
              <a:spLocks noEditPoints="1"/>
            </p:cNvSpPr>
            <p:nvPr userDrawn="1"/>
          </p:nvSpPr>
          <p:spPr bwMode="auto">
            <a:xfrm>
              <a:off x="6292" y="3548"/>
              <a:ext cx="143" cy="104"/>
            </a:xfrm>
            <a:custGeom>
              <a:avLst/>
              <a:gdLst>
                <a:gd name="T0" fmla="*/ 29 w 73"/>
                <a:gd name="T1" fmla="*/ 37 h 52"/>
                <a:gd name="T2" fmla="*/ 29 w 73"/>
                <a:gd name="T3" fmla="*/ 15 h 52"/>
                <a:gd name="T4" fmla="*/ 48 w 73"/>
                <a:gd name="T5" fmla="*/ 26 h 52"/>
                <a:gd name="T6" fmla="*/ 29 w 73"/>
                <a:gd name="T7" fmla="*/ 37 h 52"/>
                <a:gd name="T8" fmla="*/ 65 w 73"/>
                <a:gd name="T9" fmla="*/ 2 h 52"/>
                <a:gd name="T10" fmla="*/ 36 w 73"/>
                <a:gd name="T11" fmla="*/ 0 h 52"/>
                <a:gd name="T12" fmla="*/ 8 w 73"/>
                <a:gd name="T13" fmla="*/ 2 h 52"/>
                <a:gd name="T14" fmla="*/ 1 w 73"/>
                <a:gd name="T15" fmla="*/ 8 h 52"/>
                <a:gd name="T16" fmla="*/ 0 w 73"/>
                <a:gd name="T17" fmla="*/ 26 h 52"/>
                <a:gd name="T18" fmla="*/ 1 w 73"/>
                <a:gd name="T19" fmla="*/ 44 h 52"/>
                <a:gd name="T20" fmla="*/ 8 w 73"/>
                <a:gd name="T21" fmla="*/ 50 h 52"/>
                <a:gd name="T22" fmla="*/ 36 w 73"/>
                <a:gd name="T23" fmla="*/ 52 h 52"/>
                <a:gd name="T24" fmla="*/ 65 w 73"/>
                <a:gd name="T25" fmla="*/ 50 h 52"/>
                <a:gd name="T26" fmla="*/ 72 w 73"/>
                <a:gd name="T27" fmla="*/ 44 h 52"/>
                <a:gd name="T28" fmla="*/ 73 w 73"/>
                <a:gd name="T29" fmla="*/ 26 h 52"/>
                <a:gd name="T30" fmla="*/ 72 w 73"/>
                <a:gd name="T31" fmla="*/ 8 h 52"/>
                <a:gd name="T32" fmla="*/ 65 w 73"/>
                <a:gd name="T33" fmla="*/ 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3" h="52">
                  <a:moveTo>
                    <a:pt x="29" y="37"/>
                  </a:moveTo>
                  <a:cubicBezTo>
                    <a:pt x="29" y="15"/>
                    <a:pt x="29" y="15"/>
                    <a:pt x="29" y="15"/>
                  </a:cubicBezTo>
                  <a:cubicBezTo>
                    <a:pt x="48" y="26"/>
                    <a:pt x="48" y="26"/>
                    <a:pt x="48" y="26"/>
                  </a:cubicBezTo>
                  <a:lnTo>
                    <a:pt x="29" y="37"/>
                  </a:lnTo>
                  <a:close/>
                  <a:moveTo>
                    <a:pt x="65" y="2"/>
                  </a:moveTo>
                  <a:cubicBezTo>
                    <a:pt x="59" y="0"/>
                    <a:pt x="36" y="0"/>
                    <a:pt x="36" y="0"/>
                  </a:cubicBezTo>
                  <a:cubicBezTo>
                    <a:pt x="36" y="0"/>
                    <a:pt x="13" y="0"/>
                    <a:pt x="8" y="2"/>
                  </a:cubicBezTo>
                  <a:cubicBezTo>
                    <a:pt x="5" y="3"/>
                    <a:pt x="2" y="5"/>
                    <a:pt x="1" y="8"/>
                  </a:cubicBezTo>
                  <a:cubicBezTo>
                    <a:pt x="0" y="14"/>
                    <a:pt x="0" y="26"/>
                    <a:pt x="0" y="26"/>
                  </a:cubicBezTo>
                  <a:cubicBezTo>
                    <a:pt x="0" y="26"/>
                    <a:pt x="0" y="38"/>
                    <a:pt x="1" y="44"/>
                  </a:cubicBezTo>
                  <a:cubicBezTo>
                    <a:pt x="2" y="47"/>
                    <a:pt x="5" y="49"/>
                    <a:pt x="8" y="50"/>
                  </a:cubicBezTo>
                  <a:cubicBezTo>
                    <a:pt x="13" y="52"/>
                    <a:pt x="36" y="52"/>
                    <a:pt x="36" y="52"/>
                  </a:cubicBezTo>
                  <a:cubicBezTo>
                    <a:pt x="36" y="52"/>
                    <a:pt x="59" y="52"/>
                    <a:pt x="65" y="50"/>
                  </a:cubicBezTo>
                  <a:cubicBezTo>
                    <a:pt x="68" y="49"/>
                    <a:pt x="71" y="47"/>
                    <a:pt x="72" y="44"/>
                  </a:cubicBezTo>
                  <a:cubicBezTo>
                    <a:pt x="73" y="38"/>
                    <a:pt x="73" y="26"/>
                    <a:pt x="73" y="26"/>
                  </a:cubicBezTo>
                  <a:cubicBezTo>
                    <a:pt x="73" y="26"/>
                    <a:pt x="73" y="14"/>
                    <a:pt x="72" y="8"/>
                  </a:cubicBezTo>
                  <a:cubicBezTo>
                    <a:pt x="71" y="5"/>
                    <a:pt x="68" y="3"/>
                    <a:pt x="65" y="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0" name="Freeform 9">
              <a:extLst>
                <a:ext uri="{FF2B5EF4-FFF2-40B4-BE49-F238E27FC236}">
                  <a16:creationId xmlns:a16="http://schemas.microsoft.com/office/drawing/2014/main" id="{3E60BAE2-B196-EDE8-0C06-B1A6619EFF77}"/>
                </a:ext>
              </a:extLst>
            </p:cNvPr>
            <p:cNvSpPr>
              <a:spLocks/>
            </p:cNvSpPr>
            <p:nvPr userDrawn="1"/>
          </p:nvSpPr>
          <p:spPr bwMode="auto">
            <a:xfrm>
              <a:off x="6507" y="3496"/>
              <a:ext cx="204" cy="208"/>
            </a:xfrm>
            <a:custGeom>
              <a:avLst/>
              <a:gdLst>
                <a:gd name="T0" fmla="*/ 18 w 104"/>
                <a:gd name="T1" fmla="*/ 0 h 104"/>
                <a:gd name="T2" fmla="*/ 0 w 104"/>
                <a:gd name="T3" fmla="*/ 18 h 104"/>
                <a:gd name="T4" fmla="*/ 0 w 104"/>
                <a:gd name="T5" fmla="*/ 86 h 104"/>
                <a:gd name="T6" fmla="*/ 18 w 104"/>
                <a:gd name="T7" fmla="*/ 104 h 104"/>
                <a:gd name="T8" fmla="*/ 86 w 104"/>
                <a:gd name="T9" fmla="*/ 104 h 104"/>
                <a:gd name="T10" fmla="*/ 104 w 104"/>
                <a:gd name="T11" fmla="*/ 86 h 104"/>
                <a:gd name="T12" fmla="*/ 104 w 104"/>
                <a:gd name="T13" fmla="*/ 18 h 104"/>
                <a:gd name="T14" fmla="*/ 86 w 104"/>
                <a:gd name="T15" fmla="*/ 0 h 104"/>
                <a:gd name="T16" fmla="*/ 18 w 104"/>
                <a:gd name="T17" fmla="*/ 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4" h="104">
                  <a:moveTo>
                    <a:pt x="18" y="0"/>
                  </a:moveTo>
                  <a:cubicBezTo>
                    <a:pt x="8" y="0"/>
                    <a:pt x="0" y="8"/>
                    <a:pt x="0" y="18"/>
                  </a:cubicBezTo>
                  <a:cubicBezTo>
                    <a:pt x="0" y="86"/>
                    <a:pt x="0" y="86"/>
                    <a:pt x="0" y="86"/>
                  </a:cubicBezTo>
                  <a:cubicBezTo>
                    <a:pt x="0" y="96"/>
                    <a:pt x="8" y="104"/>
                    <a:pt x="18" y="104"/>
                  </a:cubicBezTo>
                  <a:cubicBezTo>
                    <a:pt x="86" y="104"/>
                    <a:pt x="86" y="104"/>
                    <a:pt x="86" y="104"/>
                  </a:cubicBezTo>
                  <a:cubicBezTo>
                    <a:pt x="96" y="104"/>
                    <a:pt x="104" y="96"/>
                    <a:pt x="104" y="86"/>
                  </a:cubicBezTo>
                  <a:cubicBezTo>
                    <a:pt x="104" y="18"/>
                    <a:pt x="104" y="18"/>
                    <a:pt x="104" y="18"/>
                  </a:cubicBezTo>
                  <a:cubicBezTo>
                    <a:pt x="104" y="8"/>
                    <a:pt x="96" y="0"/>
                    <a:pt x="86" y="0"/>
                  </a:cubicBezTo>
                  <a:lnTo>
                    <a:pt x="18" y="0"/>
                  </a:lnTo>
                  <a:close/>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1" name="Freeform 10">
              <a:extLst>
                <a:ext uri="{FF2B5EF4-FFF2-40B4-BE49-F238E27FC236}">
                  <a16:creationId xmlns:a16="http://schemas.microsoft.com/office/drawing/2014/main" id="{F963F5DB-E0C5-A790-99E9-FFCAEA92F98F}"/>
                </a:ext>
              </a:extLst>
            </p:cNvPr>
            <p:cNvSpPr>
              <a:spLocks/>
            </p:cNvSpPr>
            <p:nvPr userDrawn="1"/>
          </p:nvSpPr>
          <p:spPr bwMode="auto">
            <a:xfrm>
              <a:off x="6597" y="3522"/>
              <a:ext cx="96" cy="182"/>
            </a:xfrm>
            <a:custGeom>
              <a:avLst/>
              <a:gdLst>
                <a:gd name="T0" fmla="*/ 14 w 49"/>
                <a:gd name="T1" fmla="*/ 23 h 91"/>
                <a:gd name="T2" fmla="*/ 14 w 49"/>
                <a:gd name="T3" fmla="*/ 36 h 91"/>
                <a:gd name="T4" fmla="*/ 0 w 49"/>
                <a:gd name="T5" fmla="*/ 36 h 91"/>
                <a:gd name="T6" fmla="*/ 0 w 49"/>
                <a:gd name="T7" fmla="*/ 53 h 91"/>
                <a:gd name="T8" fmla="*/ 14 w 49"/>
                <a:gd name="T9" fmla="*/ 53 h 91"/>
                <a:gd name="T10" fmla="*/ 14 w 49"/>
                <a:gd name="T11" fmla="*/ 91 h 91"/>
                <a:gd name="T12" fmla="*/ 33 w 49"/>
                <a:gd name="T13" fmla="*/ 91 h 91"/>
                <a:gd name="T14" fmla="*/ 33 w 49"/>
                <a:gd name="T15" fmla="*/ 53 h 91"/>
                <a:gd name="T16" fmla="*/ 46 w 49"/>
                <a:gd name="T17" fmla="*/ 53 h 91"/>
                <a:gd name="T18" fmla="*/ 49 w 49"/>
                <a:gd name="T19" fmla="*/ 36 h 91"/>
                <a:gd name="T20" fmla="*/ 33 w 49"/>
                <a:gd name="T21" fmla="*/ 36 h 91"/>
                <a:gd name="T22" fmla="*/ 33 w 49"/>
                <a:gd name="T23" fmla="*/ 25 h 91"/>
                <a:gd name="T24" fmla="*/ 42 w 49"/>
                <a:gd name="T25" fmla="*/ 16 h 91"/>
                <a:gd name="T26" fmla="*/ 49 w 49"/>
                <a:gd name="T27" fmla="*/ 16 h 91"/>
                <a:gd name="T28" fmla="*/ 49 w 49"/>
                <a:gd name="T29" fmla="*/ 1 h 91"/>
                <a:gd name="T30" fmla="*/ 36 w 49"/>
                <a:gd name="T31" fmla="*/ 0 h 91"/>
                <a:gd name="T32" fmla="*/ 14 w 49"/>
                <a:gd name="T33" fmla="*/ 23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9" h="91">
                  <a:moveTo>
                    <a:pt x="14" y="23"/>
                  </a:moveTo>
                  <a:cubicBezTo>
                    <a:pt x="14" y="36"/>
                    <a:pt x="14" y="36"/>
                    <a:pt x="14" y="36"/>
                  </a:cubicBezTo>
                  <a:cubicBezTo>
                    <a:pt x="0" y="36"/>
                    <a:pt x="0" y="36"/>
                    <a:pt x="0" y="36"/>
                  </a:cubicBezTo>
                  <a:cubicBezTo>
                    <a:pt x="0" y="53"/>
                    <a:pt x="0" y="53"/>
                    <a:pt x="0" y="53"/>
                  </a:cubicBezTo>
                  <a:cubicBezTo>
                    <a:pt x="14" y="53"/>
                    <a:pt x="14" y="53"/>
                    <a:pt x="14" y="53"/>
                  </a:cubicBezTo>
                  <a:cubicBezTo>
                    <a:pt x="14" y="91"/>
                    <a:pt x="14" y="91"/>
                    <a:pt x="14" y="91"/>
                  </a:cubicBezTo>
                  <a:cubicBezTo>
                    <a:pt x="33" y="91"/>
                    <a:pt x="33" y="91"/>
                    <a:pt x="33" y="91"/>
                  </a:cubicBezTo>
                  <a:cubicBezTo>
                    <a:pt x="33" y="53"/>
                    <a:pt x="33" y="53"/>
                    <a:pt x="33" y="53"/>
                  </a:cubicBezTo>
                  <a:cubicBezTo>
                    <a:pt x="46" y="53"/>
                    <a:pt x="46" y="53"/>
                    <a:pt x="46" y="53"/>
                  </a:cubicBezTo>
                  <a:cubicBezTo>
                    <a:pt x="49" y="36"/>
                    <a:pt x="49" y="36"/>
                    <a:pt x="49" y="36"/>
                  </a:cubicBezTo>
                  <a:cubicBezTo>
                    <a:pt x="33" y="36"/>
                    <a:pt x="33" y="36"/>
                    <a:pt x="33" y="36"/>
                  </a:cubicBezTo>
                  <a:cubicBezTo>
                    <a:pt x="33" y="25"/>
                    <a:pt x="33" y="25"/>
                    <a:pt x="33" y="25"/>
                  </a:cubicBezTo>
                  <a:cubicBezTo>
                    <a:pt x="33" y="20"/>
                    <a:pt x="35" y="16"/>
                    <a:pt x="42" y="16"/>
                  </a:cubicBezTo>
                  <a:cubicBezTo>
                    <a:pt x="49" y="16"/>
                    <a:pt x="49" y="16"/>
                    <a:pt x="49" y="16"/>
                  </a:cubicBezTo>
                  <a:cubicBezTo>
                    <a:pt x="49" y="1"/>
                    <a:pt x="49" y="1"/>
                    <a:pt x="49" y="1"/>
                  </a:cubicBezTo>
                  <a:cubicBezTo>
                    <a:pt x="49" y="1"/>
                    <a:pt x="43" y="0"/>
                    <a:pt x="36" y="0"/>
                  </a:cubicBezTo>
                  <a:cubicBezTo>
                    <a:pt x="23" y="0"/>
                    <a:pt x="14" y="8"/>
                    <a:pt x="14" y="23"/>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2" name="Freeform 11">
              <a:extLst>
                <a:ext uri="{FF2B5EF4-FFF2-40B4-BE49-F238E27FC236}">
                  <a16:creationId xmlns:a16="http://schemas.microsoft.com/office/drawing/2014/main" id="{C0184552-E806-0315-505D-6C6B35424B59}"/>
                </a:ext>
              </a:extLst>
            </p:cNvPr>
            <p:cNvSpPr>
              <a:spLocks/>
            </p:cNvSpPr>
            <p:nvPr userDrawn="1"/>
          </p:nvSpPr>
          <p:spPr bwMode="auto">
            <a:xfrm>
              <a:off x="6998" y="3496"/>
              <a:ext cx="205" cy="208"/>
            </a:xfrm>
            <a:custGeom>
              <a:avLst/>
              <a:gdLst>
                <a:gd name="T0" fmla="*/ 18 w 105"/>
                <a:gd name="T1" fmla="*/ 0 h 104"/>
                <a:gd name="T2" fmla="*/ 0 w 105"/>
                <a:gd name="T3" fmla="*/ 18 h 104"/>
                <a:gd name="T4" fmla="*/ 0 w 105"/>
                <a:gd name="T5" fmla="*/ 86 h 104"/>
                <a:gd name="T6" fmla="*/ 18 w 105"/>
                <a:gd name="T7" fmla="*/ 104 h 104"/>
                <a:gd name="T8" fmla="*/ 87 w 105"/>
                <a:gd name="T9" fmla="*/ 104 h 104"/>
                <a:gd name="T10" fmla="*/ 105 w 105"/>
                <a:gd name="T11" fmla="*/ 86 h 104"/>
                <a:gd name="T12" fmla="*/ 105 w 105"/>
                <a:gd name="T13" fmla="*/ 18 h 104"/>
                <a:gd name="T14" fmla="*/ 87 w 105"/>
                <a:gd name="T15" fmla="*/ 0 h 104"/>
                <a:gd name="T16" fmla="*/ 18 w 105"/>
                <a:gd name="T17" fmla="*/ 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5" h="104">
                  <a:moveTo>
                    <a:pt x="18" y="0"/>
                  </a:moveTo>
                  <a:cubicBezTo>
                    <a:pt x="8" y="0"/>
                    <a:pt x="0" y="8"/>
                    <a:pt x="0" y="18"/>
                  </a:cubicBezTo>
                  <a:cubicBezTo>
                    <a:pt x="0" y="86"/>
                    <a:pt x="0" y="86"/>
                    <a:pt x="0" y="86"/>
                  </a:cubicBezTo>
                  <a:cubicBezTo>
                    <a:pt x="0" y="96"/>
                    <a:pt x="8" y="104"/>
                    <a:pt x="18" y="104"/>
                  </a:cubicBezTo>
                  <a:cubicBezTo>
                    <a:pt x="87" y="104"/>
                    <a:pt x="87" y="104"/>
                    <a:pt x="87" y="104"/>
                  </a:cubicBezTo>
                  <a:cubicBezTo>
                    <a:pt x="97" y="104"/>
                    <a:pt x="105" y="96"/>
                    <a:pt x="105" y="86"/>
                  </a:cubicBezTo>
                  <a:cubicBezTo>
                    <a:pt x="105" y="18"/>
                    <a:pt x="105" y="18"/>
                    <a:pt x="105" y="18"/>
                  </a:cubicBezTo>
                  <a:cubicBezTo>
                    <a:pt x="105" y="8"/>
                    <a:pt x="97" y="0"/>
                    <a:pt x="87" y="0"/>
                  </a:cubicBezTo>
                  <a:lnTo>
                    <a:pt x="18" y="0"/>
                  </a:lnTo>
                  <a:close/>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3" name="Rectangle 12">
              <a:extLst>
                <a:ext uri="{FF2B5EF4-FFF2-40B4-BE49-F238E27FC236}">
                  <a16:creationId xmlns:a16="http://schemas.microsoft.com/office/drawing/2014/main" id="{170E0C07-A029-C201-D2AC-848B483F7058}"/>
                </a:ext>
              </a:extLst>
            </p:cNvPr>
            <p:cNvSpPr>
              <a:spLocks noChangeArrowheads="1"/>
            </p:cNvSpPr>
            <p:nvPr userDrawn="1"/>
          </p:nvSpPr>
          <p:spPr bwMode="auto">
            <a:xfrm>
              <a:off x="7033" y="3576"/>
              <a:ext cx="29" cy="9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4" name="Freeform 13">
              <a:extLst>
                <a:ext uri="{FF2B5EF4-FFF2-40B4-BE49-F238E27FC236}">
                  <a16:creationId xmlns:a16="http://schemas.microsoft.com/office/drawing/2014/main" id="{C2707526-B1EF-BAED-EBB8-6EDA682EECCA}"/>
                </a:ext>
              </a:extLst>
            </p:cNvPr>
            <p:cNvSpPr>
              <a:spLocks/>
            </p:cNvSpPr>
            <p:nvPr userDrawn="1"/>
          </p:nvSpPr>
          <p:spPr bwMode="auto">
            <a:xfrm>
              <a:off x="7078" y="3574"/>
              <a:ext cx="92" cy="94"/>
            </a:xfrm>
            <a:custGeom>
              <a:avLst/>
              <a:gdLst>
                <a:gd name="T0" fmla="*/ 29 w 47"/>
                <a:gd name="T1" fmla="*/ 0 h 47"/>
                <a:gd name="T2" fmla="*/ 16 w 47"/>
                <a:gd name="T3" fmla="*/ 8 h 47"/>
                <a:gd name="T4" fmla="*/ 16 w 47"/>
                <a:gd name="T5" fmla="*/ 1 h 47"/>
                <a:gd name="T6" fmla="*/ 0 w 47"/>
                <a:gd name="T7" fmla="*/ 1 h 47"/>
                <a:gd name="T8" fmla="*/ 0 w 47"/>
                <a:gd name="T9" fmla="*/ 47 h 47"/>
                <a:gd name="T10" fmla="*/ 16 w 47"/>
                <a:gd name="T11" fmla="*/ 47 h 47"/>
                <a:gd name="T12" fmla="*/ 16 w 47"/>
                <a:gd name="T13" fmla="*/ 21 h 47"/>
                <a:gd name="T14" fmla="*/ 16 w 47"/>
                <a:gd name="T15" fmla="*/ 18 h 47"/>
                <a:gd name="T16" fmla="*/ 24 w 47"/>
                <a:gd name="T17" fmla="*/ 12 h 47"/>
                <a:gd name="T18" fmla="*/ 32 w 47"/>
                <a:gd name="T19" fmla="*/ 22 h 47"/>
                <a:gd name="T20" fmla="*/ 32 w 47"/>
                <a:gd name="T21" fmla="*/ 47 h 47"/>
                <a:gd name="T22" fmla="*/ 47 w 47"/>
                <a:gd name="T23" fmla="*/ 47 h 47"/>
                <a:gd name="T24" fmla="*/ 47 w 47"/>
                <a:gd name="T25" fmla="*/ 21 h 47"/>
                <a:gd name="T26" fmla="*/ 29 w 47"/>
                <a:gd name="T27"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7" h="47">
                  <a:moveTo>
                    <a:pt x="29" y="0"/>
                  </a:moveTo>
                  <a:cubicBezTo>
                    <a:pt x="21" y="0"/>
                    <a:pt x="18" y="4"/>
                    <a:pt x="16" y="8"/>
                  </a:cubicBezTo>
                  <a:cubicBezTo>
                    <a:pt x="16" y="1"/>
                    <a:pt x="16" y="1"/>
                    <a:pt x="16" y="1"/>
                  </a:cubicBezTo>
                  <a:cubicBezTo>
                    <a:pt x="0" y="1"/>
                    <a:pt x="0" y="1"/>
                    <a:pt x="0" y="1"/>
                  </a:cubicBezTo>
                  <a:cubicBezTo>
                    <a:pt x="1" y="5"/>
                    <a:pt x="0" y="47"/>
                    <a:pt x="0" y="47"/>
                  </a:cubicBezTo>
                  <a:cubicBezTo>
                    <a:pt x="16" y="47"/>
                    <a:pt x="16" y="47"/>
                    <a:pt x="16" y="47"/>
                  </a:cubicBezTo>
                  <a:cubicBezTo>
                    <a:pt x="16" y="21"/>
                    <a:pt x="16" y="21"/>
                    <a:pt x="16" y="21"/>
                  </a:cubicBezTo>
                  <a:cubicBezTo>
                    <a:pt x="16" y="20"/>
                    <a:pt x="16" y="19"/>
                    <a:pt x="16" y="18"/>
                  </a:cubicBezTo>
                  <a:cubicBezTo>
                    <a:pt x="17" y="15"/>
                    <a:pt x="20" y="12"/>
                    <a:pt x="24" y="12"/>
                  </a:cubicBezTo>
                  <a:cubicBezTo>
                    <a:pt x="30" y="12"/>
                    <a:pt x="32" y="16"/>
                    <a:pt x="32" y="22"/>
                  </a:cubicBezTo>
                  <a:cubicBezTo>
                    <a:pt x="32" y="47"/>
                    <a:pt x="32" y="47"/>
                    <a:pt x="32" y="47"/>
                  </a:cubicBezTo>
                  <a:cubicBezTo>
                    <a:pt x="47" y="47"/>
                    <a:pt x="47" y="47"/>
                    <a:pt x="47" y="47"/>
                  </a:cubicBezTo>
                  <a:cubicBezTo>
                    <a:pt x="47" y="21"/>
                    <a:pt x="47" y="21"/>
                    <a:pt x="47" y="21"/>
                  </a:cubicBezTo>
                  <a:cubicBezTo>
                    <a:pt x="47" y="7"/>
                    <a:pt x="40" y="0"/>
                    <a:pt x="29"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5" name="Freeform 14">
              <a:extLst>
                <a:ext uri="{FF2B5EF4-FFF2-40B4-BE49-F238E27FC236}">
                  <a16:creationId xmlns:a16="http://schemas.microsoft.com/office/drawing/2014/main" id="{FB5AE55F-C2B1-4C66-0FC5-474761A9CFE9}"/>
                </a:ext>
              </a:extLst>
            </p:cNvPr>
            <p:cNvSpPr>
              <a:spLocks/>
            </p:cNvSpPr>
            <p:nvPr userDrawn="1"/>
          </p:nvSpPr>
          <p:spPr bwMode="auto">
            <a:xfrm>
              <a:off x="7031" y="3532"/>
              <a:ext cx="33" cy="32"/>
            </a:xfrm>
            <a:custGeom>
              <a:avLst/>
              <a:gdLst>
                <a:gd name="T0" fmla="*/ 8 w 17"/>
                <a:gd name="T1" fmla="*/ 0 h 16"/>
                <a:gd name="T2" fmla="*/ 0 w 17"/>
                <a:gd name="T3" fmla="*/ 8 h 16"/>
                <a:gd name="T4" fmla="*/ 8 w 17"/>
                <a:gd name="T5" fmla="*/ 16 h 16"/>
                <a:gd name="T6" fmla="*/ 8 w 17"/>
                <a:gd name="T7" fmla="*/ 16 h 16"/>
                <a:gd name="T8" fmla="*/ 17 w 17"/>
                <a:gd name="T9" fmla="*/ 8 h 16"/>
                <a:gd name="T10" fmla="*/ 8 w 17"/>
                <a:gd name="T11" fmla="*/ 0 h 16"/>
              </a:gdLst>
              <a:ahLst/>
              <a:cxnLst>
                <a:cxn ang="0">
                  <a:pos x="T0" y="T1"/>
                </a:cxn>
                <a:cxn ang="0">
                  <a:pos x="T2" y="T3"/>
                </a:cxn>
                <a:cxn ang="0">
                  <a:pos x="T4" y="T5"/>
                </a:cxn>
                <a:cxn ang="0">
                  <a:pos x="T6" y="T7"/>
                </a:cxn>
                <a:cxn ang="0">
                  <a:pos x="T8" y="T9"/>
                </a:cxn>
                <a:cxn ang="0">
                  <a:pos x="T10" y="T11"/>
                </a:cxn>
              </a:cxnLst>
              <a:rect l="0" t="0" r="r" b="b"/>
              <a:pathLst>
                <a:path w="17" h="16">
                  <a:moveTo>
                    <a:pt x="8" y="0"/>
                  </a:moveTo>
                  <a:cubicBezTo>
                    <a:pt x="3" y="0"/>
                    <a:pt x="0" y="3"/>
                    <a:pt x="0" y="8"/>
                  </a:cubicBezTo>
                  <a:cubicBezTo>
                    <a:pt x="0" y="12"/>
                    <a:pt x="3" y="16"/>
                    <a:pt x="8" y="16"/>
                  </a:cubicBezTo>
                  <a:cubicBezTo>
                    <a:pt x="8" y="16"/>
                    <a:pt x="8" y="16"/>
                    <a:pt x="8" y="16"/>
                  </a:cubicBezTo>
                  <a:cubicBezTo>
                    <a:pt x="14" y="16"/>
                    <a:pt x="17" y="12"/>
                    <a:pt x="17" y="8"/>
                  </a:cubicBezTo>
                  <a:cubicBezTo>
                    <a:pt x="17" y="3"/>
                    <a:pt x="14" y="0"/>
                    <a:pt x="8"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9" name="Freeform 15">
              <a:extLst>
                <a:ext uri="{FF2B5EF4-FFF2-40B4-BE49-F238E27FC236}">
                  <a16:creationId xmlns:a16="http://schemas.microsoft.com/office/drawing/2014/main" id="{9BA829F1-FB0F-2786-BCAF-C58C26B33F76}"/>
                </a:ext>
              </a:extLst>
            </p:cNvPr>
            <p:cNvSpPr>
              <a:spLocks/>
            </p:cNvSpPr>
            <p:nvPr userDrawn="1"/>
          </p:nvSpPr>
          <p:spPr bwMode="auto">
            <a:xfrm>
              <a:off x="6752" y="3496"/>
              <a:ext cx="205" cy="208"/>
            </a:xfrm>
            <a:custGeom>
              <a:avLst/>
              <a:gdLst>
                <a:gd name="T0" fmla="*/ 18 w 105"/>
                <a:gd name="T1" fmla="*/ 0 h 104"/>
                <a:gd name="T2" fmla="*/ 0 w 105"/>
                <a:gd name="T3" fmla="*/ 18 h 104"/>
                <a:gd name="T4" fmla="*/ 0 w 105"/>
                <a:gd name="T5" fmla="*/ 86 h 104"/>
                <a:gd name="T6" fmla="*/ 18 w 105"/>
                <a:gd name="T7" fmla="*/ 104 h 104"/>
                <a:gd name="T8" fmla="*/ 87 w 105"/>
                <a:gd name="T9" fmla="*/ 104 h 104"/>
                <a:gd name="T10" fmla="*/ 105 w 105"/>
                <a:gd name="T11" fmla="*/ 86 h 104"/>
                <a:gd name="T12" fmla="*/ 105 w 105"/>
                <a:gd name="T13" fmla="*/ 18 h 104"/>
                <a:gd name="T14" fmla="*/ 87 w 105"/>
                <a:gd name="T15" fmla="*/ 0 h 104"/>
                <a:gd name="T16" fmla="*/ 18 w 105"/>
                <a:gd name="T17" fmla="*/ 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5" h="104">
                  <a:moveTo>
                    <a:pt x="18" y="0"/>
                  </a:moveTo>
                  <a:cubicBezTo>
                    <a:pt x="8" y="0"/>
                    <a:pt x="0" y="8"/>
                    <a:pt x="0" y="18"/>
                  </a:cubicBezTo>
                  <a:cubicBezTo>
                    <a:pt x="0" y="86"/>
                    <a:pt x="0" y="86"/>
                    <a:pt x="0" y="86"/>
                  </a:cubicBezTo>
                  <a:cubicBezTo>
                    <a:pt x="0" y="96"/>
                    <a:pt x="8" y="104"/>
                    <a:pt x="18" y="104"/>
                  </a:cubicBezTo>
                  <a:cubicBezTo>
                    <a:pt x="87" y="104"/>
                    <a:pt x="87" y="104"/>
                    <a:pt x="87" y="104"/>
                  </a:cubicBezTo>
                  <a:cubicBezTo>
                    <a:pt x="97" y="104"/>
                    <a:pt x="105" y="96"/>
                    <a:pt x="105" y="86"/>
                  </a:cubicBezTo>
                  <a:cubicBezTo>
                    <a:pt x="105" y="18"/>
                    <a:pt x="105" y="18"/>
                    <a:pt x="105" y="18"/>
                  </a:cubicBezTo>
                  <a:cubicBezTo>
                    <a:pt x="105" y="8"/>
                    <a:pt x="97" y="0"/>
                    <a:pt x="87" y="0"/>
                  </a:cubicBezTo>
                  <a:lnTo>
                    <a:pt x="18" y="0"/>
                  </a:lnTo>
                  <a:close/>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0" name="Freeform 16">
              <a:extLst>
                <a:ext uri="{FF2B5EF4-FFF2-40B4-BE49-F238E27FC236}">
                  <a16:creationId xmlns:a16="http://schemas.microsoft.com/office/drawing/2014/main" id="{1BFBAAF5-A08C-C4A4-62D6-02F86D17ADF9}"/>
                </a:ext>
              </a:extLst>
            </p:cNvPr>
            <p:cNvSpPr>
              <a:spLocks noEditPoints="1"/>
            </p:cNvSpPr>
            <p:nvPr userDrawn="1"/>
          </p:nvSpPr>
          <p:spPr bwMode="auto">
            <a:xfrm>
              <a:off x="6818" y="3564"/>
              <a:ext cx="72" cy="72"/>
            </a:xfrm>
            <a:custGeom>
              <a:avLst/>
              <a:gdLst>
                <a:gd name="T0" fmla="*/ 19 w 37"/>
                <a:gd name="T1" fmla="*/ 30 h 36"/>
                <a:gd name="T2" fmla="*/ 7 w 37"/>
                <a:gd name="T3" fmla="*/ 18 h 36"/>
                <a:gd name="T4" fmla="*/ 19 w 37"/>
                <a:gd name="T5" fmla="*/ 6 h 36"/>
                <a:gd name="T6" fmla="*/ 31 w 37"/>
                <a:gd name="T7" fmla="*/ 18 h 36"/>
                <a:gd name="T8" fmla="*/ 19 w 37"/>
                <a:gd name="T9" fmla="*/ 30 h 36"/>
                <a:gd name="T10" fmla="*/ 19 w 37"/>
                <a:gd name="T11" fmla="*/ 0 h 36"/>
                <a:gd name="T12" fmla="*/ 0 w 37"/>
                <a:gd name="T13" fmla="*/ 18 h 36"/>
                <a:gd name="T14" fmla="*/ 19 w 37"/>
                <a:gd name="T15" fmla="*/ 36 h 36"/>
                <a:gd name="T16" fmla="*/ 37 w 37"/>
                <a:gd name="T17" fmla="*/ 18 h 36"/>
                <a:gd name="T18" fmla="*/ 19 w 37"/>
                <a:gd name="T19"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7" h="36">
                  <a:moveTo>
                    <a:pt x="19" y="30"/>
                  </a:moveTo>
                  <a:cubicBezTo>
                    <a:pt x="12" y="30"/>
                    <a:pt x="7" y="25"/>
                    <a:pt x="7" y="18"/>
                  </a:cubicBezTo>
                  <a:cubicBezTo>
                    <a:pt x="7" y="11"/>
                    <a:pt x="12" y="6"/>
                    <a:pt x="19" y="6"/>
                  </a:cubicBezTo>
                  <a:cubicBezTo>
                    <a:pt x="25" y="6"/>
                    <a:pt x="31" y="11"/>
                    <a:pt x="31" y="18"/>
                  </a:cubicBezTo>
                  <a:cubicBezTo>
                    <a:pt x="31" y="25"/>
                    <a:pt x="25" y="30"/>
                    <a:pt x="19" y="30"/>
                  </a:cubicBezTo>
                  <a:moveTo>
                    <a:pt x="19" y="0"/>
                  </a:moveTo>
                  <a:cubicBezTo>
                    <a:pt x="9" y="0"/>
                    <a:pt x="0" y="8"/>
                    <a:pt x="0" y="18"/>
                  </a:cubicBezTo>
                  <a:cubicBezTo>
                    <a:pt x="0" y="28"/>
                    <a:pt x="9" y="36"/>
                    <a:pt x="19" y="36"/>
                  </a:cubicBezTo>
                  <a:cubicBezTo>
                    <a:pt x="29" y="36"/>
                    <a:pt x="37" y="28"/>
                    <a:pt x="37" y="18"/>
                  </a:cubicBezTo>
                  <a:cubicBezTo>
                    <a:pt x="37" y="8"/>
                    <a:pt x="29" y="0"/>
                    <a:pt x="19"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2" name="Freeform 17">
              <a:extLst>
                <a:ext uri="{FF2B5EF4-FFF2-40B4-BE49-F238E27FC236}">
                  <a16:creationId xmlns:a16="http://schemas.microsoft.com/office/drawing/2014/main" id="{7534D406-290A-20D2-7F3F-231E6D85E2EE}"/>
                </a:ext>
              </a:extLst>
            </p:cNvPr>
            <p:cNvSpPr>
              <a:spLocks noEditPoints="1"/>
            </p:cNvSpPr>
            <p:nvPr userDrawn="1"/>
          </p:nvSpPr>
          <p:spPr bwMode="auto">
            <a:xfrm>
              <a:off x="6785" y="3528"/>
              <a:ext cx="139" cy="144"/>
            </a:xfrm>
            <a:custGeom>
              <a:avLst/>
              <a:gdLst>
                <a:gd name="T0" fmla="*/ 65 w 71"/>
                <a:gd name="T1" fmla="*/ 50 h 72"/>
                <a:gd name="T2" fmla="*/ 64 w 71"/>
                <a:gd name="T3" fmla="*/ 57 h 72"/>
                <a:gd name="T4" fmla="*/ 61 w 71"/>
                <a:gd name="T5" fmla="*/ 61 h 72"/>
                <a:gd name="T6" fmla="*/ 57 w 71"/>
                <a:gd name="T7" fmla="*/ 64 h 72"/>
                <a:gd name="T8" fmla="*/ 50 w 71"/>
                <a:gd name="T9" fmla="*/ 65 h 72"/>
                <a:gd name="T10" fmla="*/ 36 w 71"/>
                <a:gd name="T11" fmla="*/ 65 h 72"/>
                <a:gd name="T12" fmla="*/ 21 w 71"/>
                <a:gd name="T13" fmla="*/ 65 h 72"/>
                <a:gd name="T14" fmla="*/ 15 w 71"/>
                <a:gd name="T15" fmla="*/ 64 h 72"/>
                <a:gd name="T16" fmla="*/ 11 w 71"/>
                <a:gd name="T17" fmla="*/ 61 h 72"/>
                <a:gd name="T18" fmla="*/ 8 w 71"/>
                <a:gd name="T19" fmla="*/ 57 h 72"/>
                <a:gd name="T20" fmla="*/ 7 w 71"/>
                <a:gd name="T21" fmla="*/ 50 h 72"/>
                <a:gd name="T22" fmla="*/ 6 w 71"/>
                <a:gd name="T23" fmla="*/ 36 h 72"/>
                <a:gd name="T24" fmla="*/ 7 w 71"/>
                <a:gd name="T25" fmla="*/ 21 h 72"/>
                <a:gd name="T26" fmla="*/ 8 w 71"/>
                <a:gd name="T27" fmla="*/ 15 h 72"/>
                <a:gd name="T28" fmla="*/ 11 w 71"/>
                <a:gd name="T29" fmla="*/ 11 h 72"/>
                <a:gd name="T30" fmla="*/ 15 w 71"/>
                <a:gd name="T31" fmla="*/ 8 h 72"/>
                <a:gd name="T32" fmla="*/ 21 w 71"/>
                <a:gd name="T33" fmla="*/ 7 h 72"/>
                <a:gd name="T34" fmla="*/ 36 w 71"/>
                <a:gd name="T35" fmla="*/ 7 h 72"/>
                <a:gd name="T36" fmla="*/ 50 w 71"/>
                <a:gd name="T37" fmla="*/ 7 h 72"/>
                <a:gd name="T38" fmla="*/ 57 w 71"/>
                <a:gd name="T39" fmla="*/ 8 h 72"/>
                <a:gd name="T40" fmla="*/ 61 w 71"/>
                <a:gd name="T41" fmla="*/ 11 h 72"/>
                <a:gd name="T42" fmla="*/ 64 w 71"/>
                <a:gd name="T43" fmla="*/ 15 h 72"/>
                <a:gd name="T44" fmla="*/ 65 w 71"/>
                <a:gd name="T45" fmla="*/ 21 h 72"/>
                <a:gd name="T46" fmla="*/ 65 w 71"/>
                <a:gd name="T47" fmla="*/ 36 h 72"/>
                <a:gd name="T48" fmla="*/ 65 w 71"/>
                <a:gd name="T49" fmla="*/ 50 h 72"/>
                <a:gd name="T50" fmla="*/ 71 w 71"/>
                <a:gd name="T51" fmla="*/ 21 h 72"/>
                <a:gd name="T52" fmla="*/ 70 w 71"/>
                <a:gd name="T53" fmla="*/ 13 h 72"/>
                <a:gd name="T54" fmla="*/ 65 w 71"/>
                <a:gd name="T55" fmla="*/ 6 h 72"/>
                <a:gd name="T56" fmla="*/ 59 w 71"/>
                <a:gd name="T57" fmla="*/ 2 h 72"/>
                <a:gd name="T58" fmla="*/ 50 w 71"/>
                <a:gd name="T59" fmla="*/ 0 h 72"/>
                <a:gd name="T60" fmla="*/ 36 w 71"/>
                <a:gd name="T61" fmla="*/ 0 h 72"/>
                <a:gd name="T62" fmla="*/ 21 w 71"/>
                <a:gd name="T63" fmla="*/ 0 h 72"/>
                <a:gd name="T64" fmla="*/ 12 w 71"/>
                <a:gd name="T65" fmla="*/ 2 h 72"/>
                <a:gd name="T66" fmla="*/ 6 w 71"/>
                <a:gd name="T67" fmla="*/ 6 h 72"/>
                <a:gd name="T68" fmla="*/ 2 w 71"/>
                <a:gd name="T69" fmla="*/ 13 h 72"/>
                <a:gd name="T70" fmla="*/ 0 w 71"/>
                <a:gd name="T71" fmla="*/ 21 h 72"/>
                <a:gd name="T72" fmla="*/ 0 w 71"/>
                <a:gd name="T73" fmla="*/ 36 h 72"/>
                <a:gd name="T74" fmla="*/ 0 w 71"/>
                <a:gd name="T75" fmla="*/ 51 h 72"/>
                <a:gd name="T76" fmla="*/ 2 w 71"/>
                <a:gd name="T77" fmla="*/ 59 h 72"/>
                <a:gd name="T78" fmla="*/ 6 w 71"/>
                <a:gd name="T79" fmla="*/ 66 h 72"/>
                <a:gd name="T80" fmla="*/ 12 w 71"/>
                <a:gd name="T81" fmla="*/ 70 h 72"/>
                <a:gd name="T82" fmla="*/ 21 w 71"/>
                <a:gd name="T83" fmla="*/ 71 h 72"/>
                <a:gd name="T84" fmla="*/ 36 w 71"/>
                <a:gd name="T85" fmla="*/ 72 h 72"/>
                <a:gd name="T86" fmla="*/ 50 w 71"/>
                <a:gd name="T87" fmla="*/ 71 h 72"/>
                <a:gd name="T88" fmla="*/ 59 w 71"/>
                <a:gd name="T89" fmla="*/ 70 h 72"/>
                <a:gd name="T90" fmla="*/ 65 w 71"/>
                <a:gd name="T91" fmla="*/ 66 h 72"/>
                <a:gd name="T92" fmla="*/ 70 w 71"/>
                <a:gd name="T93" fmla="*/ 59 h 72"/>
                <a:gd name="T94" fmla="*/ 71 w 71"/>
                <a:gd name="T95" fmla="*/ 51 h 72"/>
                <a:gd name="T96" fmla="*/ 71 w 71"/>
                <a:gd name="T97" fmla="*/ 36 h 72"/>
                <a:gd name="T98" fmla="*/ 71 w 71"/>
                <a:gd name="T99" fmla="*/ 21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71" h="72">
                  <a:moveTo>
                    <a:pt x="65" y="50"/>
                  </a:moveTo>
                  <a:cubicBezTo>
                    <a:pt x="65" y="54"/>
                    <a:pt x="64" y="56"/>
                    <a:pt x="64" y="57"/>
                  </a:cubicBezTo>
                  <a:cubicBezTo>
                    <a:pt x="63" y="59"/>
                    <a:pt x="62" y="60"/>
                    <a:pt x="61" y="61"/>
                  </a:cubicBezTo>
                  <a:cubicBezTo>
                    <a:pt x="60" y="62"/>
                    <a:pt x="58" y="63"/>
                    <a:pt x="57" y="64"/>
                  </a:cubicBezTo>
                  <a:cubicBezTo>
                    <a:pt x="56" y="64"/>
                    <a:pt x="54" y="65"/>
                    <a:pt x="50" y="65"/>
                  </a:cubicBezTo>
                  <a:cubicBezTo>
                    <a:pt x="46" y="65"/>
                    <a:pt x="45" y="65"/>
                    <a:pt x="36" y="65"/>
                  </a:cubicBezTo>
                  <a:cubicBezTo>
                    <a:pt x="26" y="65"/>
                    <a:pt x="25" y="65"/>
                    <a:pt x="21" y="65"/>
                  </a:cubicBezTo>
                  <a:cubicBezTo>
                    <a:pt x="18" y="65"/>
                    <a:pt x="16" y="64"/>
                    <a:pt x="15" y="64"/>
                  </a:cubicBezTo>
                  <a:cubicBezTo>
                    <a:pt x="13" y="63"/>
                    <a:pt x="12" y="62"/>
                    <a:pt x="11" y="61"/>
                  </a:cubicBezTo>
                  <a:cubicBezTo>
                    <a:pt x="9" y="60"/>
                    <a:pt x="9" y="59"/>
                    <a:pt x="8" y="57"/>
                  </a:cubicBezTo>
                  <a:cubicBezTo>
                    <a:pt x="7" y="56"/>
                    <a:pt x="7" y="54"/>
                    <a:pt x="7" y="50"/>
                  </a:cubicBezTo>
                  <a:cubicBezTo>
                    <a:pt x="6" y="47"/>
                    <a:pt x="6" y="45"/>
                    <a:pt x="6" y="36"/>
                  </a:cubicBezTo>
                  <a:cubicBezTo>
                    <a:pt x="6" y="26"/>
                    <a:pt x="6" y="25"/>
                    <a:pt x="7" y="21"/>
                  </a:cubicBezTo>
                  <a:cubicBezTo>
                    <a:pt x="7" y="18"/>
                    <a:pt x="7" y="16"/>
                    <a:pt x="8" y="15"/>
                  </a:cubicBezTo>
                  <a:cubicBezTo>
                    <a:pt x="9" y="13"/>
                    <a:pt x="9" y="12"/>
                    <a:pt x="11" y="11"/>
                  </a:cubicBezTo>
                  <a:cubicBezTo>
                    <a:pt x="12" y="10"/>
                    <a:pt x="13" y="9"/>
                    <a:pt x="15" y="8"/>
                  </a:cubicBezTo>
                  <a:cubicBezTo>
                    <a:pt x="16" y="8"/>
                    <a:pt x="18" y="7"/>
                    <a:pt x="21" y="7"/>
                  </a:cubicBezTo>
                  <a:cubicBezTo>
                    <a:pt x="25" y="7"/>
                    <a:pt x="26" y="7"/>
                    <a:pt x="36" y="7"/>
                  </a:cubicBezTo>
                  <a:cubicBezTo>
                    <a:pt x="45" y="7"/>
                    <a:pt x="46" y="7"/>
                    <a:pt x="50" y="7"/>
                  </a:cubicBezTo>
                  <a:cubicBezTo>
                    <a:pt x="54" y="7"/>
                    <a:pt x="56" y="8"/>
                    <a:pt x="57" y="8"/>
                  </a:cubicBezTo>
                  <a:cubicBezTo>
                    <a:pt x="58" y="9"/>
                    <a:pt x="60" y="10"/>
                    <a:pt x="61" y="11"/>
                  </a:cubicBezTo>
                  <a:cubicBezTo>
                    <a:pt x="62" y="12"/>
                    <a:pt x="63" y="13"/>
                    <a:pt x="64" y="15"/>
                  </a:cubicBezTo>
                  <a:cubicBezTo>
                    <a:pt x="64" y="16"/>
                    <a:pt x="65" y="18"/>
                    <a:pt x="65" y="21"/>
                  </a:cubicBezTo>
                  <a:cubicBezTo>
                    <a:pt x="65" y="25"/>
                    <a:pt x="65" y="26"/>
                    <a:pt x="65" y="36"/>
                  </a:cubicBezTo>
                  <a:cubicBezTo>
                    <a:pt x="65" y="45"/>
                    <a:pt x="65" y="47"/>
                    <a:pt x="65" y="50"/>
                  </a:cubicBezTo>
                  <a:moveTo>
                    <a:pt x="71" y="21"/>
                  </a:moveTo>
                  <a:cubicBezTo>
                    <a:pt x="71" y="17"/>
                    <a:pt x="70" y="15"/>
                    <a:pt x="70" y="13"/>
                  </a:cubicBezTo>
                  <a:cubicBezTo>
                    <a:pt x="69" y="10"/>
                    <a:pt x="67" y="8"/>
                    <a:pt x="65" y="6"/>
                  </a:cubicBezTo>
                  <a:cubicBezTo>
                    <a:pt x="63" y="4"/>
                    <a:pt x="61" y="3"/>
                    <a:pt x="59" y="2"/>
                  </a:cubicBezTo>
                  <a:cubicBezTo>
                    <a:pt x="57" y="1"/>
                    <a:pt x="54" y="1"/>
                    <a:pt x="50" y="0"/>
                  </a:cubicBezTo>
                  <a:cubicBezTo>
                    <a:pt x="47" y="0"/>
                    <a:pt x="45" y="0"/>
                    <a:pt x="36" y="0"/>
                  </a:cubicBezTo>
                  <a:cubicBezTo>
                    <a:pt x="26" y="0"/>
                    <a:pt x="25" y="0"/>
                    <a:pt x="21" y="0"/>
                  </a:cubicBezTo>
                  <a:cubicBezTo>
                    <a:pt x="17" y="1"/>
                    <a:pt x="15" y="1"/>
                    <a:pt x="12" y="2"/>
                  </a:cubicBezTo>
                  <a:cubicBezTo>
                    <a:pt x="10" y="3"/>
                    <a:pt x="8" y="4"/>
                    <a:pt x="6" y="6"/>
                  </a:cubicBezTo>
                  <a:cubicBezTo>
                    <a:pt x="4" y="8"/>
                    <a:pt x="3" y="10"/>
                    <a:pt x="2" y="13"/>
                  </a:cubicBezTo>
                  <a:cubicBezTo>
                    <a:pt x="1" y="15"/>
                    <a:pt x="0" y="17"/>
                    <a:pt x="0" y="21"/>
                  </a:cubicBezTo>
                  <a:cubicBezTo>
                    <a:pt x="0" y="25"/>
                    <a:pt x="0" y="26"/>
                    <a:pt x="0" y="36"/>
                  </a:cubicBezTo>
                  <a:cubicBezTo>
                    <a:pt x="0" y="46"/>
                    <a:pt x="0" y="47"/>
                    <a:pt x="0" y="51"/>
                  </a:cubicBezTo>
                  <a:cubicBezTo>
                    <a:pt x="0" y="54"/>
                    <a:pt x="1" y="57"/>
                    <a:pt x="2" y="59"/>
                  </a:cubicBezTo>
                  <a:cubicBezTo>
                    <a:pt x="3" y="62"/>
                    <a:pt x="4" y="64"/>
                    <a:pt x="6" y="66"/>
                  </a:cubicBezTo>
                  <a:cubicBezTo>
                    <a:pt x="8" y="68"/>
                    <a:pt x="10" y="69"/>
                    <a:pt x="12" y="70"/>
                  </a:cubicBezTo>
                  <a:cubicBezTo>
                    <a:pt x="15" y="71"/>
                    <a:pt x="17" y="71"/>
                    <a:pt x="21" y="71"/>
                  </a:cubicBezTo>
                  <a:cubicBezTo>
                    <a:pt x="25" y="72"/>
                    <a:pt x="26" y="72"/>
                    <a:pt x="36" y="72"/>
                  </a:cubicBezTo>
                  <a:cubicBezTo>
                    <a:pt x="45" y="72"/>
                    <a:pt x="47" y="72"/>
                    <a:pt x="50" y="71"/>
                  </a:cubicBezTo>
                  <a:cubicBezTo>
                    <a:pt x="54" y="71"/>
                    <a:pt x="57" y="71"/>
                    <a:pt x="59" y="70"/>
                  </a:cubicBezTo>
                  <a:cubicBezTo>
                    <a:pt x="61" y="69"/>
                    <a:pt x="63" y="68"/>
                    <a:pt x="65" y="66"/>
                  </a:cubicBezTo>
                  <a:cubicBezTo>
                    <a:pt x="67" y="64"/>
                    <a:pt x="69" y="62"/>
                    <a:pt x="70" y="59"/>
                  </a:cubicBezTo>
                  <a:cubicBezTo>
                    <a:pt x="70" y="57"/>
                    <a:pt x="71" y="54"/>
                    <a:pt x="71" y="51"/>
                  </a:cubicBezTo>
                  <a:cubicBezTo>
                    <a:pt x="71" y="47"/>
                    <a:pt x="71" y="46"/>
                    <a:pt x="71" y="36"/>
                  </a:cubicBezTo>
                  <a:cubicBezTo>
                    <a:pt x="71" y="26"/>
                    <a:pt x="71" y="25"/>
                    <a:pt x="71" y="21"/>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3" name="Oval 18">
              <a:extLst>
                <a:ext uri="{FF2B5EF4-FFF2-40B4-BE49-F238E27FC236}">
                  <a16:creationId xmlns:a16="http://schemas.microsoft.com/office/drawing/2014/main" id="{40D56EBE-075A-C04E-7F92-F65D78108947}"/>
                </a:ext>
              </a:extLst>
            </p:cNvPr>
            <p:cNvSpPr>
              <a:spLocks noChangeArrowheads="1"/>
            </p:cNvSpPr>
            <p:nvPr userDrawn="1"/>
          </p:nvSpPr>
          <p:spPr bwMode="auto">
            <a:xfrm>
              <a:off x="6882" y="3554"/>
              <a:ext cx="18" cy="16"/>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grpSp>
      <p:grpSp>
        <p:nvGrpSpPr>
          <p:cNvPr id="24" name="Group 21">
            <a:extLst>
              <a:ext uri="{FF2B5EF4-FFF2-40B4-BE49-F238E27FC236}">
                <a16:creationId xmlns:a16="http://schemas.microsoft.com/office/drawing/2014/main" id="{D70494E6-0B56-E208-B49B-EF3500DDC89E}"/>
              </a:ext>
            </a:extLst>
          </p:cNvPr>
          <p:cNvGrpSpPr>
            <a:grpSpLocks noChangeAspect="1"/>
          </p:cNvGrpSpPr>
          <p:nvPr userDrawn="1"/>
        </p:nvGrpSpPr>
        <p:grpSpPr bwMode="auto">
          <a:xfrm>
            <a:off x="9551988" y="4535488"/>
            <a:ext cx="2052637" cy="333375"/>
            <a:chOff x="6017" y="2857"/>
            <a:chExt cx="1293" cy="210"/>
          </a:xfrm>
        </p:grpSpPr>
        <p:sp>
          <p:nvSpPr>
            <p:cNvPr id="25" name="AutoShape 20">
              <a:extLst>
                <a:ext uri="{FF2B5EF4-FFF2-40B4-BE49-F238E27FC236}">
                  <a16:creationId xmlns:a16="http://schemas.microsoft.com/office/drawing/2014/main" id="{5CCC5EF2-4296-A593-458D-19528BE26494}"/>
                </a:ext>
              </a:extLst>
            </p:cNvPr>
            <p:cNvSpPr>
              <a:spLocks noChangeAspect="1" noChangeArrowheads="1" noTextEdit="1"/>
            </p:cNvSpPr>
            <p:nvPr userDrawn="1"/>
          </p:nvSpPr>
          <p:spPr bwMode="auto">
            <a:xfrm>
              <a:off x="6017" y="2857"/>
              <a:ext cx="1293" cy="2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6" name="Freeform 22">
              <a:extLst>
                <a:ext uri="{FF2B5EF4-FFF2-40B4-BE49-F238E27FC236}">
                  <a16:creationId xmlns:a16="http://schemas.microsoft.com/office/drawing/2014/main" id="{9E2E8C75-2543-5E8A-254F-E8D318456BC0}"/>
                </a:ext>
              </a:extLst>
            </p:cNvPr>
            <p:cNvSpPr>
              <a:spLocks/>
            </p:cNvSpPr>
            <p:nvPr userDrawn="1"/>
          </p:nvSpPr>
          <p:spPr bwMode="auto">
            <a:xfrm>
              <a:off x="6436" y="2857"/>
              <a:ext cx="50" cy="75"/>
            </a:xfrm>
            <a:custGeom>
              <a:avLst/>
              <a:gdLst>
                <a:gd name="T0" fmla="*/ 38 w 161"/>
                <a:gd name="T1" fmla="*/ 228 h 238"/>
                <a:gd name="T2" fmla="*/ 10 w 161"/>
                <a:gd name="T3" fmla="*/ 202 h 238"/>
                <a:gd name="T4" fmla="*/ 0 w 161"/>
                <a:gd name="T5" fmla="*/ 162 h 238"/>
                <a:gd name="T6" fmla="*/ 0 w 161"/>
                <a:gd name="T7" fmla="*/ 76 h 238"/>
                <a:gd name="T8" fmla="*/ 10 w 161"/>
                <a:gd name="T9" fmla="*/ 36 h 238"/>
                <a:gd name="T10" fmla="*/ 38 w 161"/>
                <a:gd name="T11" fmla="*/ 10 h 238"/>
                <a:gd name="T12" fmla="*/ 81 w 161"/>
                <a:gd name="T13" fmla="*/ 0 h 238"/>
                <a:gd name="T14" fmla="*/ 123 w 161"/>
                <a:gd name="T15" fmla="*/ 9 h 238"/>
                <a:gd name="T16" fmla="*/ 151 w 161"/>
                <a:gd name="T17" fmla="*/ 35 h 238"/>
                <a:gd name="T18" fmla="*/ 161 w 161"/>
                <a:gd name="T19" fmla="*/ 74 h 238"/>
                <a:gd name="T20" fmla="*/ 161 w 161"/>
                <a:gd name="T21" fmla="*/ 74 h 238"/>
                <a:gd name="T22" fmla="*/ 160 w 161"/>
                <a:gd name="T23" fmla="*/ 77 h 238"/>
                <a:gd name="T24" fmla="*/ 158 w 161"/>
                <a:gd name="T25" fmla="*/ 77 h 238"/>
                <a:gd name="T26" fmla="*/ 133 w 161"/>
                <a:gd name="T27" fmla="*/ 79 h 238"/>
                <a:gd name="T28" fmla="*/ 129 w 161"/>
                <a:gd name="T29" fmla="*/ 76 h 238"/>
                <a:gd name="T30" fmla="*/ 129 w 161"/>
                <a:gd name="T31" fmla="*/ 75 h 238"/>
                <a:gd name="T32" fmla="*/ 116 w 161"/>
                <a:gd name="T33" fmla="*/ 41 h 238"/>
                <a:gd name="T34" fmla="*/ 81 w 161"/>
                <a:gd name="T35" fmla="*/ 28 h 238"/>
                <a:gd name="T36" fmla="*/ 45 w 161"/>
                <a:gd name="T37" fmla="*/ 41 h 238"/>
                <a:gd name="T38" fmla="*/ 32 w 161"/>
                <a:gd name="T39" fmla="*/ 75 h 238"/>
                <a:gd name="T40" fmla="*/ 32 w 161"/>
                <a:gd name="T41" fmla="*/ 163 h 238"/>
                <a:gd name="T42" fmla="*/ 45 w 161"/>
                <a:gd name="T43" fmla="*/ 197 h 238"/>
                <a:gd name="T44" fmla="*/ 81 w 161"/>
                <a:gd name="T45" fmla="*/ 210 h 238"/>
                <a:gd name="T46" fmla="*/ 116 w 161"/>
                <a:gd name="T47" fmla="*/ 197 h 238"/>
                <a:gd name="T48" fmla="*/ 129 w 161"/>
                <a:gd name="T49" fmla="*/ 163 h 238"/>
                <a:gd name="T50" fmla="*/ 129 w 161"/>
                <a:gd name="T51" fmla="*/ 162 h 238"/>
                <a:gd name="T52" fmla="*/ 133 w 161"/>
                <a:gd name="T53" fmla="*/ 159 h 238"/>
                <a:gd name="T54" fmla="*/ 158 w 161"/>
                <a:gd name="T55" fmla="*/ 161 h 238"/>
                <a:gd name="T56" fmla="*/ 161 w 161"/>
                <a:gd name="T57" fmla="*/ 164 h 238"/>
                <a:gd name="T58" fmla="*/ 151 w 161"/>
                <a:gd name="T59" fmla="*/ 203 h 238"/>
                <a:gd name="T60" fmla="*/ 123 w 161"/>
                <a:gd name="T61" fmla="*/ 229 h 238"/>
                <a:gd name="T62" fmla="*/ 81 w 161"/>
                <a:gd name="T63" fmla="*/ 238 h 238"/>
                <a:gd name="T64" fmla="*/ 38 w 161"/>
                <a:gd name="T65" fmla="*/ 22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61" h="238">
                  <a:moveTo>
                    <a:pt x="38" y="228"/>
                  </a:moveTo>
                  <a:cubicBezTo>
                    <a:pt x="26" y="222"/>
                    <a:pt x="17" y="213"/>
                    <a:pt x="10" y="202"/>
                  </a:cubicBezTo>
                  <a:cubicBezTo>
                    <a:pt x="3" y="190"/>
                    <a:pt x="0" y="177"/>
                    <a:pt x="0" y="162"/>
                  </a:cubicBezTo>
                  <a:cubicBezTo>
                    <a:pt x="0" y="76"/>
                    <a:pt x="0" y="76"/>
                    <a:pt x="0" y="76"/>
                  </a:cubicBezTo>
                  <a:cubicBezTo>
                    <a:pt x="0" y="61"/>
                    <a:pt x="3" y="48"/>
                    <a:pt x="10" y="36"/>
                  </a:cubicBezTo>
                  <a:cubicBezTo>
                    <a:pt x="17" y="25"/>
                    <a:pt x="26" y="16"/>
                    <a:pt x="38" y="10"/>
                  </a:cubicBezTo>
                  <a:cubicBezTo>
                    <a:pt x="51" y="4"/>
                    <a:pt x="65" y="0"/>
                    <a:pt x="81" y="0"/>
                  </a:cubicBezTo>
                  <a:cubicBezTo>
                    <a:pt x="96" y="0"/>
                    <a:pt x="110" y="3"/>
                    <a:pt x="123" y="9"/>
                  </a:cubicBezTo>
                  <a:cubicBezTo>
                    <a:pt x="135" y="16"/>
                    <a:pt x="144" y="24"/>
                    <a:pt x="151" y="35"/>
                  </a:cubicBezTo>
                  <a:cubicBezTo>
                    <a:pt x="158" y="46"/>
                    <a:pt x="161" y="59"/>
                    <a:pt x="161" y="74"/>
                  </a:cubicBezTo>
                  <a:cubicBezTo>
                    <a:pt x="161" y="74"/>
                    <a:pt x="161" y="74"/>
                    <a:pt x="161" y="74"/>
                  </a:cubicBezTo>
                  <a:cubicBezTo>
                    <a:pt x="161" y="75"/>
                    <a:pt x="161" y="76"/>
                    <a:pt x="160" y="77"/>
                  </a:cubicBezTo>
                  <a:cubicBezTo>
                    <a:pt x="159" y="77"/>
                    <a:pt x="159" y="77"/>
                    <a:pt x="158" y="77"/>
                  </a:cubicBezTo>
                  <a:cubicBezTo>
                    <a:pt x="133" y="79"/>
                    <a:pt x="133" y="79"/>
                    <a:pt x="133" y="79"/>
                  </a:cubicBezTo>
                  <a:cubicBezTo>
                    <a:pt x="130" y="79"/>
                    <a:pt x="129" y="78"/>
                    <a:pt x="129" y="76"/>
                  </a:cubicBezTo>
                  <a:cubicBezTo>
                    <a:pt x="129" y="75"/>
                    <a:pt x="129" y="75"/>
                    <a:pt x="129" y="75"/>
                  </a:cubicBezTo>
                  <a:cubicBezTo>
                    <a:pt x="129" y="61"/>
                    <a:pt x="125" y="49"/>
                    <a:pt x="116" y="41"/>
                  </a:cubicBezTo>
                  <a:cubicBezTo>
                    <a:pt x="107" y="32"/>
                    <a:pt x="95" y="28"/>
                    <a:pt x="81" y="28"/>
                  </a:cubicBezTo>
                  <a:cubicBezTo>
                    <a:pt x="66" y="28"/>
                    <a:pt x="54" y="32"/>
                    <a:pt x="45" y="41"/>
                  </a:cubicBezTo>
                  <a:cubicBezTo>
                    <a:pt x="36" y="49"/>
                    <a:pt x="32" y="61"/>
                    <a:pt x="32" y="75"/>
                  </a:cubicBezTo>
                  <a:cubicBezTo>
                    <a:pt x="32" y="163"/>
                    <a:pt x="32" y="163"/>
                    <a:pt x="32" y="163"/>
                  </a:cubicBezTo>
                  <a:cubicBezTo>
                    <a:pt x="32" y="177"/>
                    <a:pt x="36" y="189"/>
                    <a:pt x="45" y="197"/>
                  </a:cubicBezTo>
                  <a:cubicBezTo>
                    <a:pt x="54" y="206"/>
                    <a:pt x="66" y="210"/>
                    <a:pt x="81" y="210"/>
                  </a:cubicBezTo>
                  <a:cubicBezTo>
                    <a:pt x="95" y="210"/>
                    <a:pt x="107" y="206"/>
                    <a:pt x="116" y="197"/>
                  </a:cubicBezTo>
                  <a:cubicBezTo>
                    <a:pt x="125" y="188"/>
                    <a:pt x="129" y="177"/>
                    <a:pt x="129" y="163"/>
                  </a:cubicBezTo>
                  <a:cubicBezTo>
                    <a:pt x="129" y="162"/>
                    <a:pt x="129" y="162"/>
                    <a:pt x="129" y="162"/>
                  </a:cubicBezTo>
                  <a:cubicBezTo>
                    <a:pt x="129" y="160"/>
                    <a:pt x="130" y="159"/>
                    <a:pt x="133" y="159"/>
                  </a:cubicBezTo>
                  <a:cubicBezTo>
                    <a:pt x="158" y="161"/>
                    <a:pt x="158" y="161"/>
                    <a:pt x="158" y="161"/>
                  </a:cubicBezTo>
                  <a:cubicBezTo>
                    <a:pt x="160" y="161"/>
                    <a:pt x="161" y="162"/>
                    <a:pt x="161" y="164"/>
                  </a:cubicBezTo>
                  <a:cubicBezTo>
                    <a:pt x="161" y="179"/>
                    <a:pt x="158" y="191"/>
                    <a:pt x="151" y="203"/>
                  </a:cubicBezTo>
                  <a:cubicBezTo>
                    <a:pt x="144" y="214"/>
                    <a:pt x="135" y="222"/>
                    <a:pt x="123" y="229"/>
                  </a:cubicBezTo>
                  <a:cubicBezTo>
                    <a:pt x="111" y="235"/>
                    <a:pt x="97" y="238"/>
                    <a:pt x="81" y="238"/>
                  </a:cubicBezTo>
                  <a:cubicBezTo>
                    <a:pt x="65" y="238"/>
                    <a:pt x="51" y="235"/>
                    <a:pt x="38" y="228"/>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7" name="Freeform 23">
              <a:extLst>
                <a:ext uri="{FF2B5EF4-FFF2-40B4-BE49-F238E27FC236}">
                  <a16:creationId xmlns:a16="http://schemas.microsoft.com/office/drawing/2014/main" id="{A79DB678-F520-5E46-D60E-0ABFA6D8E260}"/>
                </a:ext>
              </a:extLst>
            </p:cNvPr>
            <p:cNvSpPr>
              <a:spLocks noEditPoints="1"/>
            </p:cNvSpPr>
            <p:nvPr userDrawn="1"/>
          </p:nvSpPr>
          <p:spPr bwMode="auto">
            <a:xfrm>
              <a:off x="6498" y="2858"/>
              <a:ext cx="50" cy="73"/>
            </a:xfrm>
            <a:custGeom>
              <a:avLst/>
              <a:gdLst>
                <a:gd name="T0" fmla="*/ 128 w 161"/>
                <a:gd name="T1" fmla="*/ 229 h 232"/>
                <a:gd name="T2" fmla="*/ 82 w 161"/>
                <a:gd name="T3" fmla="*/ 130 h 232"/>
                <a:gd name="T4" fmla="*/ 81 w 161"/>
                <a:gd name="T5" fmla="*/ 129 h 232"/>
                <a:gd name="T6" fmla="*/ 33 w 161"/>
                <a:gd name="T7" fmla="*/ 129 h 232"/>
                <a:gd name="T8" fmla="*/ 32 w 161"/>
                <a:gd name="T9" fmla="*/ 131 h 232"/>
                <a:gd name="T10" fmla="*/ 32 w 161"/>
                <a:gd name="T11" fmla="*/ 228 h 232"/>
                <a:gd name="T12" fmla="*/ 29 w 161"/>
                <a:gd name="T13" fmla="*/ 232 h 232"/>
                <a:gd name="T14" fmla="*/ 4 w 161"/>
                <a:gd name="T15" fmla="*/ 232 h 232"/>
                <a:gd name="T16" fmla="*/ 0 w 161"/>
                <a:gd name="T17" fmla="*/ 229 h 232"/>
                <a:gd name="T18" fmla="*/ 0 w 161"/>
                <a:gd name="T19" fmla="*/ 3 h 232"/>
                <a:gd name="T20" fmla="*/ 3 w 161"/>
                <a:gd name="T21" fmla="*/ 0 h 232"/>
                <a:gd name="T22" fmla="*/ 93 w 161"/>
                <a:gd name="T23" fmla="*/ 0 h 232"/>
                <a:gd name="T24" fmla="*/ 127 w 161"/>
                <a:gd name="T25" fmla="*/ 8 h 232"/>
                <a:gd name="T26" fmla="*/ 151 w 161"/>
                <a:gd name="T27" fmla="*/ 31 h 232"/>
                <a:gd name="T28" fmla="*/ 159 w 161"/>
                <a:gd name="T29" fmla="*/ 66 h 232"/>
                <a:gd name="T30" fmla="*/ 147 w 161"/>
                <a:gd name="T31" fmla="*/ 105 h 232"/>
                <a:gd name="T32" fmla="*/ 113 w 161"/>
                <a:gd name="T33" fmla="*/ 127 h 232"/>
                <a:gd name="T34" fmla="*/ 113 w 161"/>
                <a:gd name="T35" fmla="*/ 128 h 232"/>
                <a:gd name="T36" fmla="*/ 161 w 161"/>
                <a:gd name="T37" fmla="*/ 228 h 232"/>
                <a:gd name="T38" fmla="*/ 161 w 161"/>
                <a:gd name="T39" fmla="*/ 229 h 232"/>
                <a:gd name="T40" fmla="*/ 159 w 161"/>
                <a:gd name="T41" fmla="*/ 232 h 232"/>
                <a:gd name="T42" fmla="*/ 132 w 161"/>
                <a:gd name="T43" fmla="*/ 232 h 232"/>
                <a:gd name="T44" fmla="*/ 128 w 161"/>
                <a:gd name="T45" fmla="*/ 229 h 232"/>
                <a:gd name="T46" fmla="*/ 32 w 161"/>
                <a:gd name="T47" fmla="*/ 29 h 232"/>
                <a:gd name="T48" fmla="*/ 32 w 161"/>
                <a:gd name="T49" fmla="*/ 103 h 232"/>
                <a:gd name="T50" fmla="*/ 33 w 161"/>
                <a:gd name="T51" fmla="*/ 104 h 232"/>
                <a:gd name="T52" fmla="*/ 88 w 161"/>
                <a:gd name="T53" fmla="*/ 104 h 232"/>
                <a:gd name="T54" fmla="*/ 117 w 161"/>
                <a:gd name="T55" fmla="*/ 94 h 232"/>
                <a:gd name="T56" fmla="*/ 127 w 161"/>
                <a:gd name="T57" fmla="*/ 66 h 232"/>
                <a:gd name="T58" fmla="*/ 117 w 161"/>
                <a:gd name="T59" fmla="*/ 38 h 232"/>
                <a:gd name="T60" fmla="*/ 88 w 161"/>
                <a:gd name="T61" fmla="*/ 27 h 232"/>
                <a:gd name="T62" fmla="*/ 33 w 161"/>
                <a:gd name="T63" fmla="*/ 27 h 232"/>
                <a:gd name="T64" fmla="*/ 32 w 161"/>
                <a:gd name="T65" fmla="*/ 29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61" h="232">
                  <a:moveTo>
                    <a:pt x="128" y="229"/>
                  </a:moveTo>
                  <a:cubicBezTo>
                    <a:pt x="82" y="130"/>
                    <a:pt x="82" y="130"/>
                    <a:pt x="82" y="130"/>
                  </a:cubicBezTo>
                  <a:cubicBezTo>
                    <a:pt x="82" y="130"/>
                    <a:pt x="81" y="129"/>
                    <a:pt x="81" y="129"/>
                  </a:cubicBezTo>
                  <a:cubicBezTo>
                    <a:pt x="33" y="129"/>
                    <a:pt x="33" y="129"/>
                    <a:pt x="33" y="129"/>
                  </a:cubicBezTo>
                  <a:cubicBezTo>
                    <a:pt x="32" y="129"/>
                    <a:pt x="32" y="130"/>
                    <a:pt x="32" y="131"/>
                  </a:cubicBezTo>
                  <a:cubicBezTo>
                    <a:pt x="32" y="228"/>
                    <a:pt x="32" y="228"/>
                    <a:pt x="32" y="228"/>
                  </a:cubicBezTo>
                  <a:cubicBezTo>
                    <a:pt x="32" y="231"/>
                    <a:pt x="31" y="232"/>
                    <a:pt x="29" y="232"/>
                  </a:cubicBezTo>
                  <a:cubicBezTo>
                    <a:pt x="4" y="232"/>
                    <a:pt x="4" y="232"/>
                    <a:pt x="4" y="232"/>
                  </a:cubicBezTo>
                  <a:cubicBezTo>
                    <a:pt x="1" y="232"/>
                    <a:pt x="0" y="231"/>
                    <a:pt x="0" y="229"/>
                  </a:cubicBezTo>
                  <a:cubicBezTo>
                    <a:pt x="0" y="3"/>
                    <a:pt x="0" y="3"/>
                    <a:pt x="0" y="3"/>
                  </a:cubicBezTo>
                  <a:cubicBezTo>
                    <a:pt x="0" y="1"/>
                    <a:pt x="1" y="0"/>
                    <a:pt x="3" y="0"/>
                  </a:cubicBezTo>
                  <a:cubicBezTo>
                    <a:pt x="93" y="0"/>
                    <a:pt x="93" y="0"/>
                    <a:pt x="93" y="0"/>
                  </a:cubicBezTo>
                  <a:cubicBezTo>
                    <a:pt x="106" y="0"/>
                    <a:pt x="117" y="3"/>
                    <a:pt x="127" y="8"/>
                  </a:cubicBezTo>
                  <a:cubicBezTo>
                    <a:pt x="137" y="14"/>
                    <a:pt x="145" y="21"/>
                    <a:pt x="151" y="31"/>
                  </a:cubicBezTo>
                  <a:cubicBezTo>
                    <a:pt x="156" y="41"/>
                    <a:pt x="159" y="53"/>
                    <a:pt x="159" y="66"/>
                  </a:cubicBezTo>
                  <a:cubicBezTo>
                    <a:pt x="159" y="81"/>
                    <a:pt x="155" y="94"/>
                    <a:pt x="147" y="105"/>
                  </a:cubicBezTo>
                  <a:cubicBezTo>
                    <a:pt x="138" y="116"/>
                    <a:pt x="127" y="123"/>
                    <a:pt x="113" y="127"/>
                  </a:cubicBezTo>
                  <a:cubicBezTo>
                    <a:pt x="113" y="127"/>
                    <a:pt x="112" y="128"/>
                    <a:pt x="113" y="128"/>
                  </a:cubicBezTo>
                  <a:cubicBezTo>
                    <a:pt x="161" y="228"/>
                    <a:pt x="161" y="228"/>
                    <a:pt x="161" y="228"/>
                  </a:cubicBezTo>
                  <a:cubicBezTo>
                    <a:pt x="161" y="228"/>
                    <a:pt x="161" y="229"/>
                    <a:pt x="161" y="229"/>
                  </a:cubicBezTo>
                  <a:cubicBezTo>
                    <a:pt x="161" y="231"/>
                    <a:pt x="160" y="232"/>
                    <a:pt x="159" y="232"/>
                  </a:cubicBezTo>
                  <a:cubicBezTo>
                    <a:pt x="132" y="232"/>
                    <a:pt x="132" y="232"/>
                    <a:pt x="132" y="232"/>
                  </a:cubicBezTo>
                  <a:cubicBezTo>
                    <a:pt x="130" y="232"/>
                    <a:pt x="129" y="231"/>
                    <a:pt x="128" y="229"/>
                  </a:cubicBezTo>
                  <a:moveTo>
                    <a:pt x="32" y="29"/>
                  </a:moveTo>
                  <a:cubicBezTo>
                    <a:pt x="32" y="103"/>
                    <a:pt x="32" y="103"/>
                    <a:pt x="32" y="103"/>
                  </a:cubicBezTo>
                  <a:cubicBezTo>
                    <a:pt x="32" y="104"/>
                    <a:pt x="32" y="104"/>
                    <a:pt x="33" y="104"/>
                  </a:cubicBezTo>
                  <a:cubicBezTo>
                    <a:pt x="88" y="104"/>
                    <a:pt x="88" y="104"/>
                    <a:pt x="88" y="104"/>
                  </a:cubicBezTo>
                  <a:cubicBezTo>
                    <a:pt x="100" y="104"/>
                    <a:pt x="109" y="101"/>
                    <a:pt x="117" y="94"/>
                  </a:cubicBezTo>
                  <a:cubicBezTo>
                    <a:pt x="124" y="87"/>
                    <a:pt x="127" y="78"/>
                    <a:pt x="127" y="66"/>
                  </a:cubicBezTo>
                  <a:cubicBezTo>
                    <a:pt x="127" y="55"/>
                    <a:pt x="124" y="45"/>
                    <a:pt x="117" y="38"/>
                  </a:cubicBezTo>
                  <a:cubicBezTo>
                    <a:pt x="109" y="31"/>
                    <a:pt x="100" y="27"/>
                    <a:pt x="88" y="27"/>
                  </a:cubicBezTo>
                  <a:cubicBezTo>
                    <a:pt x="33" y="27"/>
                    <a:pt x="33" y="27"/>
                    <a:pt x="33" y="27"/>
                  </a:cubicBezTo>
                  <a:cubicBezTo>
                    <a:pt x="32" y="27"/>
                    <a:pt x="32" y="28"/>
                    <a:pt x="32" y="29"/>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8" name="Freeform 24">
              <a:extLst>
                <a:ext uri="{FF2B5EF4-FFF2-40B4-BE49-F238E27FC236}">
                  <a16:creationId xmlns:a16="http://schemas.microsoft.com/office/drawing/2014/main" id="{FFAF3F09-53F1-7767-8026-103BFDF1A185}"/>
                </a:ext>
              </a:extLst>
            </p:cNvPr>
            <p:cNvSpPr>
              <a:spLocks/>
            </p:cNvSpPr>
            <p:nvPr userDrawn="1"/>
          </p:nvSpPr>
          <p:spPr bwMode="auto">
            <a:xfrm>
              <a:off x="6560" y="2858"/>
              <a:ext cx="48" cy="73"/>
            </a:xfrm>
            <a:custGeom>
              <a:avLst/>
              <a:gdLst>
                <a:gd name="T0" fmla="*/ 150 w 153"/>
                <a:gd name="T1" fmla="*/ 27 h 232"/>
                <a:gd name="T2" fmla="*/ 33 w 153"/>
                <a:gd name="T3" fmla="*/ 27 h 232"/>
                <a:gd name="T4" fmla="*/ 31 w 153"/>
                <a:gd name="T5" fmla="*/ 29 h 232"/>
                <a:gd name="T6" fmla="*/ 31 w 153"/>
                <a:gd name="T7" fmla="*/ 100 h 232"/>
                <a:gd name="T8" fmla="*/ 33 w 153"/>
                <a:gd name="T9" fmla="*/ 101 h 232"/>
                <a:gd name="T10" fmla="*/ 113 w 153"/>
                <a:gd name="T11" fmla="*/ 101 h 232"/>
                <a:gd name="T12" fmla="*/ 117 w 153"/>
                <a:gd name="T13" fmla="*/ 104 h 232"/>
                <a:gd name="T14" fmla="*/ 117 w 153"/>
                <a:gd name="T15" fmla="*/ 125 h 232"/>
                <a:gd name="T16" fmla="*/ 113 w 153"/>
                <a:gd name="T17" fmla="*/ 129 h 232"/>
                <a:gd name="T18" fmla="*/ 33 w 153"/>
                <a:gd name="T19" fmla="*/ 129 h 232"/>
                <a:gd name="T20" fmla="*/ 31 w 153"/>
                <a:gd name="T21" fmla="*/ 130 h 232"/>
                <a:gd name="T22" fmla="*/ 31 w 153"/>
                <a:gd name="T23" fmla="*/ 203 h 232"/>
                <a:gd name="T24" fmla="*/ 33 w 153"/>
                <a:gd name="T25" fmla="*/ 204 h 232"/>
                <a:gd name="T26" fmla="*/ 150 w 153"/>
                <a:gd name="T27" fmla="*/ 204 h 232"/>
                <a:gd name="T28" fmla="*/ 153 w 153"/>
                <a:gd name="T29" fmla="*/ 207 h 232"/>
                <a:gd name="T30" fmla="*/ 153 w 153"/>
                <a:gd name="T31" fmla="*/ 228 h 232"/>
                <a:gd name="T32" fmla="*/ 150 w 153"/>
                <a:gd name="T33" fmla="*/ 232 h 232"/>
                <a:gd name="T34" fmla="*/ 3 w 153"/>
                <a:gd name="T35" fmla="*/ 232 h 232"/>
                <a:gd name="T36" fmla="*/ 0 w 153"/>
                <a:gd name="T37" fmla="*/ 228 h 232"/>
                <a:gd name="T38" fmla="*/ 0 w 153"/>
                <a:gd name="T39" fmla="*/ 3 h 232"/>
                <a:gd name="T40" fmla="*/ 3 w 153"/>
                <a:gd name="T41" fmla="*/ 0 h 232"/>
                <a:gd name="T42" fmla="*/ 150 w 153"/>
                <a:gd name="T43" fmla="*/ 0 h 232"/>
                <a:gd name="T44" fmla="*/ 153 w 153"/>
                <a:gd name="T45" fmla="*/ 3 h 232"/>
                <a:gd name="T46" fmla="*/ 153 w 153"/>
                <a:gd name="T47" fmla="*/ 24 h 232"/>
                <a:gd name="T48" fmla="*/ 150 w 153"/>
                <a:gd name="T49" fmla="*/ 27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3" h="232">
                  <a:moveTo>
                    <a:pt x="150" y="27"/>
                  </a:moveTo>
                  <a:cubicBezTo>
                    <a:pt x="33" y="27"/>
                    <a:pt x="33" y="27"/>
                    <a:pt x="33" y="27"/>
                  </a:cubicBezTo>
                  <a:cubicBezTo>
                    <a:pt x="32" y="27"/>
                    <a:pt x="31" y="28"/>
                    <a:pt x="31" y="29"/>
                  </a:cubicBezTo>
                  <a:cubicBezTo>
                    <a:pt x="31" y="100"/>
                    <a:pt x="31" y="100"/>
                    <a:pt x="31" y="100"/>
                  </a:cubicBezTo>
                  <a:cubicBezTo>
                    <a:pt x="31" y="101"/>
                    <a:pt x="32" y="101"/>
                    <a:pt x="33" y="101"/>
                  </a:cubicBezTo>
                  <a:cubicBezTo>
                    <a:pt x="113" y="101"/>
                    <a:pt x="113" y="101"/>
                    <a:pt x="113" y="101"/>
                  </a:cubicBezTo>
                  <a:cubicBezTo>
                    <a:pt x="115" y="101"/>
                    <a:pt x="117" y="102"/>
                    <a:pt x="117" y="104"/>
                  </a:cubicBezTo>
                  <a:cubicBezTo>
                    <a:pt x="117" y="125"/>
                    <a:pt x="117" y="125"/>
                    <a:pt x="117" y="125"/>
                  </a:cubicBezTo>
                  <a:cubicBezTo>
                    <a:pt x="117" y="128"/>
                    <a:pt x="115" y="129"/>
                    <a:pt x="113" y="129"/>
                  </a:cubicBezTo>
                  <a:cubicBezTo>
                    <a:pt x="33" y="129"/>
                    <a:pt x="33" y="129"/>
                    <a:pt x="33" y="129"/>
                  </a:cubicBezTo>
                  <a:cubicBezTo>
                    <a:pt x="32" y="129"/>
                    <a:pt x="31" y="129"/>
                    <a:pt x="31" y="130"/>
                  </a:cubicBezTo>
                  <a:cubicBezTo>
                    <a:pt x="31" y="203"/>
                    <a:pt x="31" y="203"/>
                    <a:pt x="31" y="203"/>
                  </a:cubicBezTo>
                  <a:cubicBezTo>
                    <a:pt x="31" y="204"/>
                    <a:pt x="32" y="204"/>
                    <a:pt x="33" y="204"/>
                  </a:cubicBezTo>
                  <a:cubicBezTo>
                    <a:pt x="150" y="204"/>
                    <a:pt x="150" y="204"/>
                    <a:pt x="150" y="204"/>
                  </a:cubicBezTo>
                  <a:cubicBezTo>
                    <a:pt x="152" y="204"/>
                    <a:pt x="153" y="205"/>
                    <a:pt x="153" y="207"/>
                  </a:cubicBezTo>
                  <a:cubicBezTo>
                    <a:pt x="153" y="228"/>
                    <a:pt x="153" y="228"/>
                    <a:pt x="153" y="228"/>
                  </a:cubicBezTo>
                  <a:cubicBezTo>
                    <a:pt x="153" y="231"/>
                    <a:pt x="152" y="232"/>
                    <a:pt x="150" y="232"/>
                  </a:cubicBezTo>
                  <a:cubicBezTo>
                    <a:pt x="3" y="232"/>
                    <a:pt x="3" y="232"/>
                    <a:pt x="3" y="232"/>
                  </a:cubicBezTo>
                  <a:cubicBezTo>
                    <a:pt x="1" y="232"/>
                    <a:pt x="0" y="231"/>
                    <a:pt x="0" y="228"/>
                  </a:cubicBezTo>
                  <a:cubicBezTo>
                    <a:pt x="0" y="3"/>
                    <a:pt x="0" y="3"/>
                    <a:pt x="0" y="3"/>
                  </a:cubicBezTo>
                  <a:cubicBezTo>
                    <a:pt x="0" y="1"/>
                    <a:pt x="1" y="0"/>
                    <a:pt x="3" y="0"/>
                  </a:cubicBezTo>
                  <a:cubicBezTo>
                    <a:pt x="150" y="0"/>
                    <a:pt x="150" y="0"/>
                    <a:pt x="150" y="0"/>
                  </a:cubicBezTo>
                  <a:cubicBezTo>
                    <a:pt x="152" y="0"/>
                    <a:pt x="153" y="1"/>
                    <a:pt x="153" y="3"/>
                  </a:cubicBezTo>
                  <a:cubicBezTo>
                    <a:pt x="153" y="24"/>
                    <a:pt x="153" y="24"/>
                    <a:pt x="153" y="24"/>
                  </a:cubicBezTo>
                  <a:cubicBezTo>
                    <a:pt x="153" y="26"/>
                    <a:pt x="152" y="27"/>
                    <a:pt x="150" y="27"/>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9" name="Freeform 25">
              <a:extLst>
                <a:ext uri="{FF2B5EF4-FFF2-40B4-BE49-F238E27FC236}">
                  <a16:creationId xmlns:a16="http://schemas.microsoft.com/office/drawing/2014/main" id="{889BF6E9-AB67-9966-263B-AA88937A4B52}"/>
                </a:ext>
              </a:extLst>
            </p:cNvPr>
            <p:cNvSpPr>
              <a:spLocks noEditPoints="1"/>
            </p:cNvSpPr>
            <p:nvPr userDrawn="1"/>
          </p:nvSpPr>
          <p:spPr bwMode="auto">
            <a:xfrm>
              <a:off x="6614" y="2858"/>
              <a:ext cx="59" cy="73"/>
            </a:xfrm>
            <a:custGeom>
              <a:avLst/>
              <a:gdLst>
                <a:gd name="T0" fmla="*/ 154 w 188"/>
                <a:gd name="T1" fmla="*/ 229 h 232"/>
                <a:gd name="T2" fmla="*/ 142 w 188"/>
                <a:gd name="T3" fmla="*/ 190 h 232"/>
                <a:gd name="T4" fmla="*/ 141 w 188"/>
                <a:gd name="T5" fmla="*/ 189 h 232"/>
                <a:gd name="T6" fmla="*/ 47 w 188"/>
                <a:gd name="T7" fmla="*/ 189 h 232"/>
                <a:gd name="T8" fmla="*/ 46 w 188"/>
                <a:gd name="T9" fmla="*/ 190 h 232"/>
                <a:gd name="T10" fmla="*/ 34 w 188"/>
                <a:gd name="T11" fmla="*/ 229 h 232"/>
                <a:gd name="T12" fmla="*/ 30 w 188"/>
                <a:gd name="T13" fmla="*/ 232 h 232"/>
                <a:gd name="T14" fmla="*/ 3 w 188"/>
                <a:gd name="T15" fmla="*/ 232 h 232"/>
                <a:gd name="T16" fmla="*/ 1 w 188"/>
                <a:gd name="T17" fmla="*/ 228 h 232"/>
                <a:gd name="T18" fmla="*/ 73 w 188"/>
                <a:gd name="T19" fmla="*/ 2 h 232"/>
                <a:gd name="T20" fmla="*/ 77 w 188"/>
                <a:gd name="T21" fmla="*/ 0 h 232"/>
                <a:gd name="T22" fmla="*/ 110 w 188"/>
                <a:gd name="T23" fmla="*/ 0 h 232"/>
                <a:gd name="T24" fmla="*/ 114 w 188"/>
                <a:gd name="T25" fmla="*/ 2 h 232"/>
                <a:gd name="T26" fmla="*/ 187 w 188"/>
                <a:gd name="T27" fmla="*/ 228 h 232"/>
                <a:gd name="T28" fmla="*/ 188 w 188"/>
                <a:gd name="T29" fmla="*/ 229 h 232"/>
                <a:gd name="T30" fmla="*/ 185 w 188"/>
                <a:gd name="T31" fmla="*/ 232 h 232"/>
                <a:gd name="T32" fmla="*/ 158 w 188"/>
                <a:gd name="T33" fmla="*/ 232 h 232"/>
                <a:gd name="T34" fmla="*/ 154 w 188"/>
                <a:gd name="T35" fmla="*/ 229 h 232"/>
                <a:gd name="T36" fmla="*/ 55 w 188"/>
                <a:gd name="T37" fmla="*/ 164 h 232"/>
                <a:gd name="T38" fmla="*/ 56 w 188"/>
                <a:gd name="T39" fmla="*/ 164 h 232"/>
                <a:gd name="T40" fmla="*/ 132 w 188"/>
                <a:gd name="T41" fmla="*/ 164 h 232"/>
                <a:gd name="T42" fmla="*/ 133 w 188"/>
                <a:gd name="T43" fmla="*/ 163 h 232"/>
                <a:gd name="T44" fmla="*/ 133 w 188"/>
                <a:gd name="T45" fmla="*/ 162 h 232"/>
                <a:gd name="T46" fmla="*/ 95 w 188"/>
                <a:gd name="T47" fmla="*/ 40 h 232"/>
                <a:gd name="T48" fmla="*/ 94 w 188"/>
                <a:gd name="T49" fmla="*/ 39 h 232"/>
                <a:gd name="T50" fmla="*/ 93 w 188"/>
                <a:gd name="T51" fmla="*/ 40 h 232"/>
                <a:gd name="T52" fmla="*/ 55 w 188"/>
                <a:gd name="T53" fmla="*/ 162 h 232"/>
                <a:gd name="T54" fmla="*/ 55 w 188"/>
                <a:gd name="T55" fmla="*/ 164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88" h="232">
                  <a:moveTo>
                    <a:pt x="154" y="229"/>
                  </a:moveTo>
                  <a:cubicBezTo>
                    <a:pt x="142" y="190"/>
                    <a:pt x="142" y="190"/>
                    <a:pt x="142" y="190"/>
                  </a:cubicBezTo>
                  <a:cubicBezTo>
                    <a:pt x="142" y="189"/>
                    <a:pt x="141" y="189"/>
                    <a:pt x="141" y="189"/>
                  </a:cubicBezTo>
                  <a:cubicBezTo>
                    <a:pt x="47" y="189"/>
                    <a:pt x="47" y="189"/>
                    <a:pt x="47" y="189"/>
                  </a:cubicBezTo>
                  <a:cubicBezTo>
                    <a:pt x="47" y="189"/>
                    <a:pt x="46" y="190"/>
                    <a:pt x="46" y="190"/>
                  </a:cubicBezTo>
                  <a:cubicBezTo>
                    <a:pt x="34" y="229"/>
                    <a:pt x="34" y="229"/>
                    <a:pt x="34" y="229"/>
                  </a:cubicBezTo>
                  <a:cubicBezTo>
                    <a:pt x="33" y="231"/>
                    <a:pt x="32" y="232"/>
                    <a:pt x="30" y="232"/>
                  </a:cubicBezTo>
                  <a:cubicBezTo>
                    <a:pt x="3" y="232"/>
                    <a:pt x="3" y="232"/>
                    <a:pt x="3" y="232"/>
                  </a:cubicBezTo>
                  <a:cubicBezTo>
                    <a:pt x="1" y="232"/>
                    <a:pt x="0" y="230"/>
                    <a:pt x="1" y="228"/>
                  </a:cubicBezTo>
                  <a:cubicBezTo>
                    <a:pt x="73" y="2"/>
                    <a:pt x="73" y="2"/>
                    <a:pt x="73" y="2"/>
                  </a:cubicBezTo>
                  <a:cubicBezTo>
                    <a:pt x="74" y="1"/>
                    <a:pt x="75" y="0"/>
                    <a:pt x="77" y="0"/>
                  </a:cubicBezTo>
                  <a:cubicBezTo>
                    <a:pt x="110" y="0"/>
                    <a:pt x="110" y="0"/>
                    <a:pt x="110" y="0"/>
                  </a:cubicBezTo>
                  <a:cubicBezTo>
                    <a:pt x="112" y="0"/>
                    <a:pt x="114" y="1"/>
                    <a:pt x="114" y="2"/>
                  </a:cubicBezTo>
                  <a:cubicBezTo>
                    <a:pt x="187" y="228"/>
                    <a:pt x="187" y="228"/>
                    <a:pt x="187" y="228"/>
                  </a:cubicBezTo>
                  <a:cubicBezTo>
                    <a:pt x="188" y="229"/>
                    <a:pt x="188" y="229"/>
                    <a:pt x="188" y="229"/>
                  </a:cubicBezTo>
                  <a:cubicBezTo>
                    <a:pt x="188" y="231"/>
                    <a:pt x="187" y="232"/>
                    <a:pt x="185" y="232"/>
                  </a:cubicBezTo>
                  <a:cubicBezTo>
                    <a:pt x="158" y="232"/>
                    <a:pt x="158" y="232"/>
                    <a:pt x="158" y="232"/>
                  </a:cubicBezTo>
                  <a:cubicBezTo>
                    <a:pt x="156" y="232"/>
                    <a:pt x="155" y="231"/>
                    <a:pt x="154" y="229"/>
                  </a:cubicBezTo>
                  <a:moveTo>
                    <a:pt x="55" y="164"/>
                  </a:moveTo>
                  <a:cubicBezTo>
                    <a:pt x="55" y="164"/>
                    <a:pt x="55" y="164"/>
                    <a:pt x="56" y="164"/>
                  </a:cubicBezTo>
                  <a:cubicBezTo>
                    <a:pt x="132" y="164"/>
                    <a:pt x="132" y="164"/>
                    <a:pt x="132" y="164"/>
                  </a:cubicBezTo>
                  <a:cubicBezTo>
                    <a:pt x="132" y="164"/>
                    <a:pt x="133" y="164"/>
                    <a:pt x="133" y="163"/>
                  </a:cubicBezTo>
                  <a:cubicBezTo>
                    <a:pt x="134" y="163"/>
                    <a:pt x="134" y="163"/>
                    <a:pt x="133" y="162"/>
                  </a:cubicBezTo>
                  <a:cubicBezTo>
                    <a:pt x="95" y="40"/>
                    <a:pt x="95" y="40"/>
                    <a:pt x="95" y="40"/>
                  </a:cubicBezTo>
                  <a:cubicBezTo>
                    <a:pt x="94" y="39"/>
                    <a:pt x="94" y="39"/>
                    <a:pt x="94" y="39"/>
                  </a:cubicBezTo>
                  <a:cubicBezTo>
                    <a:pt x="93" y="39"/>
                    <a:pt x="93" y="39"/>
                    <a:pt x="93" y="40"/>
                  </a:cubicBezTo>
                  <a:cubicBezTo>
                    <a:pt x="55" y="162"/>
                    <a:pt x="55" y="162"/>
                    <a:pt x="55" y="162"/>
                  </a:cubicBezTo>
                  <a:cubicBezTo>
                    <a:pt x="54" y="163"/>
                    <a:pt x="54" y="163"/>
                    <a:pt x="55" y="164"/>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0" name="Freeform 26">
              <a:extLst>
                <a:ext uri="{FF2B5EF4-FFF2-40B4-BE49-F238E27FC236}">
                  <a16:creationId xmlns:a16="http://schemas.microsoft.com/office/drawing/2014/main" id="{5A6C0357-9E93-51D1-7742-91AC3B50E526}"/>
                </a:ext>
              </a:extLst>
            </p:cNvPr>
            <p:cNvSpPr>
              <a:spLocks/>
            </p:cNvSpPr>
            <p:nvPr userDrawn="1"/>
          </p:nvSpPr>
          <p:spPr bwMode="auto">
            <a:xfrm>
              <a:off x="6668" y="2858"/>
              <a:ext cx="52" cy="73"/>
            </a:xfrm>
            <a:custGeom>
              <a:avLst/>
              <a:gdLst>
                <a:gd name="T0" fmla="*/ 165 w 165"/>
                <a:gd name="T1" fmla="*/ 3 h 232"/>
                <a:gd name="T2" fmla="*/ 165 w 165"/>
                <a:gd name="T3" fmla="*/ 24 h 232"/>
                <a:gd name="T4" fmla="*/ 161 w 165"/>
                <a:gd name="T5" fmla="*/ 27 h 232"/>
                <a:gd name="T6" fmla="*/ 98 w 165"/>
                <a:gd name="T7" fmla="*/ 27 h 232"/>
                <a:gd name="T8" fmla="*/ 97 w 165"/>
                <a:gd name="T9" fmla="*/ 29 h 232"/>
                <a:gd name="T10" fmla="*/ 97 w 165"/>
                <a:gd name="T11" fmla="*/ 228 h 232"/>
                <a:gd name="T12" fmla="*/ 94 w 165"/>
                <a:gd name="T13" fmla="*/ 231 h 232"/>
                <a:gd name="T14" fmla="*/ 68 w 165"/>
                <a:gd name="T15" fmla="*/ 232 h 232"/>
                <a:gd name="T16" fmla="*/ 65 w 165"/>
                <a:gd name="T17" fmla="*/ 228 h 232"/>
                <a:gd name="T18" fmla="*/ 65 w 165"/>
                <a:gd name="T19" fmla="*/ 29 h 232"/>
                <a:gd name="T20" fmla="*/ 64 w 165"/>
                <a:gd name="T21" fmla="*/ 27 h 232"/>
                <a:gd name="T22" fmla="*/ 3 w 165"/>
                <a:gd name="T23" fmla="*/ 27 h 232"/>
                <a:gd name="T24" fmla="*/ 0 w 165"/>
                <a:gd name="T25" fmla="*/ 24 h 232"/>
                <a:gd name="T26" fmla="*/ 0 w 165"/>
                <a:gd name="T27" fmla="*/ 3 h 232"/>
                <a:gd name="T28" fmla="*/ 3 w 165"/>
                <a:gd name="T29" fmla="*/ 0 h 232"/>
                <a:gd name="T30" fmla="*/ 161 w 165"/>
                <a:gd name="T31" fmla="*/ 0 h 232"/>
                <a:gd name="T32" fmla="*/ 165 w 165"/>
                <a:gd name="T33" fmla="*/ 3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5" h="232">
                  <a:moveTo>
                    <a:pt x="165" y="3"/>
                  </a:moveTo>
                  <a:cubicBezTo>
                    <a:pt x="165" y="24"/>
                    <a:pt x="165" y="24"/>
                    <a:pt x="165" y="24"/>
                  </a:cubicBezTo>
                  <a:cubicBezTo>
                    <a:pt x="165" y="26"/>
                    <a:pt x="164" y="27"/>
                    <a:pt x="161" y="27"/>
                  </a:cubicBezTo>
                  <a:cubicBezTo>
                    <a:pt x="98" y="27"/>
                    <a:pt x="98" y="27"/>
                    <a:pt x="98" y="27"/>
                  </a:cubicBezTo>
                  <a:cubicBezTo>
                    <a:pt x="97" y="27"/>
                    <a:pt x="97" y="28"/>
                    <a:pt x="97" y="29"/>
                  </a:cubicBezTo>
                  <a:cubicBezTo>
                    <a:pt x="97" y="228"/>
                    <a:pt x="97" y="228"/>
                    <a:pt x="97" y="228"/>
                  </a:cubicBezTo>
                  <a:cubicBezTo>
                    <a:pt x="97" y="230"/>
                    <a:pt x="96" y="231"/>
                    <a:pt x="94" y="231"/>
                  </a:cubicBezTo>
                  <a:cubicBezTo>
                    <a:pt x="68" y="232"/>
                    <a:pt x="68" y="232"/>
                    <a:pt x="68" y="232"/>
                  </a:cubicBezTo>
                  <a:cubicBezTo>
                    <a:pt x="66" y="232"/>
                    <a:pt x="65" y="230"/>
                    <a:pt x="65" y="228"/>
                  </a:cubicBezTo>
                  <a:cubicBezTo>
                    <a:pt x="65" y="29"/>
                    <a:pt x="65" y="29"/>
                    <a:pt x="65" y="29"/>
                  </a:cubicBezTo>
                  <a:cubicBezTo>
                    <a:pt x="65" y="28"/>
                    <a:pt x="65" y="27"/>
                    <a:pt x="64" y="27"/>
                  </a:cubicBezTo>
                  <a:cubicBezTo>
                    <a:pt x="3" y="27"/>
                    <a:pt x="3" y="27"/>
                    <a:pt x="3" y="27"/>
                  </a:cubicBezTo>
                  <a:cubicBezTo>
                    <a:pt x="1" y="27"/>
                    <a:pt x="0" y="26"/>
                    <a:pt x="0" y="24"/>
                  </a:cubicBezTo>
                  <a:cubicBezTo>
                    <a:pt x="0" y="3"/>
                    <a:pt x="0" y="3"/>
                    <a:pt x="0" y="3"/>
                  </a:cubicBezTo>
                  <a:cubicBezTo>
                    <a:pt x="0" y="1"/>
                    <a:pt x="1" y="0"/>
                    <a:pt x="3" y="0"/>
                  </a:cubicBezTo>
                  <a:cubicBezTo>
                    <a:pt x="161" y="0"/>
                    <a:pt x="161" y="0"/>
                    <a:pt x="161" y="0"/>
                  </a:cubicBezTo>
                  <a:cubicBezTo>
                    <a:pt x="164" y="0"/>
                    <a:pt x="165" y="1"/>
                    <a:pt x="165" y="3"/>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1" name="Freeform 27">
              <a:extLst>
                <a:ext uri="{FF2B5EF4-FFF2-40B4-BE49-F238E27FC236}">
                  <a16:creationId xmlns:a16="http://schemas.microsoft.com/office/drawing/2014/main" id="{AB9D74EF-60E0-33AE-681D-058F52694FBF}"/>
                </a:ext>
              </a:extLst>
            </p:cNvPr>
            <p:cNvSpPr>
              <a:spLocks/>
            </p:cNvSpPr>
            <p:nvPr userDrawn="1"/>
          </p:nvSpPr>
          <p:spPr bwMode="auto">
            <a:xfrm>
              <a:off x="6730" y="2858"/>
              <a:ext cx="10" cy="72"/>
            </a:xfrm>
            <a:custGeom>
              <a:avLst/>
              <a:gdLst>
                <a:gd name="T0" fmla="*/ 4 w 32"/>
                <a:gd name="T1" fmla="*/ 0 h 231"/>
                <a:gd name="T2" fmla="*/ 29 w 32"/>
                <a:gd name="T3" fmla="*/ 0 h 231"/>
                <a:gd name="T4" fmla="*/ 32 w 32"/>
                <a:gd name="T5" fmla="*/ 3 h 231"/>
                <a:gd name="T6" fmla="*/ 32 w 32"/>
                <a:gd name="T7" fmla="*/ 228 h 231"/>
                <a:gd name="T8" fmla="*/ 29 w 32"/>
                <a:gd name="T9" fmla="*/ 231 h 231"/>
                <a:gd name="T10" fmla="*/ 4 w 32"/>
                <a:gd name="T11" fmla="*/ 231 h 231"/>
                <a:gd name="T12" fmla="*/ 1 w 32"/>
                <a:gd name="T13" fmla="*/ 228 h 231"/>
                <a:gd name="T14" fmla="*/ 0 w 32"/>
                <a:gd name="T15" fmla="*/ 3 h 231"/>
                <a:gd name="T16" fmla="*/ 4 w 32"/>
                <a:gd name="T17" fmla="*/ 0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231">
                  <a:moveTo>
                    <a:pt x="4" y="0"/>
                  </a:moveTo>
                  <a:cubicBezTo>
                    <a:pt x="29" y="0"/>
                    <a:pt x="29" y="0"/>
                    <a:pt x="29" y="0"/>
                  </a:cubicBezTo>
                  <a:cubicBezTo>
                    <a:pt x="31" y="0"/>
                    <a:pt x="32" y="1"/>
                    <a:pt x="32" y="3"/>
                  </a:cubicBezTo>
                  <a:cubicBezTo>
                    <a:pt x="32" y="228"/>
                    <a:pt x="32" y="228"/>
                    <a:pt x="32" y="228"/>
                  </a:cubicBezTo>
                  <a:cubicBezTo>
                    <a:pt x="32" y="230"/>
                    <a:pt x="31" y="231"/>
                    <a:pt x="29" y="231"/>
                  </a:cubicBezTo>
                  <a:cubicBezTo>
                    <a:pt x="4" y="231"/>
                    <a:pt x="4" y="231"/>
                    <a:pt x="4" y="231"/>
                  </a:cubicBezTo>
                  <a:cubicBezTo>
                    <a:pt x="2" y="231"/>
                    <a:pt x="1" y="230"/>
                    <a:pt x="1" y="228"/>
                  </a:cubicBezTo>
                  <a:cubicBezTo>
                    <a:pt x="0" y="3"/>
                    <a:pt x="0" y="3"/>
                    <a:pt x="0" y="3"/>
                  </a:cubicBezTo>
                  <a:cubicBezTo>
                    <a:pt x="0" y="1"/>
                    <a:pt x="2" y="0"/>
                    <a:pt x="4" y="0"/>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2" name="Freeform 28">
              <a:extLst>
                <a:ext uri="{FF2B5EF4-FFF2-40B4-BE49-F238E27FC236}">
                  <a16:creationId xmlns:a16="http://schemas.microsoft.com/office/drawing/2014/main" id="{3992BB11-FA98-0177-08ED-EB078D120945}"/>
                </a:ext>
              </a:extLst>
            </p:cNvPr>
            <p:cNvSpPr>
              <a:spLocks/>
            </p:cNvSpPr>
            <p:nvPr userDrawn="1"/>
          </p:nvSpPr>
          <p:spPr bwMode="auto">
            <a:xfrm>
              <a:off x="6756" y="2858"/>
              <a:ext cx="52" cy="72"/>
            </a:xfrm>
            <a:custGeom>
              <a:avLst/>
              <a:gdLst>
                <a:gd name="T0" fmla="*/ 140 w 168"/>
                <a:gd name="T1" fmla="*/ 0 h 232"/>
                <a:gd name="T2" fmla="*/ 165 w 168"/>
                <a:gd name="T3" fmla="*/ 0 h 232"/>
                <a:gd name="T4" fmla="*/ 168 w 168"/>
                <a:gd name="T5" fmla="*/ 4 h 232"/>
                <a:gd name="T6" fmla="*/ 168 w 168"/>
                <a:gd name="T7" fmla="*/ 229 h 232"/>
                <a:gd name="T8" fmla="*/ 165 w 168"/>
                <a:gd name="T9" fmla="*/ 232 h 232"/>
                <a:gd name="T10" fmla="*/ 141 w 168"/>
                <a:gd name="T11" fmla="*/ 232 h 232"/>
                <a:gd name="T12" fmla="*/ 137 w 168"/>
                <a:gd name="T13" fmla="*/ 230 h 232"/>
                <a:gd name="T14" fmla="*/ 33 w 168"/>
                <a:gd name="T15" fmla="*/ 61 h 232"/>
                <a:gd name="T16" fmla="*/ 32 w 168"/>
                <a:gd name="T17" fmla="*/ 60 h 232"/>
                <a:gd name="T18" fmla="*/ 31 w 168"/>
                <a:gd name="T19" fmla="*/ 61 h 232"/>
                <a:gd name="T20" fmla="*/ 32 w 168"/>
                <a:gd name="T21" fmla="*/ 229 h 232"/>
                <a:gd name="T22" fmla="*/ 29 w 168"/>
                <a:gd name="T23" fmla="*/ 232 h 232"/>
                <a:gd name="T24" fmla="*/ 3 w 168"/>
                <a:gd name="T25" fmla="*/ 232 h 232"/>
                <a:gd name="T26" fmla="*/ 0 w 168"/>
                <a:gd name="T27" fmla="*/ 229 h 232"/>
                <a:gd name="T28" fmla="*/ 0 w 168"/>
                <a:gd name="T29" fmla="*/ 4 h 232"/>
                <a:gd name="T30" fmla="*/ 3 w 168"/>
                <a:gd name="T31" fmla="*/ 1 h 232"/>
                <a:gd name="T32" fmla="*/ 28 w 168"/>
                <a:gd name="T33" fmla="*/ 0 h 232"/>
                <a:gd name="T34" fmla="*/ 32 w 168"/>
                <a:gd name="T35" fmla="*/ 3 h 232"/>
                <a:gd name="T36" fmla="*/ 135 w 168"/>
                <a:gd name="T37" fmla="*/ 172 h 232"/>
                <a:gd name="T38" fmla="*/ 136 w 168"/>
                <a:gd name="T39" fmla="*/ 173 h 232"/>
                <a:gd name="T40" fmla="*/ 137 w 168"/>
                <a:gd name="T41" fmla="*/ 172 h 232"/>
                <a:gd name="T42" fmla="*/ 136 w 168"/>
                <a:gd name="T43" fmla="*/ 4 h 232"/>
                <a:gd name="T44" fmla="*/ 140 w 168"/>
                <a:gd name="T45" fmla="*/ 0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8" h="232">
                  <a:moveTo>
                    <a:pt x="140" y="0"/>
                  </a:moveTo>
                  <a:cubicBezTo>
                    <a:pt x="165" y="0"/>
                    <a:pt x="165" y="0"/>
                    <a:pt x="165" y="0"/>
                  </a:cubicBezTo>
                  <a:cubicBezTo>
                    <a:pt x="167" y="0"/>
                    <a:pt x="168" y="2"/>
                    <a:pt x="168" y="4"/>
                  </a:cubicBezTo>
                  <a:cubicBezTo>
                    <a:pt x="168" y="229"/>
                    <a:pt x="168" y="229"/>
                    <a:pt x="168" y="229"/>
                  </a:cubicBezTo>
                  <a:cubicBezTo>
                    <a:pt x="168" y="231"/>
                    <a:pt x="167" y="232"/>
                    <a:pt x="165" y="232"/>
                  </a:cubicBezTo>
                  <a:cubicBezTo>
                    <a:pt x="141" y="232"/>
                    <a:pt x="141" y="232"/>
                    <a:pt x="141" y="232"/>
                  </a:cubicBezTo>
                  <a:cubicBezTo>
                    <a:pt x="139" y="232"/>
                    <a:pt x="138" y="232"/>
                    <a:pt x="137" y="230"/>
                  </a:cubicBezTo>
                  <a:cubicBezTo>
                    <a:pt x="33" y="61"/>
                    <a:pt x="33" y="61"/>
                    <a:pt x="33" y="61"/>
                  </a:cubicBezTo>
                  <a:cubicBezTo>
                    <a:pt x="33" y="60"/>
                    <a:pt x="32" y="60"/>
                    <a:pt x="32" y="60"/>
                  </a:cubicBezTo>
                  <a:cubicBezTo>
                    <a:pt x="32" y="60"/>
                    <a:pt x="31" y="60"/>
                    <a:pt x="31" y="61"/>
                  </a:cubicBezTo>
                  <a:cubicBezTo>
                    <a:pt x="32" y="229"/>
                    <a:pt x="32" y="229"/>
                    <a:pt x="32" y="229"/>
                  </a:cubicBezTo>
                  <a:cubicBezTo>
                    <a:pt x="32" y="231"/>
                    <a:pt x="31" y="232"/>
                    <a:pt x="29" y="232"/>
                  </a:cubicBezTo>
                  <a:cubicBezTo>
                    <a:pt x="3" y="232"/>
                    <a:pt x="3" y="232"/>
                    <a:pt x="3" y="232"/>
                  </a:cubicBezTo>
                  <a:cubicBezTo>
                    <a:pt x="1" y="232"/>
                    <a:pt x="0" y="231"/>
                    <a:pt x="0" y="229"/>
                  </a:cubicBezTo>
                  <a:cubicBezTo>
                    <a:pt x="0" y="4"/>
                    <a:pt x="0" y="4"/>
                    <a:pt x="0" y="4"/>
                  </a:cubicBezTo>
                  <a:cubicBezTo>
                    <a:pt x="0" y="2"/>
                    <a:pt x="1" y="1"/>
                    <a:pt x="3" y="1"/>
                  </a:cubicBezTo>
                  <a:cubicBezTo>
                    <a:pt x="28" y="0"/>
                    <a:pt x="28" y="0"/>
                    <a:pt x="28" y="0"/>
                  </a:cubicBezTo>
                  <a:cubicBezTo>
                    <a:pt x="29" y="0"/>
                    <a:pt x="31" y="1"/>
                    <a:pt x="32" y="3"/>
                  </a:cubicBezTo>
                  <a:cubicBezTo>
                    <a:pt x="135" y="172"/>
                    <a:pt x="135" y="172"/>
                    <a:pt x="135" y="172"/>
                  </a:cubicBezTo>
                  <a:cubicBezTo>
                    <a:pt x="135" y="173"/>
                    <a:pt x="136" y="173"/>
                    <a:pt x="136" y="173"/>
                  </a:cubicBezTo>
                  <a:cubicBezTo>
                    <a:pt x="137" y="173"/>
                    <a:pt x="137" y="172"/>
                    <a:pt x="137" y="172"/>
                  </a:cubicBezTo>
                  <a:cubicBezTo>
                    <a:pt x="136" y="4"/>
                    <a:pt x="136" y="4"/>
                    <a:pt x="136" y="4"/>
                  </a:cubicBezTo>
                  <a:cubicBezTo>
                    <a:pt x="136" y="2"/>
                    <a:pt x="137" y="0"/>
                    <a:pt x="140" y="0"/>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3" name="Freeform 29">
              <a:extLst>
                <a:ext uri="{FF2B5EF4-FFF2-40B4-BE49-F238E27FC236}">
                  <a16:creationId xmlns:a16="http://schemas.microsoft.com/office/drawing/2014/main" id="{A816CC67-33E9-BBEC-3C40-AB0491CAD2B5}"/>
                </a:ext>
              </a:extLst>
            </p:cNvPr>
            <p:cNvSpPr>
              <a:spLocks/>
            </p:cNvSpPr>
            <p:nvPr userDrawn="1"/>
          </p:nvSpPr>
          <p:spPr bwMode="auto">
            <a:xfrm>
              <a:off x="6822" y="2857"/>
              <a:ext cx="50" cy="74"/>
            </a:xfrm>
            <a:custGeom>
              <a:avLst/>
              <a:gdLst>
                <a:gd name="T0" fmla="*/ 38 w 161"/>
                <a:gd name="T1" fmla="*/ 227 h 237"/>
                <a:gd name="T2" fmla="*/ 10 w 161"/>
                <a:gd name="T3" fmla="*/ 201 h 237"/>
                <a:gd name="T4" fmla="*/ 0 w 161"/>
                <a:gd name="T5" fmla="*/ 161 h 237"/>
                <a:gd name="T6" fmla="*/ 0 w 161"/>
                <a:gd name="T7" fmla="*/ 76 h 237"/>
                <a:gd name="T8" fmla="*/ 10 w 161"/>
                <a:gd name="T9" fmla="*/ 36 h 237"/>
                <a:gd name="T10" fmla="*/ 38 w 161"/>
                <a:gd name="T11" fmla="*/ 9 h 237"/>
                <a:gd name="T12" fmla="*/ 80 w 161"/>
                <a:gd name="T13" fmla="*/ 0 h 237"/>
                <a:gd name="T14" fmla="*/ 122 w 161"/>
                <a:gd name="T15" fmla="*/ 9 h 237"/>
                <a:gd name="T16" fmla="*/ 151 w 161"/>
                <a:gd name="T17" fmla="*/ 35 h 237"/>
                <a:gd name="T18" fmla="*/ 161 w 161"/>
                <a:gd name="T19" fmla="*/ 72 h 237"/>
                <a:gd name="T20" fmla="*/ 161 w 161"/>
                <a:gd name="T21" fmla="*/ 75 h 237"/>
                <a:gd name="T22" fmla="*/ 157 w 161"/>
                <a:gd name="T23" fmla="*/ 78 h 237"/>
                <a:gd name="T24" fmla="*/ 132 w 161"/>
                <a:gd name="T25" fmla="*/ 79 h 237"/>
                <a:gd name="T26" fmla="*/ 129 w 161"/>
                <a:gd name="T27" fmla="*/ 75 h 237"/>
                <a:gd name="T28" fmla="*/ 129 w 161"/>
                <a:gd name="T29" fmla="*/ 72 h 237"/>
                <a:gd name="T30" fmla="*/ 116 w 161"/>
                <a:gd name="T31" fmla="*/ 40 h 237"/>
                <a:gd name="T32" fmla="*/ 80 w 161"/>
                <a:gd name="T33" fmla="*/ 28 h 237"/>
                <a:gd name="T34" fmla="*/ 45 w 161"/>
                <a:gd name="T35" fmla="*/ 40 h 237"/>
                <a:gd name="T36" fmla="*/ 31 w 161"/>
                <a:gd name="T37" fmla="*/ 75 h 237"/>
                <a:gd name="T38" fmla="*/ 31 w 161"/>
                <a:gd name="T39" fmla="*/ 162 h 237"/>
                <a:gd name="T40" fmla="*/ 45 w 161"/>
                <a:gd name="T41" fmla="*/ 196 h 237"/>
                <a:gd name="T42" fmla="*/ 81 w 161"/>
                <a:gd name="T43" fmla="*/ 209 h 237"/>
                <a:gd name="T44" fmla="*/ 116 w 161"/>
                <a:gd name="T45" fmla="*/ 198 h 237"/>
                <a:gd name="T46" fmla="*/ 129 w 161"/>
                <a:gd name="T47" fmla="*/ 166 h 237"/>
                <a:gd name="T48" fmla="*/ 129 w 161"/>
                <a:gd name="T49" fmla="*/ 141 h 237"/>
                <a:gd name="T50" fmla="*/ 127 w 161"/>
                <a:gd name="T51" fmla="*/ 139 h 237"/>
                <a:gd name="T52" fmla="*/ 83 w 161"/>
                <a:gd name="T53" fmla="*/ 139 h 237"/>
                <a:gd name="T54" fmla="*/ 79 w 161"/>
                <a:gd name="T55" fmla="*/ 136 h 237"/>
                <a:gd name="T56" fmla="*/ 79 w 161"/>
                <a:gd name="T57" fmla="*/ 116 h 237"/>
                <a:gd name="T58" fmla="*/ 83 w 161"/>
                <a:gd name="T59" fmla="*/ 112 h 237"/>
                <a:gd name="T60" fmla="*/ 157 w 161"/>
                <a:gd name="T61" fmla="*/ 112 h 237"/>
                <a:gd name="T62" fmla="*/ 161 w 161"/>
                <a:gd name="T63" fmla="*/ 116 h 237"/>
                <a:gd name="T64" fmla="*/ 161 w 161"/>
                <a:gd name="T65" fmla="*/ 158 h 237"/>
                <a:gd name="T66" fmla="*/ 139 w 161"/>
                <a:gd name="T67" fmla="*/ 216 h 237"/>
                <a:gd name="T68" fmla="*/ 81 w 161"/>
                <a:gd name="T69" fmla="*/ 237 h 237"/>
                <a:gd name="T70" fmla="*/ 38 w 161"/>
                <a:gd name="T71" fmla="*/ 227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61" h="237">
                  <a:moveTo>
                    <a:pt x="38" y="227"/>
                  </a:moveTo>
                  <a:cubicBezTo>
                    <a:pt x="26" y="221"/>
                    <a:pt x="17" y="212"/>
                    <a:pt x="10" y="201"/>
                  </a:cubicBezTo>
                  <a:cubicBezTo>
                    <a:pt x="3" y="189"/>
                    <a:pt x="0" y="176"/>
                    <a:pt x="0" y="161"/>
                  </a:cubicBezTo>
                  <a:cubicBezTo>
                    <a:pt x="0" y="76"/>
                    <a:pt x="0" y="76"/>
                    <a:pt x="0" y="76"/>
                  </a:cubicBezTo>
                  <a:cubicBezTo>
                    <a:pt x="0" y="61"/>
                    <a:pt x="3" y="47"/>
                    <a:pt x="10" y="36"/>
                  </a:cubicBezTo>
                  <a:cubicBezTo>
                    <a:pt x="16" y="24"/>
                    <a:pt x="26" y="15"/>
                    <a:pt x="38" y="9"/>
                  </a:cubicBezTo>
                  <a:cubicBezTo>
                    <a:pt x="50" y="3"/>
                    <a:pt x="64" y="0"/>
                    <a:pt x="80" y="0"/>
                  </a:cubicBezTo>
                  <a:cubicBezTo>
                    <a:pt x="96" y="0"/>
                    <a:pt x="110" y="3"/>
                    <a:pt x="122" y="9"/>
                  </a:cubicBezTo>
                  <a:cubicBezTo>
                    <a:pt x="135" y="15"/>
                    <a:pt x="144" y="24"/>
                    <a:pt x="151" y="35"/>
                  </a:cubicBezTo>
                  <a:cubicBezTo>
                    <a:pt x="157" y="46"/>
                    <a:pt x="161" y="58"/>
                    <a:pt x="161" y="72"/>
                  </a:cubicBezTo>
                  <a:cubicBezTo>
                    <a:pt x="161" y="75"/>
                    <a:pt x="161" y="75"/>
                    <a:pt x="161" y="75"/>
                  </a:cubicBezTo>
                  <a:cubicBezTo>
                    <a:pt x="161" y="77"/>
                    <a:pt x="159" y="78"/>
                    <a:pt x="157" y="78"/>
                  </a:cubicBezTo>
                  <a:cubicBezTo>
                    <a:pt x="132" y="79"/>
                    <a:pt x="132" y="79"/>
                    <a:pt x="132" y="79"/>
                  </a:cubicBezTo>
                  <a:cubicBezTo>
                    <a:pt x="130" y="79"/>
                    <a:pt x="129" y="77"/>
                    <a:pt x="129" y="75"/>
                  </a:cubicBezTo>
                  <a:cubicBezTo>
                    <a:pt x="129" y="72"/>
                    <a:pt x="129" y="72"/>
                    <a:pt x="129" y="72"/>
                  </a:cubicBezTo>
                  <a:cubicBezTo>
                    <a:pt x="129" y="59"/>
                    <a:pt x="124" y="48"/>
                    <a:pt x="116" y="40"/>
                  </a:cubicBezTo>
                  <a:cubicBezTo>
                    <a:pt x="107" y="32"/>
                    <a:pt x="95" y="28"/>
                    <a:pt x="80" y="28"/>
                  </a:cubicBezTo>
                  <a:cubicBezTo>
                    <a:pt x="66" y="28"/>
                    <a:pt x="54" y="32"/>
                    <a:pt x="45" y="40"/>
                  </a:cubicBezTo>
                  <a:cubicBezTo>
                    <a:pt x="36" y="49"/>
                    <a:pt x="31" y="61"/>
                    <a:pt x="31" y="75"/>
                  </a:cubicBezTo>
                  <a:cubicBezTo>
                    <a:pt x="31" y="162"/>
                    <a:pt x="31" y="162"/>
                    <a:pt x="31" y="162"/>
                  </a:cubicBezTo>
                  <a:cubicBezTo>
                    <a:pt x="31" y="176"/>
                    <a:pt x="36" y="188"/>
                    <a:pt x="45" y="196"/>
                  </a:cubicBezTo>
                  <a:cubicBezTo>
                    <a:pt x="55" y="205"/>
                    <a:pt x="67" y="209"/>
                    <a:pt x="81" y="209"/>
                  </a:cubicBezTo>
                  <a:cubicBezTo>
                    <a:pt x="96" y="209"/>
                    <a:pt x="108" y="205"/>
                    <a:pt x="116" y="198"/>
                  </a:cubicBezTo>
                  <a:cubicBezTo>
                    <a:pt x="125" y="190"/>
                    <a:pt x="129" y="180"/>
                    <a:pt x="129" y="166"/>
                  </a:cubicBezTo>
                  <a:cubicBezTo>
                    <a:pt x="129" y="141"/>
                    <a:pt x="129" y="141"/>
                    <a:pt x="129" y="141"/>
                  </a:cubicBezTo>
                  <a:cubicBezTo>
                    <a:pt x="129" y="140"/>
                    <a:pt x="128" y="139"/>
                    <a:pt x="127" y="139"/>
                  </a:cubicBezTo>
                  <a:cubicBezTo>
                    <a:pt x="83" y="139"/>
                    <a:pt x="83" y="139"/>
                    <a:pt x="83" y="139"/>
                  </a:cubicBezTo>
                  <a:cubicBezTo>
                    <a:pt x="81" y="139"/>
                    <a:pt x="79" y="138"/>
                    <a:pt x="79" y="136"/>
                  </a:cubicBezTo>
                  <a:cubicBezTo>
                    <a:pt x="79" y="116"/>
                    <a:pt x="79" y="116"/>
                    <a:pt x="79" y="116"/>
                  </a:cubicBezTo>
                  <a:cubicBezTo>
                    <a:pt x="79" y="113"/>
                    <a:pt x="81" y="112"/>
                    <a:pt x="83" y="112"/>
                  </a:cubicBezTo>
                  <a:cubicBezTo>
                    <a:pt x="157" y="112"/>
                    <a:pt x="157" y="112"/>
                    <a:pt x="157" y="112"/>
                  </a:cubicBezTo>
                  <a:cubicBezTo>
                    <a:pt x="160" y="112"/>
                    <a:pt x="161" y="113"/>
                    <a:pt x="161" y="116"/>
                  </a:cubicBezTo>
                  <a:cubicBezTo>
                    <a:pt x="161" y="158"/>
                    <a:pt x="161" y="158"/>
                    <a:pt x="161" y="158"/>
                  </a:cubicBezTo>
                  <a:cubicBezTo>
                    <a:pt x="161" y="183"/>
                    <a:pt x="153" y="203"/>
                    <a:pt x="139" y="216"/>
                  </a:cubicBezTo>
                  <a:cubicBezTo>
                    <a:pt x="125" y="230"/>
                    <a:pt x="105" y="237"/>
                    <a:pt x="81" y="237"/>
                  </a:cubicBezTo>
                  <a:cubicBezTo>
                    <a:pt x="64" y="237"/>
                    <a:pt x="50" y="234"/>
                    <a:pt x="38" y="227"/>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4" name="Freeform 30">
              <a:extLst>
                <a:ext uri="{FF2B5EF4-FFF2-40B4-BE49-F238E27FC236}">
                  <a16:creationId xmlns:a16="http://schemas.microsoft.com/office/drawing/2014/main" id="{D89CF044-C8F1-29D5-9C22-24FE41FF94B2}"/>
                </a:ext>
              </a:extLst>
            </p:cNvPr>
            <p:cNvSpPr>
              <a:spLocks/>
            </p:cNvSpPr>
            <p:nvPr userDrawn="1"/>
          </p:nvSpPr>
          <p:spPr bwMode="auto">
            <a:xfrm>
              <a:off x="6899" y="2858"/>
              <a:ext cx="52" cy="72"/>
            </a:xfrm>
            <a:custGeom>
              <a:avLst/>
              <a:gdLst>
                <a:gd name="T0" fmla="*/ 165 w 165"/>
                <a:gd name="T1" fmla="*/ 3 h 232"/>
                <a:gd name="T2" fmla="*/ 165 w 165"/>
                <a:gd name="T3" fmla="*/ 25 h 232"/>
                <a:gd name="T4" fmla="*/ 162 w 165"/>
                <a:gd name="T5" fmla="*/ 28 h 232"/>
                <a:gd name="T6" fmla="*/ 99 w 165"/>
                <a:gd name="T7" fmla="*/ 28 h 232"/>
                <a:gd name="T8" fmla="*/ 97 w 165"/>
                <a:gd name="T9" fmla="*/ 29 h 232"/>
                <a:gd name="T10" fmla="*/ 98 w 165"/>
                <a:gd name="T11" fmla="*/ 229 h 232"/>
                <a:gd name="T12" fmla="*/ 94 w 165"/>
                <a:gd name="T13" fmla="*/ 232 h 232"/>
                <a:gd name="T14" fmla="*/ 69 w 165"/>
                <a:gd name="T15" fmla="*/ 232 h 232"/>
                <a:gd name="T16" fmla="*/ 66 w 165"/>
                <a:gd name="T17" fmla="*/ 229 h 232"/>
                <a:gd name="T18" fmla="*/ 66 w 165"/>
                <a:gd name="T19" fmla="*/ 29 h 232"/>
                <a:gd name="T20" fmla="*/ 64 w 165"/>
                <a:gd name="T21" fmla="*/ 28 h 232"/>
                <a:gd name="T22" fmla="*/ 4 w 165"/>
                <a:gd name="T23" fmla="*/ 28 h 232"/>
                <a:gd name="T24" fmla="*/ 0 w 165"/>
                <a:gd name="T25" fmla="*/ 25 h 232"/>
                <a:gd name="T26" fmla="*/ 0 w 165"/>
                <a:gd name="T27" fmla="*/ 4 h 232"/>
                <a:gd name="T28" fmla="*/ 4 w 165"/>
                <a:gd name="T29" fmla="*/ 0 h 232"/>
                <a:gd name="T30" fmla="*/ 162 w 165"/>
                <a:gd name="T31" fmla="*/ 0 h 232"/>
                <a:gd name="T32" fmla="*/ 165 w 165"/>
                <a:gd name="T33" fmla="*/ 3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5" h="232">
                  <a:moveTo>
                    <a:pt x="165" y="3"/>
                  </a:moveTo>
                  <a:cubicBezTo>
                    <a:pt x="165" y="25"/>
                    <a:pt x="165" y="25"/>
                    <a:pt x="165" y="25"/>
                  </a:cubicBezTo>
                  <a:cubicBezTo>
                    <a:pt x="165" y="27"/>
                    <a:pt x="164" y="28"/>
                    <a:pt x="162" y="28"/>
                  </a:cubicBezTo>
                  <a:cubicBezTo>
                    <a:pt x="99" y="28"/>
                    <a:pt x="99" y="28"/>
                    <a:pt x="99" y="28"/>
                  </a:cubicBezTo>
                  <a:cubicBezTo>
                    <a:pt x="98" y="28"/>
                    <a:pt x="97" y="28"/>
                    <a:pt x="97" y="29"/>
                  </a:cubicBezTo>
                  <a:cubicBezTo>
                    <a:pt x="98" y="229"/>
                    <a:pt x="98" y="229"/>
                    <a:pt x="98" y="229"/>
                  </a:cubicBezTo>
                  <a:cubicBezTo>
                    <a:pt x="98" y="231"/>
                    <a:pt x="96" y="232"/>
                    <a:pt x="94" y="232"/>
                  </a:cubicBezTo>
                  <a:cubicBezTo>
                    <a:pt x="69" y="232"/>
                    <a:pt x="69" y="232"/>
                    <a:pt x="69" y="232"/>
                  </a:cubicBezTo>
                  <a:cubicBezTo>
                    <a:pt x="67" y="232"/>
                    <a:pt x="66" y="231"/>
                    <a:pt x="66" y="229"/>
                  </a:cubicBezTo>
                  <a:cubicBezTo>
                    <a:pt x="66" y="29"/>
                    <a:pt x="66" y="29"/>
                    <a:pt x="66" y="29"/>
                  </a:cubicBezTo>
                  <a:cubicBezTo>
                    <a:pt x="66" y="28"/>
                    <a:pt x="65" y="28"/>
                    <a:pt x="64" y="28"/>
                  </a:cubicBezTo>
                  <a:cubicBezTo>
                    <a:pt x="4" y="28"/>
                    <a:pt x="4" y="28"/>
                    <a:pt x="4" y="28"/>
                  </a:cubicBezTo>
                  <a:cubicBezTo>
                    <a:pt x="1" y="28"/>
                    <a:pt x="0" y="27"/>
                    <a:pt x="0" y="25"/>
                  </a:cubicBezTo>
                  <a:cubicBezTo>
                    <a:pt x="0" y="4"/>
                    <a:pt x="0" y="4"/>
                    <a:pt x="0" y="4"/>
                  </a:cubicBezTo>
                  <a:cubicBezTo>
                    <a:pt x="0" y="1"/>
                    <a:pt x="1" y="0"/>
                    <a:pt x="4" y="0"/>
                  </a:cubicBezTo>
                  <a:cubicBezTo>
                    <a:pt x="162" y="0"/>
                    <a:pt x="162" y="0"/>
                    <a:pt x="162" y="0"/>
                  </a:cubicBezTo>
                  <a:cubicBezTo>
                    <a:pt x="164" y="0"/>
                    <a:pt x="165" y="1"/>
                    <a:pt x="165" y="3"/>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5" name="Freeform 31">
              <a:extLst>
                <a:ext uri="{FF2B5EF4-FFF2-40B4-BE49-F238E27FC236}">
                  <a16:creationId xmlns:a16="http://schemas.microsoft.com/office/drawing/2014/main" id="{5ABC3A28-73BA-64CE-0A4A-5DD46FA97AD5}"/>
                </a:ext>
              </a:extLst>
            </p:cNvPr>
            <p:cNvSpPr>
              <a:spLocks noEditPoints="1"/>
            </p:cNvSpPr>
            <p:nvPr userDrawn="1"/>
          </p:nvSpPr>
          <p:spPr bwMode="auto">
            <a:xfrm>
              <a:off x="6961" y="2858"/>
              <a:ext cx="50" cy="72"/>
            </a:xfrm>
            <a:custGeom>
              <a:avLst/>
              <a:gdLst>
                <a:gd name="T0" fmla="*/ 128 w 161"/>
                <a:gd name="T1" fmla="*/ 230 h 232"/>
                <a:gd name="T2" fmla="*/ 82 w 161"/>
                <a:gd name="T3" fmla="*/ 131 h 232"/>
                <a:gd name="T4" fmla="*/ 81 w 161"/>
                <a:gd name="T5" fmla="*/ 130 h 232"/>
                <a:gd name="T6" fmla="*/ 33 w 161"/>
                <a:gd name="T7" fmla="*/ 130 h 232"/>
                <a:gd name="T8" fmla="*/ 32 w 161"/>
                <a:gd name="T9" fmla="*/ 131 h 232"/>
                <a:gd name="T10" fmla="*/ 32 w 161"/>
                <a:gd name="T11" fmla="*/ 229 h 232"/>
                <a:gd name="T12" fmla="*/ 29 w 161"/>
                <a:gd name="T13" fmla="*/ 232 h 232"/>
                <a:gd name="T14" fmla="*/ 4 w 161"/>
                <a:gd name="T15" fmla="*/ 232 h 232"/>
                <a:gd name="T16" fmla="*/ 0 w 161"/>
                <a:gd name="T17" fmla="*/ 229 h 232"/>
                <a:gd name="T18" fmla="*/ 0 w 161"/>
                <a:gd name="T19" fmla="*/ 3 h 232"/>
                <a:gd name="T20" fmla="*/ 3 w 161"/>
                <a:gd name="T21" fmla="*/ 0 h 232"/>
                <a:gd name="T22" fmla="*/ 93 w 161"/>
                <a:gd name="T23" fmla="*/ 0 h 232"/>
                <a:gd name="T24" fmla="*/ 127 w 161"/>
                <a:gd name="T25" fmla="*/ 8 h 232"/>
                <a:gd name="T26" fmla="*/ 150 w 161"/>
                <a:gd name="T27" fmla="*/ 32 h 232"/>
                <a:gd name="T28" fmla="*/ 159 w 161"/>
                <a:gd name="T29" fmla="*/ 66 h 232"/>
                <a:gd name="T30" fmla="*/ 147 w 161"/>
                <a:gd name="T31" fmla="*/ 105 h 232"/>
                <a:gd name="T32" fmla="*/ 113 w 161"/>
                <a:gd name="T33" fmla="*/ 127 h 232"/>
                <a:gd name="T34" fmla="*/ 113 w 161"/>
                <a:gd name="T35" fmla="*/ 129 h 232"/>
                <a:gd name="T36" fmla="*/ 161 w 161"/>
                <a:gd name="T37" fmla="*/ 228 h 232"/>
                <a:gd name="T38" fmla="*/ 161 w 161"/>
                <a:gd name="T39" fmla="*/ 230 h 232"/>
                <a:gd name="T40" fmla="*/ 159 w 161"/>
                <a:gd name="T41" fmla="*/ 232 h 232"/>
                <a:gd name="T42" fmla="*/ 132 w 161"/>
                <a:gd name="T43" fmla="*/ 232 h 232"/>
                <a:gd name="T44" fmla="*/ 128 w 161"/>
                <a:gd name="T45" fmla="*/ 230 h 232"/>
                <a:gd name="T46" fmla="*/ 32 w 161"/>
                <a:gd name="T47" fmla="*/ 29 h 232"/>
                <a:gd name="T48" fmla="*/ 32 w 161"/>
                <a:gd name="T49" fmla="*/ 103 h 232"/>
                <a:gd name="T50" fmla="*/ 33 w 161"/>
                <a:gd name="T51" fmla="*/ 104 h 232"/>
                <a:gd name="T52" fmla="*/ 88 w 161"/>
                <a:gd name="T53" fmla="*/ 104 h 232"/>
                <a:gd name="T54" fmla="*/ 117 w 161"/>
                <a:gd name="T55" fmla="*/ 94 h 232"/>
                <a:gd name="T56" fmla="*/ 127 w 161"/>
                <a:gd name="T57" fmla="*/ 66 h 232"/>
                <a:gd name="T58" fmla="*/ 117 w 161"/>
                <a:gd name="T59" fmla="*/ 38 h 232"/>
                <a:gd name="T60" fmla="*/ 88 w 161"/>
                <a:gd name="T61" fmla="*/ 28 h 232"/>
                <a:gd name="T62" fmla="*/ 33 w 161"/>
                <a:gd name="T63" fmla="*/ 28 h 232"/>
                <a:gd name="T64" fmla="*/ 32 w 161"/>
                <a:gd name="T65" fmla="*/ 29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61" h="232">
                  <a:moveTo>
                    <a:pt x="128" y="230"/>
                  </a:moveTo>
                  <a:cubicBezTo>
                    <a:pt x="82" y="131"/>
                    <a:pt x="82" y="131"/>
                    <a:pt x="82" y="131"/>
                  </a:cubicBezTo>
                  <a:cubicBezTo>
                    <a:pt x="82" y="130"/>
                    <a:pt x="81" y="130"/>
                    <a:pt x="81" y="130"/>
                  </a:cubicBezTo>
                  <a:cubicBezTo>
                    <a:pt x="33" y="130"/>
                    <a:pt x="33" y="130"/>
                    <a:pt x="33" y="130"/>
                  </a:cubicBezTo>
                  <a:cubicBezTo>
                    <a:pt x="32" y="130"/>
                    <a:pt x="32" y="130"/>
                    <a:pt x="32" y="131"/>
                  </a:cubicBezTo>
                  <a:cubicBezTo>
                    <a:pt x="32" y="229"/>
                    <a:pt x="32" y="229"/>
                    <a:pt x="32" y="229"/>
                  </a:cubicBezTo>
                  <a:cubicBezTo>
                    <a:pt x="32" y="231"/>
                    <a:pt x="31" y="232"/>
                    <a:pt x="29" y="232"/>
                  </a:cubicBezTo>
                  <a:cubicBezTo>
                    <a:pt x="4" y="232"/>
                    <a:pt x="4" y="232"/>
                    <a:pt x="4" y="232"/>
                  </a:cubicBezTo>
                  <a:cubicBezTo>
                    <a:pt x="1" y="232"/>
                    <a:pt x="0" y="231"/>
                    <a:pt x="0" y="229"/>
                  </a:cubicBezTo>
                  <a:cubicBezTo>
                    <a:pt x="0" y="3"/>
                    <a:pt x="0" y="3"/>
                    <a:pt x="0" y="3"/>
                  </a:cubicBezTo>
                  <a:cubicBezTo>
                    <a:pt x="0" y="1"/>
                    <a:pt x="1" y="0"/>
                    <a:pt x="3" y="0"/>
                  </a:cubicBezTo>
                  <a:cubicBezTo>
                    <a:pt x="93" y="0"/>
                    <a:pt x="93" y="0"/>
                    <a:pt x="93" y="0"/>
                  </a:cubicBezTo>
                  <a:cubicBezTo>
                    <a:pt x="106" y="0"/>
                    <a:pt x="117" y="3"/>
                    <a:pt x="127" y="8"/>
                  </a:cubicBezTo>
                  <a:cubicBezTo>
                    <a:pt x="137" y="14"/>
                    <a:pt x="145" y="22"/>
                    <a:pt x="150" y="32"/>
                  </a:cubicBezTo>
                  <a:cubicBezTo>
                    <a:pt x="156" y="41"/>
                    <a:pt x="159" y="53"/>
                    <a:pt x="159" y="66"/>
                  </a:cubicBezTo>
                  <a:cubicBezTo>
                    <a:pt x="159" y="81"/>
                    <a:pt x="155" y="94"/>
                    <a:pt x="147" y="105"/>
                  </a:cubicBezTo>
                  <a:cubicBezTo>
                    <a:pt x="138" y="116"/>
                    <a:pt x="127" y="123"/>
                    <a:pt x="113" y="127"/>
                  </a:cubicBezTo>
                  <a:cubicBezTo>
                    <a:pt x="113" y="127"/>
                    <a:pt x="112" y="128"/>
                    <a:pt x="113" y="129"/>
                  </a:cubicBezTo>
                  <a:cubicBezTo>
                    <a:pt x="161" y="228"/>
                    <a:pt x="161" y="228"/>
                    <a:pt x="161" y="228"/>
                  </a:cubicBezTo>
                  <a:cubicBezTo>
                    <a:pt x="161" y="228"/>
                    <a:pt x="161" y="229"/>
                    <a:pt x="161" y="230"/>
                  </a:cubicBezTo>
                  <a:cubicBezTo>
                    <a:pt x="161" y="231"/>
                    <a:pt x="160" y="232"/>
                    <a:pt x="159" y="232"/>
                  </a:cubicBezTo>
                  <a:cubicBezTo>
                    <a:pt x="132" y="232"/>
                    <a:pt x="132" y="232"/>
                    <a:pt x="132" y="232"/>
                  </a:cubicBezTo>
                  <a:cubicBezTo>
                    <a:pt x="130" y="232"/>
                    <a:pt x="129" y="231"/>
                    <a:pt x="128" y="230"/>
                  </a:cubicBezTo>
                  <a:moveTo>
                    <a:pt x="32" y="29"/>
                  </a:moveTo>
                  <a:cubicBezTo>
                    <a:pt x="32" y="103"/>
                    <a:pt x="32" y="103"/>
                    <a:pt x="32" y="103"/>
                  </a:cubicBezTo>
                  <a:cubicBezTo>
                    <a:pt x="32" y="104"/>
                    <a:pt x="32" y="104"/>
                    <a:pt x="33" y="104"/>
                  </a:cubicBezTo>
                  <a:cubicBezTo>
                    <a:pt x="88" y="104"/>
                    <a:pt x="88" y="104"/>
                    <a:pt x="88" y="104"/>
                  </a:cubicBezTo>
                  <a:cubicBezTo>
                    <a:pt x="100" y="104"/>
                    <a:pt x="109" y="101"/>
                    <a:pt x="117" y="94"/>
                  </a:cubicBezTo>
                  <a:cubicBezTo>
                    <a:pt x="124" y="87"/>
                    <a:pt x="127" y="78"/>
                    <a:pt x="127" y="66"/>
                  </a:cubicBezTo>
                  <a:cubicBezTo>
                    <a:pt x="127" y="55"/>
                    <a:pt x="124" y="46"/>
                    <a:pt x="117" y="38"/>
                  </a:cubicBezTo>
                  <a:cubicBezTo>
                    <a:pt x="109" y="31"/>
                    <a:pt x="100" y="28"/>
                    <a:pt x="88" y="28"/>
                  </a:cubicBezTo>
                  <a:cubicBezTo>
                    <a:pt x="33" y="28"/>
                    <a:pt x="33" y="28"/>
                    <a:pt x="33" y="28"/>
                  </a:cubicBezTo>
                  <a:cubicBezTo>
                    <a:pt x="32" y="28"/>
                    <a:pt x="32" y="28"/>
                    <a:pt x="32" y="29"/>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6" name="Freeform 32">
              <a:extLst>
                <a:ext uri="{FF2B5EF4-FFF2-40B4-BE49-F238E27FC236}">
                  <a16:creationId xmlns:a16="http://schemas.microsoft.com/office/drawing/2014/main" id="{2773DBA3-1063-1756-56BF-DA58ECDBDF3F}"/>
                </a:ext>
              </a:extLst>
            </p:cNvPr>
            <p:cNvSpPr>
              <a:spLocks/>
            </p:cNvSpPr>
            <p:nvPr userDrawn="1"/>
          </p:nvSpPr>
          <p:spPr bwMode="auto">
            <a:xfrm>
              <a:off x="7022" y="2858"/>
              <a:ext cx="51" cy="73"/>
            </a:xfrm>
            <a:custGeom>
              <a:avLst/>
              <a:gdLst>
                <a:gd name="T0" fmla="*/ 39 w 163"/>
                <a:gd name="T1" fmla="*/ 225 h 235"/>
                <a:gd name="T2" fmla="*/ 10 w 163"/>
                <a:gd name="T3" fmla="*/ 198 h 235"/>
                <a:gd name="T4" fmla="*/ 0 w 163"/>
                <a:gd name="T5" fmla="*/ 158 h 235"/>
                <a:gd name="T6" fmla="*/ 0 w 163"/>
                <a:gd name="T7" fmla="*/ 3 h 235"/>
                <a:gd name="T8" fmla="*/ 3 w 163"/>
                <a:gd name="T9" fmla="*/ 0 h 235"/>
                <a:gd name="T10" fmla="*/ 28 w 163"/>
                <a:gd name="T11" fmla="*/ 0 h 235"/>
                <a:gd name="T12" fmla="*/ 32 w 163"/>
                <a:gd name="T13" fmla="*/ 3 h 235"/>
                <a:gd name="T14" fmla="*/ 32 w 163"/>
                <a:gd name="T15" fmla="*/ 159 h 235"/>
                <a:gd name="T16" fmla="*/ 45 w 163"/>
                <a:gd name="T17" fmla="*/ 194 h 235"/>
                <a:gd name="T18" fmla="*/ 81 w 163"/>
                <a:gd name="T19" fmla="*/ 207 h 235"/>
                <a:gd name="T20" fmla="*/ 117 w 163"/>
                <a:gd name="T21" fmla="*/ 194 h 235"/>
                <a:gd name="T22" fmla="*/ 131 w 163"/>
                <a:gd name="T23" fmla="*/ 159 h 235"/>
                <a:gd name="T24" fmla="*/ 131 w 163"/>
                <a:gd name="T25" fmla="*/ 3 h 235"/>
                <a:gd name="T26" fmla="*/ 134 w 163"/>
                <a:gd name="T27" fmla="*/ 0 h 235"/>
                <a:gd name="T28" fmla="*/ 159 w 163"/>
                <a:gd name="T29" fmla="*/ 0 h 235"/>
                <a:gd name="T30" fmla="*/ 162 w 163"/>
                <a:gd name="T31" fmla="*/ 3 h 235"/>
                <a:gd name="T32" fmla="*/ 163 w 163"/>
                <a:gd name="T33" fmla="*/ 158 h 235"/>
                <a:gd name="T34" fmla="*/ 152 w 163"/>
                <a:gd name="T35" fmla="*/ 198 h 235"/>
                <a:gd name="T36" fmla="*/ 124 w 163"/>
                <a:gd name="T37" fmla="*/ 225 h 235"/>
                <a:gd name="T38" fmla="*/ 81 w 163"/>
                <a:gd name="T39" fmla="*/ 235 h 235"/>
                <a:gd name="T40" fmla="*/ 39 w 163"/>
                <a:gd name="T41" fmla="*/ 225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3" h="235">
                  <a:moveTo>
                    <a:pt x="39" y="225"/>
                  </a:moveTo>
                  <a:cubicBezTo>
                    <a:pt x="26" y="219"/>
                    <a:pt x="17" y="210"/>
                    <a:pt x="10" y="198"/>
                  </a:cubicBezTo>
                  <a:cubicBezTo>
                    <a:pt x="3" y="187"/>
                    <a:pt x="0" y="173"/>
                    <a:pt x="0" y="158"/>
                  </a:cubicBezTo>
                  <a:cubicBezTo>
                    <a:pt x="0" y="3"/>
                    <a:pt x="0" y="3"/>
                    <a:pt x="0" y="3"/>
                  </a:cubicBezTo>
                  <a:cubicBezTo>
                    <a:pt x="0" y="1"/>
                    <a:pt x="1" y="0"/>
                    <a:pt x="3" y="0"/>
                  </a:cubicBezTo>
                  <a:cubicBezTo>
                    <a:pt x="28" y="0"/>
                    <a:pt x="28" y="0"/>
                    <a:pt x="28" y="0"/>
                  </a:cubicBezTo>
                  <a:cubicBezTo>
                    <a:pt x="31" y="0"/>
                    <a:pt x="32" y="1"/>
                    <a:pt x="32" y="3"/>
                  </a:cubicBezTo>
                  <a:cubicBezTo>
                    <a:pt x="32" y="159"/>
                    <a:pt x="32" y="159"/>
                    <a:pt x="32" y="159"/>
                  </a:cubicBezTo>
                  <a:cubicBezTo>
                    <a:pt x="32" y="173"/>
                    <a:pt x="36" y="185"/>
                    <a:pt x="45" y="194"/>
                  </a:cubicBezTo>
                  <a:cubicBezTo>
                    <a:pt x="54" y="203"/>
                    <a:pt x="66" y="207"/>
                    <a:pt x="81" y="207"/>
                  </a:cubicBezTo>
                  <a:cubicBezTo>
                    <a:pt x="96" y="207"/>
                    <a:pt x="108" y="203"/>
                    <a:pt x="117" y="194"/>
                  </a:cubicBezTo>
                  <a:cubicBezTo>
                    <a:pt x="126" y="185"/>
                    <a:pt x="131" y="173"/>
                    <a:pt x="131" y="159"/>
                  </a:cubicBezTo>
                  <a:cubicBezTo>
                    <a:pt x="131" y="3"/>
                    <a:pt x="131" y="3"/>
                    <a:pt x="131" y="3"/>
                  </a:cubicBezTo>
                  <a:cubicBezTo>
                    <a:pt x="131" y="1"/>
                    <a:pt x="132" y="0"/>
                    <a:pt x="134" y="0"/>
                  </a:cubicBezTo>
                  <a:cubicBezTo>
                    <a:pt x="159" y="0"/>
                    <a:pt x="159" y="0"/>
                    <a:pt x="159" y="0"/>
                  </a:cubicBezTo>
                  <a:cubicBezTo>
                    <a:pt x="161" y="0"/>
                    <a:pt x="162" y="1"/>
                    <a:pt x="162" y="3"/>
                  </a:cubicBezTo>
                  <a:cubicBezTo>
                    <a:pt x="163" y="158"/>
                    <a:pt x="163" y="158"/>
                    <a:pt x="163" y="158"/>
                  </a:cubicBezTo>
                  <a:cubicBezTo>
                    <a:pt x="163" y="173"/>
                    <a:pt x="159" y="187"/>
                    <a:pt x="152" y="198"/>
                  </a:cubicBezTo>
                  <a:cubicBezTo>
                    <a:pt x="146" y="210"/>
                    <a:pt x="136" y="219"/>
                    <a:pt x="124" y="225"/>
                  </a:cubicBezTo>
                  <a:cubicBezTo>
                    <a:pt x="111" y="231"/>
                    <a:pt x="97" y="235"/>
                    <a:pt x="81" y="235"/>
                  </a:cubicBezTo>
                  <a:cubicBezTo>
                    <a:pt x="65" y="235"/>
                    <a:pt x="51" y="231"/>
                    <a:pt x="39" y="225"/>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7" name="Freeform 33">
              <a:extLst>
                <a:ext uri="{FF2B5EF4-FFF2-40B4-BE49-F238E27FC236}">
                  <a16:creationId xmlns:a16="http://schemas.microsoft.com/office/drawing/2014/main" id="{173AE806-0D7B-EE03-3E7E-5612C871E87C}"/>
                </a:ext>
              </a:extLst>
            </p:cNvPr>
            <p:cNvSpPr>
              <a:spLocks/>
            </p:cNvSpPr>
            <p:nvPr userDrawn="1"/>
          </p:nvSpPr>
          <p:spPr bwMode="auto">
            <a:xfrm>
              <a:off x="7084" y="2857"/>
              <a:ext cx="51" cy="74"/>
            </a:xfrm>
            <a:custGeom>
              <a:avLst/>
              <a:gdLst>
                <a:gd name="T0" fmla="*/ 39 w 164"/>
                <a:gd name="T1" fmla="*/ 230 h 237"/>
                <a:gd name="T2" fmla="*/ 10 w 164"/>
                <a:gd name="T3" fmla="*/ 207 h 237"/>
                <a:gd name="T4" fmla="*/ 0 w 164"/>
                <a:gd name="T5" fmla="*/ 173 h 237"/>
                <a:gd name="T6" fmla="*/ 0 w 164"/>
                <a:gd name="T7" fmla="*/ 163 h 237"/>
                <a:gd name="T8" fmla="*/ 4 w 164"/>
                <a:gd name="T9" fmla="*/ 160 h 237"/>
                <a:gd name="T10" fmla="*/ 28 w 164"/>
                <a:gd name="T11" fmla="*/ 160 h 237"/>
                <a:gd name="T12" fmla="*/ 31 w 164"/>
                <a:gd name="T13" fmla="*/ 163 h 237"/>
                <a:gd name="T14" fmla="*/ 31 w 164"/>
                <a:gd name="T15" fmla="*/ 171 h 237"/>
                <a:gd name="T16" fmla="*/ 46 w 164"/>
                <a:gd name="T17" fmla="*/ 199 h 237"/>
                <a:gd name="T18" fmla="*/ 86 w 164"/>
                <a:gd name="T19" fmla="*/ 210 h 237"/>
                <a:gd name="T20" fmla="*/ 120 w 164"/>
                <a:gd name="T21" fmla="*/ 200 h 237"/>
                <a:gd name="T22" fmla="*/ 132 w 164"/>
                <a:gd name="T23" fmla="*/ 175 h 237"/>
                <a:gd name="T24" fmla="*/ 126 w 164"/>
                <a:gd name="T25" fmla="*/ 158 h 237"/>
                <a:gd name="T26" fmla="*/ 109 w 164"/>
                <a:gd name="T27" fmla="*/ 144 h 237"/>
                <a:gd name="T28" fmla="*/ 75 w 164"/>
                <a:gd name="T29" fmla="*/ 129 h 237"/>
                <a:gd name="T30" fmla="*/ 37 w 164"/>
                <a:gd name="T31" fmla="*/ 113 h 237"/>
                <a:gd name="T32" fmla="*/ 14 w 164"/>
                <a:gd name="T33" fmla="*/ 93 h 237"/>
                <a:gd name="T34" fmla="*/ 4 w 164"/>
                <a:gd name="T35" fmla="*/ 61 h 237"/>
                <a:gd name="T36" fmla="*/ 25 w 164"/>
                <a:gd name="T37" fmla="*/ 17 h 237"/>
                <a:gd name="T38" fmla="*/ 80 w 164"/>
                <a:gd name="T39" fmla="*/ 0 h 237"/>
                <a:gd name="T40" fmla="*/ 123 w 164"/>
                <a:gd name="T41" fmla="*/ 9 h 237"/>
                <a:gd name="T42" fmla="*/ 152 w 164"/>
                <a:gd name="T43" fmla="*/ 32 h 237"/>
                <a:gd name="T44" fmla="*/ 162 w 164"/>
                <a:gd name="T45" fmla="*/ 66 h 237"/>
                <a:gd name="T46" fmla="*/ 162 w 164"/>
                <a:gd name="T47" fmla="*/ 73 h 237"/>
                <a:gd name="T48" fmla="*/ 158 w 164"/>
                <a:gd name="T49" fmla="*/ 76 h 237"/>
                <a:gd name="T50" fmla="*/ 133 w 164"/>
                <a:gd name="T51" fmla="*/ 76 h 237"/>
                <a:gd name="T52" fmla="*/ 130 w 164"/>
                <a:gd name="T53" fmla="*/ 73 h 237"/>
                <a:gd name="T54" fmla="*/ 130 w 164"/>
                <a:gd name="T55" fmla="*/ 68 h 237"/>
                <a:gd name="T56" fmla="*/ 116 w 164"/>
                <a:gd name="T57" fmla="*/ 39 h 237"/>
                <a:gd name="T58" fmla="*/ 78 w 164"/>
                <a:gd name="T59" fmla="*/ 28 h 237"/>
                <a:gd name="T60" fmla="*/ 47 w 164"/>
                <a:gd name="T61" fmla="*/ 36 h 237"/>
                <a:gd name="T62" fmla="*/ 35 w 164"/>
                <a:gd name="T63" fmla="*/ 61 h 237"/>
                <a:gd name="T64" fmla="*/ 41 w 164"/>
                <a:gd name="T65" fmla="*/ 78 h 237"/>
                <a:gd name="T66" fmla="*/ 58 w 164"/>
                <a:gd name="T67" fmla="*/ 91 h 237"/>
                <a:gd name="T68" fmla="*/ 92 w 164"/>
                <a:gd name="T69" fmla="*/ 105 h 237"/>
                <a:gd name="T70" fmla="*/ 130 w 164"/>
                <a:gd name="T71" fmla="*/ 122 h 237"/>
                <a:gd name="T72" fmla="*/ 154 w 164"/>
                <a:gd name="T73" fmla="*/ 142 h 237"/>
                <a:gd name="T74" fmla="*/ 164 w 164"/>
                <a:gd name="T75" fmla="*/ 174 h 237"/>
                <a:gd name="T76" fmla="*/ 142 w 164"/>
                <a:gd name="T77" fmla="*/ 220 h 237"/>
                <a:gd name="T78" fmla="*/ 84 w 164"/>
                <a:gd name="T79" fmla="*/ 237 h 237"/>
                <a:gd name="T80" fmla="*/ 39 w 164"/>
                <a:gd name="T81" fmla="*/ 230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64" h="237">
                  <a:moveTo>
                    <a:pt x="39" y="230"/>
                  </a:moveTo>
                  <a:cubicBezTo>
                    <a:pt x="27" y="224"/>
                    <a:pt x="17" y="217"/>
                    <a:pt x="10" y="207"/>
                  </a:cubicBezTo>
                  <a:cubicBezTo>
                    <a:pt x="4" y="197"/>
                    <a:pt x="0" y="186"/>
                    <a:pt x="0" y="173"/>
                  </a:cubicBezTo>
                  <a:cubicBezTo>
                    <a:pt x="0" y="163"/>
                    <a:pt x="0" y="163"/>
                    <a:pt x="0" y="163"/>
                  </a:cubicBezTo>
                  <a:cubicBezTo>
                    <a:pt x="0" y="161"/>
                    <a:pt x="1" y="160"/>
                    <a:pt x="4" y="160"/>
                  </a:cubicBezTo>
                  <a:cubicBezTo>
                    <a:pt x="28" y="160"/>
                    <a:pt x="28" y="160"/>
                    <a:pt x="28" y="160"/>
                  </a:cubicBezTo>
                  <a:cubicBezTo>
                    <a:pt x="30" y="160"/>
                    <a:pt x="31" y="161"/>
                    <a:pt x="31" y="163"/>
                  </a:cubicBezTo>
                  <a:cubicBezTo>
                    <a:pt x="31" y="171"/>
                    <a:pt x="31" y="171"/>
                    <a:pt x="31" y="171"/>
                  </a:cubicBezTo>
                  <a:cubicBezTo>
                    <a:pt x="31" y="182"/>
                    <a:pt x="36" y="192"/>
                    <a:pt x="46" y="199"/>
                  </a:cubicBezTo>
                  <a:cubicBezTo>
                    <a:pt x="55" y="206"/>
                    <a:pt x="69" y="210"/>
                    <a:pt x="86" y="210"/>
                  </a:cubicBezTo>
                  <a:cubicBezTo>
                    <a:pt x="101" y="210"/>
                    <a:pt x="113" y="207"/>
                    <a:pt x="120" y="200"/>
                  </a:cubicBezTo>
                  <a:cubicBezTo>
                    <a:pt x="128" y="194"/>
                    <a:pt x="132" y="186"/>
                    <a:pt x="132" y="175"/>
                  </a:cubicBezTo>
                  <a:cubicBezTo>
                    <a:pt x="132" y="168"/>
                    <a:pt x="130" y="162"/>
                    <a:pt x="126" y="158"/>
                  </a:cubicBezTo>
                  <a:cubicBezTo>
                    <a:pt x="122" y="153"/>
                    <a:pt x="116" y="148"/>
                    <a:pt x="109" y="144"/>
                  </a:cubicBezTo>
                  <a:cubicBezTo>
                    <a:pt x="101" y="140"/>
                    <a:pt x="90" y="135"/>
                    <a:pt x="75" y="129"/>
                  </a:cubicBezTo>
                  <a:cubicBezTo>
                    <a:pt x="59" y="123"/>
                    <a:pt x="46" y="118"/>
                    <a:pt x="37" y="113"/>
                  </a:cubicBezTo>
                  <a:cubicBezTo>
                    <a:pt x="28" y="107"/>
                    <a:pt x="20" y="101"/>
                    <a:pt x="14" y="93"/>
                  </a:cubicBezTo>
                  <a:cubicBezTo>
                    <a:pt x="7" y="84"/>
                    <a:pt x="4" y="74"/>
                    <a:pt x="4" y="61"/>
                  </a:cubicBezTo>
                  <a:cubicBezTo>
                    <a:pt x="4" y="42"/>
                    <a:pt x="11" y="27"/>
                    <a:pt x="25" y="17"/>
                  </a:cubicBezTo>
                  <a:cubicBezTo>
                    <a:pt x="38" y="6"/>
                    <a:pt x="57" y="0"/>
                    <a:pt x="80" y="0"/>
                  </a:cubicBezTo>
                  <a:cubicBezTo>
                    <a:pt x="96" y="0"/>
                    <a:pt x="110" y="3"/>
                    <a:pt x="123" y="9"/>
                  </a:cubicBezTo>
                  <a:cubicBezTo>
                    <a:pt x="135" y="14"/>
                    <a:pt x="145" y="22"/>
                    <a:pt x="152" y="32"/>
                  </a:cubicBezTo>
                  <a:cubicBezTo>
                    <a:pt x="158" y="42"/>
                    <a:pt x="162" y="53"/>
                    <a:pt x="162" y="66"/>
                  </a:cubicBezTo>
                  <a:cubicBezTo>
                    <a:pt x="162" y="73"/>
                    <a:pt x="162" y="73"/>
                    <a:pt x="162" y="73"/>
                  </a:cubicBezTo>
                  <a:cubicBezTo>
                    <a:pt x="162" y="75"/>
                    <a:pt x="161" y="76"/>
                    <a:pt x="158" y="76"/>
                  </a:cubicBezTo>
                  <a:cubicBezTo>
                    <a:pt x="133" y="76"/>
                    <a:pt x="133" y="76"/>
                    <a:pt x="133" y="76"/>
                  </a:cubicBezTo>
                  <a:cubicBezTo>
                    <a:pt x="131" y="76"/>
                    <a:pt x="130" y="75"/>
                    <a:pt x="130" y="73"/>
                  </a:cubicBezTo>
                  <a:cubicBezTo>
                    <a:pt x="130" y="68"/>
                    <a:pt x="130" y="68"/>
                    <a:pt x="130" y="68"/>
                  </a:cubicBezTo>
                  <a:cubicBezTo>
                    <a:pt x="130" y="56"/>
                    <a:pt x="126" y="47"/>
                    <a:pt x="116" y="39"/>
                  </a:cubicBezTo>
                  <a:cubicBezTo>
                    <a:pt x="107" y="32"/>
                    <a:pt x="95" y="28"/>
                    <a:pt x="78" y="28"/>
                  </a:cubicBezTo>
                  <a:cubicBezTo>
                    <a:pt x="65" y="28"/>
                    <a:pt x="54" y="31"/>
                    <a:pt x="47" y="36"/>
                  </a:cubicBezTo>
                  <a:cubicBezTo>
                    <a:pt x="39" y="42"/>
                    <a:pt x="35" y="50"/>
                    <a:pt x="35" y="61"/>
                  </a:cubicBezTo>
                  <a:cubicBezTo>
                    <a:pt x="35" y="68"/>
                    <a:pt x="37" y="74"/>
                    <a:pt x="41" y="78"/>
                  </a:cubicBezTo>
                  <a:cubicBezTo>
                    <a:pt x="45" y="83"/>
                    <a:pt x="50" y="87"/>
                    <a:pt x="58" y="91"/>
                  </a:cubicBezTo>
                  <a:cubicBezTo>
                    <a:pt x="65" y="95"/>
                    <a:pt x="77" y="99"/>
                    <a:pt x="92" y="105"/>
                  </a:cubicBezTo>
                  <a:cubicBezTo>
                    <a:pt x="107" y="111"/>
                    <a:pt x="120" y="117"/>
                    <a:pt x="130" y="122"/>
                  </a:cubicBezTo>
                  <a:cubicBezTo>
                    <a:pt x="140" y="127"/>
                    <a:pt x="148" y="134"/>
                    <a:pt x="154" y="142"/>
                  </a:cubicBezTo>
                  <a:cubicBezTo>
                    <a:pt x="160" y="151"/>
                    <a:pt x="164" y="162"/>
                    <a:pt x="164" y="174"/>
                  </a:cubicBezTo>
                  <a:cubicBezTo>
                    <a:pt x="164" y="194"/>
                    <a:pt x="157" y="209"/>
                    <a:pt x="142" y="220"/>
                  </a:cubicBezTo>
                  <a:cubicBezTo>
                    <a:pt x="128" y="232"/>
                    <a:pt x="108" y="237"/>
                    <a:pt x="84" y="237"/>
                  </a:cubicBezTo>
                  <a:cubicBezTo>
                    <a:pt x="67" y="237"/>
                    <a:pt x="52" y="235"/>
                    <a:pt x="39" y="230"/>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8" name="Freeform 34">
              <a:extLst>
                <a:ext uri="{FF2B5EF4-FFF2-40B4-BE49-F238E27FC236}">
                  <a16:creationId xmlns:a16="http://schemas.microsoft.com/office/drawing/2014/main" id="{D3B2AEBA-9674-5E1F-9A8A-95A09841EB00}"/>
                </a:ext>
              </a:extLst>
            </p:cNvPr>
            <p:cNvSpPr>
              <a:spLocks/>
            </p:cNvSpPr>
            <p:nvPr userDrawn="1"/>
          </p:nvSpPr>
          <p:spPr bwMode="auto">
            <a:xfrm>
              <a:off x="7139" y="2858"/>
              <a:ext cx="51" cy="72"/>
            </a:xfrm>
            <a:custGeom>
              <a:avLst/>
              <a:gdLst>
                <a:gd name="T0" fmla="*/ 165 w 165"/>
                <a:gd name="T1" fmla="*/ 3 h 232"/>
                <a:gd name="T2" fmla="*/ 165 w 165"/>
                <a:gd name="T3" fmla="*/ 24 h 232"/>
                <a:gd name="T4" fmla="*/ 161 w 165"/>
                <a:gd name="T5" fmla="*/ 28 h 232"/>
                <a:gd name="T6" fmla="*/ 98 w 165"/>
                <a:gd name="T7" fmla="*/ 28 h 232"/>
                <a:gd name="T8" fmla="*/ 97 w 165"/>
                <a:gd name="T9" fmla="*/ 29 h 232"/>
                <a:gd name="T10" fmla="*/ 97 w 165"/>
                <a:gd name="T11" fmla="*/ 228 h 232"/>
                <a:gd name="T12" fmla="*/ 94 w 165"/>
                <a:gd name="T13" fmla="*/ 232 h 232"/>
                <a:gd name="T14" fmla="*/ 69 w 165"/>
                <a:gd name="T15" fmla="*/ 232 h 232"/>
                <a:gd name="T16" fmla="*/ 65 w 165"/>
                <a:gd name="T17" fmla="*/ 228 h 232"/>
                <a:gd name="T18" fmla="*/ 65 w 165"/>
                <a:gd name="T19" fmla="*/ 29 h 232"/>
                <a:gd name="T20" fmla="*/ 64 w 165"/>
                <a:gd name="T21" fmla="*/ 28 h 232"/>
                <a:gd name="T22" fmla="*/ 3 w 165"/>
                <a:gd name="T23" fmla="*/ 28 h 232"/>
                <a:gd name="T24" fmla="*/ 0 w 165"/>
                <a:gd name="T25" fmla="*/ 24 h 232"/>
                <a:gd name="T26" fmla="*/ 0 w 165"/>
                <a:gd name="T27" fmla="*/ 3 h 232"/>
                <a:gd name="T28" fmla="*/ 3 w 165"/>
                <a:gd name="T29" fmla="*/ 0 h 232"/>
                <a:gd name="T30" fmla="*/ 161 w 165"/>
                <a:gd name="T31" fmla="*/ 0 h 232"/>
                <a:gd name="T32" fmla="*/ 165 w 165"/>
                <a:gd name="T33" fmla="*/ 3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5" h="232">
                  <a:moveTo>
                    <a:pt x="165" y="3"/>
                  </a:moveTo>
                  <a:cubicBezTo>
                    <a:pt x="165" y="24"/>
                    <a:pt x="165" y="24"/>
                    <a:pt x="165" y="24"/>
                  </a:cubicBezTo>
                  <a:cubicBezTo>
                    <a:pt x="165" y="26"/>
                    <a:pt x="164" y="28"/>
                    <a:pt x="161" y="28"/>
                  </a:cubicBezTo>
                  <a:cubicBezTo>
                    <a:pt x="98" y="28"/>
                    <a:pt x="98" y="28"/>
                    <a:pt x="98" y="28"/>
                  </a:cubicBezTo>
                  <a:cubicBezTo>
                    <a:pt x="97" y="28"/>
                    <a:pt x="97" y="28"/>
                    <a:pt x="97" y="29"/>
                  </a:cubicBezTo>
                  <a:cubicBezTo>
                    <a:pt x="97" y="228"/>
                    <a:pt x="97" y="228"/>
                    <a:pt x="97" y="228"/>
                  </a:cubicBezTo>
                  <a:cubicBezTo>
                    <a:pt x="97" y="231"/>
                    <a:pt x="96" y="232"/>
                    <a:pt x="94" y="232"/>
                  </a:cubicBezTo>
                  <a:cubicBezTo>
                    <a:pt x="69" y="232"/>
                    <a:pt x="69" y="232"/>
                    <a:pt x="69" y="232"/>
                  </a:cubicBezTo>
                  <a:cubicBezTo>
                    <a:pt x="66" y="232"/>
                    <a:pt x="65" y="231"/>
                    <a:pt x="65" y="228"/>
                  </a:cubicBezTo>
                  <a:cubicBezTo>
                    <a:pt x="65" y="29"/>
                    <a:pt x="65" y="29"/>
                    <a:pt x="65" y="29"/>
                  </a:cubicBezTo>
                  <a:cubicBezTo>
                    <a:pt x="65" y="28"/>
                    <a:pt x="65" y="28"/>
                    <a:pt x="64" y="28"/>
                  </a:cubicBezTo>
                  <a:cubicBezTo>
                    <a:pt x="3" y="28"/>
                    <a:pt x="3" y="28"/>
                    <a:pt x="3" y="28"/>
                  </a:cubicBezTo>
                  <a:cubicBezTo>
                    <a:pt x="1" y="28"/>
                    <a:pt x="0" y="27"/>
                    <a:pt x="0" y="24"/>
                  </a:cubicBezTo>
                  <a:cubicBezTo>
                    <a:pt x="0" y="3"/>
                    <a:pt x="0" y="3"/>
                    <a:pt x="0" y="3"/>
                  </a:cubicBezTo>
                  <a:cubicBezTo>
                    <a:pt x="0" y="1"/>
                    <a:pt x="1" y="0"/>
                    <a:pt x="3" y="0"/>
                  </a:cubicBezTo>
                  <a:cubicBezTo>
                    <a:pt x="161" y="0"/>
                    <a:pt x="161" y="0"/>
                    <a:pt x="161" y="0"/>
                  </a:cubicBezTo>
                  <a:cubicBezTo>
                    <a:pt x="164" y="0"/>
                    <a:pt x="165" y="1"/>
                    <a:pt x="165" y="3"/>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9" name="Freeform 35">
              <a:extLst>
                <a:ext uri="{FF2B5EF4-FFF2-40B4-BE49-F238E27FC236}">
                  <a16:creationId xmlns:a16="http://schemas.microsoft.com/office/drawing/2014/main" id="{7B8B3F6D-54C1-73A7-488E-4688589C25AB}"/>
                </a:ext>
              </a:extLst>
            </p:cNvPr>
            <p:cNvSpPr>
              <a:spLocks/>
            </p:cNvSpPr>
            <p:nvPr userDrawn="1"/>
          </p:nvSpPr>
          <p:spPr bwMode="auto">
            <a:xfrm>
              <a:off x="7201" y="2858"/>
              <a:ext cx="47" cy="72"/>
            </a:xfrm>
            <a:custGeom>
              <a:avLst/>
              <a:gdLst>
                <a:gd name="T0" fmla="*/ 150 w 153"/>
                <a:gd name="T1" fmla="*/ 27 h 232"/>
                <a:gd name="T2" fmla="*/ 33 w 153"/>
                <a:gd name="T3" fmla="*/ 27 h 232"/>
                <a:gd name="T4" fmla="*/ 31 w 153"/>
                <a:gd name="T5" fmla="*/ 29 h 232"/>
                <a:gd name="T6" fmla="*/ 31 w 153"/>
                <a:gd name="T7" fmla="*/ 100 h 232"/>
                <a:gd name="T8" fmla="*/ 33 w 153"/>
                <a:gd name="T9" fmla="*/ 101 h 232"/>
                <a:gd name="T10" fmla="*/ 113 w 153"/>
                <a:gd name="T11" fmla="*/ 101 h 232"/>
                <a:gd name="T12" fmla="*/ 117 w 153"/>
                <a:gd name="T13" fmla="*/ 104 h 232"/>
                <a:gd name="T14" fmla="*/ 117 w 153"/>
                <a:gd name="T15" fmla="*/ 125 h 232"/>
                <a:gd name="T16" fmla="*/ 113 w 153"/>
                <a:gd name="T17" fmla="*/ 129 h 232"/>
                <a:gd name="T18" fmla="*/ 33 w 153"/>
                <a:gd name="T19" fmla="*/ 129 h 232"/>
                <a:gd name="T20" fmla="*/ 31 w 153"/>
                <a:gd name="T21" fmla="*/ 130 h 232"/>
                <a:gd name="T22" fmla="*/ 32 w 153"/>
                <a:gd name="T23" fmla="*/ 203 h 232"/>
                <a:gd name="T24" fmla="*/ 33 w 153"/>
                <a:gd name="T25" fmla="*/ 204 h 232"/>
                <a:gd name="T26" fmla="*/ 150 w 153"/>
                <a:gd name="T27" fmla="*/ 204 h 232"/>
                <a:gd name="T28" fmla="*/ 153 w 153"/>
                <a:gd name="T29" fmla="*/ 207 h 232"/>
                <a:gd name="T30" fmla="*/ 153 w 153"/>
                <a:gd name="T31" fmla="*/ 228 h 232"/>
                <a:gd name="T32" fmla="*/ 150 w 153"/>
                <a:gd name="T33" fmla="*/ 232 h 232"/>
                <a:gd name="T34" fmla="*/ 3 w 153"/>
                <a:gd name="T35" fmla="*/ 232 h 232"/>
                <a:gd name="T36" fmla="*/ 0 w 153"/>
                <a:gd name="T37" fmla="*/ 228 h 232"/>
                <a:gd name="T38" fmla="*/ 0 w 153"/>
                <a:gd name="T39" fmla="*/ 3 h 232"/>
                <a:gd name="T40" fmla="*/ 3 w 153"/>
                <a:gd name="T41" fmla="*/ 0 h 232"/>
                <a:gd name="T42" fmla="*/ 150 w 153"/>
                <a:gd name="T43" fmla="*/ 0 h 232"/>
                <a:gd name="T44" fmla="*/ 153 w 153"/>
                <a:gd name="T45" fmla="*/ 3 h 232"/>
                <a:gd name="T46" fmla="*/ 153 w 153"/>
                <a:gd name="T47" fmla="*/ 24 h 232"/>
                <a:gd name="T48" fmla="*/ 150 w 153"/>
                <a:gd name="T49" fmla="*/ 27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3" h="232">
                  <a:moveTo>
                    <a:pt x="150" y="27"/>
                  </a:moveTo>
                  <a:cubicBezTo>
                    <a:pt x="33" y="27"/>
                    <a:pt x="33" y="27"/>
                    <a:pt x="33" y="27"/>
                  </a:cubicBezTo>
                  <a:cubicBezTo>
                    <a:pt x="32" y="27"/>
                    <a:pt x="31" y="28"/>
                    <a:pt x="31" y="29"/>
                  </a:cubicBezTo>
                  <a:cubicBezTo>
                    <a:pt x="31" y="100"/>
                    <a:pt x="31" y="100"/>
                    <a:pt x="31" y="100"/>
                  </a:cubicBezTo>
                  <a:cubicBezTo>
                    <a:pt x="31" y="101"/>
                    <a:pt x="32" y="101"/>
                    <a:pt x="33" y="101"/>
                  </a:cubicBezTo>
                  <a:cubicBezTo>
                    <a:pt x="113" y="101"/>
                    <a:pt x="113" y="101"/>
                    <a:pt x="113" y="101"/>
                  </a:cubicBezTo>
                  <a:cubicBezTo>
                    <a:pt x="115" y="101"/>
                    <a:pt x="117" y="102"/>
                    <a:pt x="117" y="104"/>
                  </a:cubicBezTo>
                  <a:cubicBezTo>
                    <a:pt x="117" y="125"/>
                    <a:pt x="117" y="125"/>
                    <a:pt x="117" y="125"/>
                  </a:cubicBezTo>
                  <a:cubicBezTo>
                    <a:pt x="117" y="127"/>
                    <a:pt x="115" y="129"/>
                    <a:pt x="113" y="129"/>
                  </a:cubicBezTo>
                  <a:cubicBezTo>
                    <a:pt x="33" y="129"/>
                    <a:pt x="33" y="129"/>
                    <a:pt x="33" y="129"/>
                  </a:cubicBezTo>
                  <a:cubicBezTo>
                    <a:pt x="32" y="129"/>
                    <a:pt x="31" y="129"/>
                    <a:pt x="31" y="130"/>
                  </a:cubicBezTo>
                  <a:cubicBezTo>
                    <a:pt x="32" y="203"/>
                    <a:pt x="32" y="203"/>
                    <a:pt x="32" y="203"/>
                  </a:cubicBezTo>
                  <a:cubicBezTo>
                    <a:pt x="32" y="204"/>
                    <a:pt x="32" y="204"/>
                    <a:pt x="33" y="204"/>
                  </a:cubicBezTo>
                  <a:cubicBezTo>
                    <a:pt x="150" y="204"/>
                    <a:pt x="150" y="204"/>
                    <a:pt x="150" y="204"/>
                  </a:cubicBezTo>
                  <a:cubicBezTo>
                    <a:pt x="152" y="204"/>
                    <a:pt x="153" y="205"/>
                    <a:pt x="153" y="207"/>
                  </a:cubicBezTo>
                  <a:cubicBezTo>
                    <a:pt x="153" y="228"/>
                    <a:pt x="153" y="228"/>
                    <a:pt x="153" y="228"/>
                  </a:cubicBezTo>
                  <a:cubicBezTo>
                    <a:pt x="153" y="230"/>
                    <a:pt x="152" y="232"/>
                    <a:pt x="150" y="232"/>
                  </a:cubicBezTo>
                  <a:cubicBezTo>
                    <a:pt x="3" y="232"/>
                    <a:pt x="3" y="232"/>
                    <a:pt x="3" y="232"/>
                  </a:cubicBezTo>
                  <a:cubicBezTo>
                    <a:pt x="1" y="232"/>
                    <a:pt x="0" y="231"/>
                    <a:pt x="0" y="228"/>
                  </a:cubicBezTo>
                  <a:cubicBezTo>
                    <a:pt x="0" y="3"/>
                    <a:pt x="0" y="3"/>
                    <a:pt x="0" y="3"/>
                  </a:cubicBezTo>
                  <a:cubicBezTo>
                    <a:pt x="0" y="1"/>
                    <a:pt x="1" y="0"/>
                    <a:pt x="3" y="0"/>
                  </a:cubicBezTo>
                  <a:cubicBezTo>
                    <a:pt x="150" y="0"/>
                    <a:pt x="150" y="0"/>
                    <a:pt x="150" y="0"/>
                  </a:cubicBezTo>
                  <a:cubicBezTo>
                    <a:pt x="152" y="0"/>
                    <a:pt x="153" y="1"/>
                    <a:pt x="153" y="3"/>
                  </a:cubicBezTo>
                  <a:cubicBezTo>
                    <a:pt x="153" y="24"/>
                    <a:pt x="153" y="24"/>
                    <a:pt x="153" y="24"/>
                  </a:cubicBezTo>
                  <a:cubicBezTo>
                    <a:pt x="153" y="26"/>
                    <a:pt x="152" y="27"/>
                    <a:pt x="150" y="27"/>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0" name="Freeform 36">
              <a:extLst>
                <a:ext uri="{FF2B5EF4-FFF2-40B4-BE49-F238E27FC236}">
                  <a16:creationId xmlns:a16="http://schemas.microsoft.com/office/drawing/2014/main" id="{63E84198-0D6C-FC70-B633-524D7FC8B98A}"/>
                </a:ext>
              </a:extLst>
            </p:cNvPr>
            <p:cNvSpPr>
              <a:spLocks noEditPoints="1"/>
            </p:cNvSpPr>
            <p:nvPr userDrawn="1"/>
          </p:nvSpPr>
          <p:spPr bwMode="auto">
            <a:xfrm>
              <a:off x="7260" y="2858"/>
              <a:ext cx="50" cy="72"/>
            </a:xfrm>
            <a:custGeom>
              <a:avLst/>
              <a:gdLst>
                <a:gd name="T0" fmla="*/ 4 w 159"/>
                <a:gd name="T1" fmla="*/ 0 h 232"/>
                <a:gd name="T2" fmla="*/ 84 w 159"/>
                <a:gd name="T3" fmla="*/ 0 h 232"/>
                <a:gd name="T4" fmla="*/ 139 w 159"/>
                <a:gd name="T5" fmla="*/ 18 h 232"/>
                <a:gd name="T6" fmla="*/ 159 w 159"/>
                <a:gd name="T7" fmla="*/ 66 h 232"/>
                <a:gd name="T8" fmla="*/ 159 w 159"/>
                <a:gd name="T9" fmla="*/ 165 h 232"/>
                <a:gd name="T10" fmla="*/ 139 w 159"/>
                <a:gd name="T11" fmla="*/ 213 h 232"/>
                <a:gd name="T12" fmla="*/ 84 w 159"/>
                <a:gd name="T13" fmla="*/ 231 h 232"/>
                <a:gd name="T14" fmla="*/ 4 w 159"/>
                <a:gd name="T15" fmla="*/ 232 h 232"/>
                <a:gd name="T16" fmla="*/ 1 w 159"/>
                <a:gd name="T17" fmla="*/ 228 h 232"/>
                <a:gd name="T18" fmla="*/ 0 w 159"/>
                <a:gd name="T19" fmla="*/ 3 h 232"/>
                <a:gd name="T20" fmla="*/ 4 w 159"/>
                <a:gd name="T21" fmla="*/ 0 h 232"/>
                <a:gd name="T22" fmla="*/ 116 w 159"/>
                <a:gd name="T23" fmla="*/ 192 h 232"/>
                <a:gd name="T24" fmla="*/ 128 w 159"/>
                <a:gd name="T25" fmla="*/ 161 h 232"/>
                <a:gd name="T26" fmla="*/ 128 w 159"/>
                <a:gd name="T27" fmla="*/ 70 h 232"/>
                <a:gd name="T28" fmla="*/ 116 w 159"/>
                <a:gd name="T29" fmla="*/ 39 h 232"/>
                <a:gd name="T30" fmla="*/ 85 w 159"/>
                <a:gd name="T31" fmla="*/ 27 h 232"/>
                <a:gd name="T32" fmla="*/ 34 w 159"/>
                <a:gd name="T33" fmla="*/ 27 h 232"/>
                <a:gd name="T34" fmla="*/ 32 w 159"/>
                <a:gd name="T35" fmla="*/ 28 h 232"/>
                <a:gd name="T36" fmla="*/ 32 w 159"/>
                <a:gd name="T37" fmla="*/ 203 h 232"/>
                <a:gd name="T38" fmla="*/ 34 w 159"/>
                <a:gd name="T39" fmla="*/ 204 h 232"/>
                <a:gd name="T40" fmla="*/ 85 w 159"/>
                <a:gd name="T41" fmla="*/ 204 h 232"/>
                <a:gd name="T42" fmla="*/ 116 w 159"/>
                <a:gd name="T43" fmla="*/ 192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59" h="232">
                  <a:moveTo>
                    <a:pt x="4" y="0"/>
                  </a:moveTo>
                  <a:cubicBezTo>
                    <a:pt x="84" y="0"/>
                    <a:pt x="84" y="0"/>
                    <a:pt x="84" y="0"/>
                  </a:cubicBezTo>
                  <a:cubicBezTo>
                    <a:pt x="106" y="0"/>
                    <a:pt x="125" y="6"/>
                    <a:pt x="139" y="18"/>
                  </a:cubicBezTo>
                  <a:cubicBezTo>
                    <a:pt x="152" y="30"/>
                    <a:pt x="159" y="46"/>
                    <a:pt x="159" y="66"/>
                  </a:cubicBezTo>
                  <a:cubicBezTo>
                    <a:pt x="159" y="165"/>
                    <a:pt x="159" y="165"/>
                    <a:pt x="159" y="165"/>
                  </a:cubicBezTo>
                  <a:cubicBezTo>
                    <a:pt x="159" y="185"/>
                    <a:pt x="153" y="201"/>
                    <a:pt x="139" y="213"/>
                  </a:cubicBezTo>
                  <a:cubicBezTo>
                    <a:pt x="125" y="225"/>
                    <a:pt x="107" y="231"/>
                    <a:pt x="84" y="231"/>
                  </a:cubicBezTo>
                  <a:cubicBezTo>
                    <a:pt x="4" y="232"/>
                    <a:pt x="4" y="232"/>
                    <a:pt x="4" y="232"/>
                  </a:cubicBezTo>
                  <a:cubicBezTo>
                    <a:pt x="2" y="232"/>
                    <a:pt x="1" y="230"/>
                    <a:pt x="1" y="228"/>
                  </a:cubicBezTo>
                  <a:cubicBezTo>
                    <a:pt x="0" y="3"/>
                    <a:pt x="0" y="3"/>
                    <a:pt x="0" y="3"/>
                  </a:cubicBezTo>
                  <a:cubicBezTo>
                    <a:pt x="0" y="1"/>
                    <a:pt x="1" y="0"/>
                    <a:pt x="4" y="0"/>
                  </a:cubicBezTo>
                  <a:moveTo>
                    <a:pt x="116" y="192"/>
                  </a:moveTo>
                  <a:cubicBezTo>
                    <a:pt x="123" y="184"/>
                    <a:pt x="127" y="174"/>
                    <a:pt x="128" y="161"/>
                  </a:cubicBezTo>
                  <a:cubicBezTo>
                    <a:pt x="128" y="70"/>
                    <a:pt x="128" y="70"/>
                    <a:pt x="128" y="70"/>
                  </a:cubicBezTo>
                  <a:cubicBezTo>
                    <a:pt x="128" y="57"/>
                    <a:pt x="124" y="47"/>
                    <a:pt x="116" y="39"/>
                  </a:cubicBezTo>
                  <a:cubicBezTo>
                    <a:pt x="108" y="31"/>
                    <a:pt x="98" y="27"/>
                    <a:pt x="85" y="27"/>
                  </a:cubicBezTo>
                  <a:cubicBezTo>
                    <a:pt x="34" y="27"/>
                    <a:pt x="34" y="27"/>
                    <a:pt x="34" y="27"/>
                  </a:cubicBezTo>
                  <a:cubicBezTo>
                    <a:pt x="33" y="27"/>
                    <a:pt x="32" y="28"/>
                    <a:pt x="32" y="28"/>
                  </a:cubicBezTo>
                  <a:cubicBezTo>
                    <a:pt x="32" y="203"/>
                    <a:pt x="32" y="203"/>
                    <a:pt x="32" y="203"/>
                  </a:cubicBezTo>
                  <a:cubicBezTo>
                    <a:pt x="32" y="204"/>
                    <a:pt x="33" y="204"/>
                    <a:pt x="34" y="204"/>
                  </a:cubicBezTo>
                  <a:cubicBezTo>
                    <a:pt x="85" y="204"/>
                    <a:pt x="85" y="204"/>
                    <a:pt x="85" y="204"/>
                  </a:cubicBezTo>
                  <a:cubicBezTo>
                    <a:pt x="98" y="204"/>
                    <a:pt x="108" y="200"/>
                    <a:pt x="116" y="192"/>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1" name="Freeform 37">
              <a:extLst>
                <a:ext uri="{FF2B5EF4-FFF2-40B4-BE49-F238E27FC236}">
                  <a16:creationId xmlns:a16="http://schemas.microsoft.com/office/drawing/2014/main" id="{70A1FC44-7303-BF99-A8F5-88EAF53A5613}"/>
                </a:ext>
              </a:extLst>
            </p:cNvPr>
            <p:cNvSpPr>
              <a:spLocks/>
            </p:cNvSpPr>
            <p:nvPr userDrawn="1"/>
          </p:nvSpPr>
          <p:spPr bwMode="auto">
            <a:xfrm>
              <a:off x="6436" y="2961"/>
              <a:ext cx="50" cy="74"/>
            </a:xfrm>
            <a:custGeom>
              <a:avLst/>
              <a:gdLst>
                <a:gd name="T0" fmla="*/ 39 w 161"/>
                <a:gd name="T1" fmla="*/ 228 h 237"/>
                <a:gd name="T2" fmla="*/ 10 w 161"/>
                <a:gd name="T3" fmla="*/ 201 h 237"/>
                <a:gd name="T4" fmla="*/ 0 w 161"/>
                <a:gd name="T5" fmla="*/ 161 h 237"/>
                <a:gd name="T6" fmla="*/ 0 w 161"/>
                <a:gd name="T7" fmla="*/ 75 h 237"/>
                <a:gd name="T8" fmla="*/ 10 w 161"/>
                <a:gd name="T9" fmla="*/ 36 h 237"/>
                <a:gd name="T10" fmla="*/ 38 w 161"/>
                <a:gd name="T11" fmla="*/ 9 h 237"/>
                <a:gd name="T12" fmla="*/ 81 w 161"/>
                <a:gd name="T13" fmla="*/ 0 h 237"/>
                <a:gd name="T14" fmla="*/ 123 w 161"/>
                <a:gd name="T15" fmla="*/ 9 h 237"/>
                <a:gd name="T16" fmla="*/ 151 w 161"/>
                <a:gd name="T17" fmla="*/ 34 h 237"/>
                <a:gd name="T18" fmla="*/ 161 w 161"/>
                <a:gd name="T19" fmla="*/ 73 h 237"/>
                <a:gd name="T20" fmla="*/ 161 w 161"/>
                <a:gd name="T21" fmla="*/ 73 h 237"/>
                <a:gd name="T22" fmla="*/ 160 w 161"/>
                <a:gd name="T23" fmla="*/ 76 h 237"/>
                <a:gd name="T24" fmla="*/ 158 w 161"/>
                <a:gd name="T25" fmla="*/ 77 h 237"/>
                <a:gd name="T26" fmla="*/ 133 w 161"/>
                <a:gd name="T27" fmla="*/ 78 h 237"/>
                <a:gd name="T28" fmla="*/ 129 w 161"/>
                <a:gd name="T29" fmla="*/ 75 h 237"/>
                <a:gd name="T30" fmla="*/ 129 w 161"/>
                <a:gd name="T31" fmla="*/ 74 h 237"/>
                <a:gd name="T32" fmla="*/ 116 w 161"/>
                <a:gd name="T33" fmla="*/ 40 h 237"/>
                <a:gd name="T34" fmla="*/ 81 w 161"/>
                <a:gd name="T35" fmla="*/ 27 h 237"/>
                <a:gd name="T36" fmla="*/ 45 w 161"/>
                <a:gd name="T37" fmla="*/ 40 h 237"/>
                <a:gd name="T38" fmla="*/ 32 w 161"/>
                <a:gd name="T39" fmla="*/ 74 h 237"/>
                <a:gd name="T40" fmla="*/ 32 w 161"/>
                <a:gd name="T41" fmla="*/ 162 h 237"/>
                <a:gd name="T42" fmla="*/ 45 w 161"/>
                <a:gd name="T43" fmla="*/ 196 h 237"/>
                <a:gd name="T44" fmla="*/ 81 w 161"/>
                <a:gd name="T45" fmla="*/ 209 h 237"/>
                <a:gd name="T46" fmla="*/ 116 w 161"/>
                <a:gd name="T47" fmla="*/ 196 h 237"/>
                <a:gd name="T48" fmla="*/ 129 w 161"/>
                <a:gd name="T49" fmla="*/ 162 h 237"/>
                <a:gd name="T50" fmla="*/ 129 w 161"/>
                <a:gd name="T51" fmla="*/ 162 h 237"/>
                <a:gd name="T52" fmla="*/ 133 w 161"/>
                <a:gd name="T53" fmla="*/ 159 h 237"/>
                <a:gd name="T54" fmla="*/ 158 w 161"/>
                <a:gd name="T55" fmla="*/ 160 h 237"/>
                <a:gd name="T56" fmla="*/ 161 w 161"/>
                <a:gd name="T57" fmla="*/ 163 h 237"/>
                <a:gd name="T58" fmla="*/ 151 w 161"/>
                <a:gd name="T59" fmla="*/ 202 h 237"/>
                <a:gd name="T60" fmla="*/ 123 w 161"/>
                <a:gd name="T61" fmla="*/ 228 h 237"/>
                <a:gd name="T62" fmla="*/ 81 w 161"/>
                <a:gd name="T63" fmla="*/ 237 h 237"/>
                <a:gd name="T64" fmla="*/ 39 w 161"/>
                <a:gd name="T65" fmla="*/ 228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61" h="237">
                  <a:moveTo>
                    <a:pt x="39" y="228"/>
                  </a:moveTo>
                  <a:cubicBezTo>
                    <a:pt x="26" y="221"/>
                    <a:pt x="17" y="212"/>
                    <a:pt x="10" y="201"/>
                  </a:cubicBezTo>
                  <a:cubicBezTo>
                    <a:pt x="3" y="189"/>
                    <a:pt x="0" y="176"/>
                    <a:pt x="0" y="161"/>
                  </a:cubicBezTo>
                  <a:cubicBezTo>
                    <a:pt x="0" y="75"/>
                    <a:pt x="0" y="75"/>
                    <a:pt x="0" y="75"/>
                  </a:cubicBezTo>
                  <a:cubicBezTo>
                    <a:pt x="0" y="60"/>
                    <a:pt x="3" y="47"/>
                    <a:pt x="10" y="36"/>
                  </a:cubicBezTo>
                  <a:cubicBezTo>
                    <a:pt x="17" y="24"/>
                    <a:pt x="26" y="15"/>
                    <a:pt x="38" y="9"/>
                  </a:cubicBezTo>
                  <a:cubicBezTo>
                    <a:pt x="51" y="3"/>
                    <a:pt x="65" y="0"/>
                    <a:pt x="81" y="0"/>
                  </a:cubicBezTo>
                  <a:cubicBezTo>
                    <a:pt x="97" y="0"/>
                    <a:pt x="111" y="3"/>
                    <a:pt x="123" y="9"/>
                  </a:cubicBezTo>
                  <a:cubicBezTo>
                    <a:pt x="135" y="15"/>
                    <a:pt x="144" y="23"/>
                    <a:pt x="151" y="34"/>
                  </a:cubicBezTo>
                  <a:cubicBezTo>
                    <a:pt x="158" y="45"/>
                    <a:pt x="161" y="58"/>
                    <a:pt x="161" y="73"/>
                  </a:cubicBezTo>
                  <a:cubicBezTo>
                    <a:pt x="161" y="73"/>
                    <a:pt x="161" y="73"/>
                    <a:pt x="161" y="73"/>
                  </a:cubicBezTo>
                  <a:cubicBezTo>
                    <a:pt x="161" y="74"/>
                    <a:pt x="161" y="75"/>
                    <a:pt x="160" y="76"/>
                  </a:cubicBezTo>
                  <a:cubicBezTo>
                    <a:pt x="160" y="76"/>
                    <a:pt x="159" y="77"/>
                    <a:pt x="158" y="77"/>
                  </a:cubicBezTo>
                  <a:cubicBezTo>
                    <a:pt x="133" y="78"/>
                    <a:pt x="133" y="78"/>
                    <a:pt x="133" y="78"/>
                  </a:cubicBezTo>
                  <a:cubicBezTo>
                    <a:pt x="131" y="78"/>
                    <a:pt x="129" y="77"/>
                    <a:pt x="129" y="75"/>
                  </a:cubicBezTo>
                  <a:cubicBezTo>
                    <a:pt x="129" y="74"/>
                    <a:pt x="129" y="74"/>
                    <a:pt x="129" y="74"/>
                  </a:cubicBezTo>
                  <a:cubicBezTo>
                    <a:pt x="129" y="60"/>
                    <a:pt x="125" y="49"/>
                    <a:pt x="116" y="40"/>
                  </a:cubicBezTo>
                  <a:cubicBezTo>
                    <a:pt x="107" y="31"/>
                    <a:pt x="96" y="27"/>
                    <a:pt x="81" y="27"/>
                  </a:cubicBezTo>
                  <a:cubicBezTo>
                    <a:pt x="66" y="27"/>
                    <a:pt x="54" y="31"/>
                    <a:pt x="45" y="40"/>
                  </a:cubicBezTo>
                  <a:cubicBezTo>
                    <a:pt x="36" y="49"/>
                    <a:pt x="32" y="60"/>
                    <a:pt x="32" y="74"/>
                  </a:cubicBezTo>
                  <a:cubicBezTo>
                    <a:pt x="32" y="162"/>
                    <a:pt x="32" y="162"/>
                    <a:pt x="32" y="162"/>
                  </a:cubicBezTo>
                  <a:cubicBezTo>
                    <a:pt x="32" y="176"/>
                    <a:pt x="36" y="188"/>
                    <a:pt x="45" y="196"/>
                  </a:cubicBezTo>
                  <a:cubicBezTo>
                    <a:pt x="54" y="205"/>
                    <a:pt x="66" y="209"/>
                    <a:pt x="81" y="209"/>
                  </a:cubicBezTo>
                  <a:cubicBezTo>
                    <a:pt x="96" y="209"/>
                    <a:pt x="107" y="205"/>
                    <a:pt x="116" y="196"/>
                  </a:cubicBezTo>
                  <a:cubicBezTo>
                    <a:pt x="125" y="188"/>
                    <a:pt x="129" y="176"/>
                    <a:pt x="129" y="162"/>
                  </a:cubicBezTo>
                  <a:cubicBezTo>
                    <a:pt x="129" y="162"/>
                    <a:pt x="129" y="162"/>
                    <a:pt x="129" y="162"/>
                  </a:cubicBezTo>
                  <a:cubicBezTo>
                    <a:pt x="129" y="160"/>
                    <a:pt x="131" y="159"/>
                    <a:pt x="133" y="159"/>
                  </a:cubicBezTo>
                  <a:cubicBezTo>
                    <a:pt x="158" y="160"/>
                    <a:pt x="158" y="160"/>
                    <a:pt x="158" y="160"/>
                  </a:cubicBezTo>
                  <a:cubicBezTo>
                    <a:pt x="160" y="160"/>
                    <a:pt x="161" y="161"/>
                    <a:pt x="161" y="163"/>
                  </a:cubicBezTo>
                  <a:cubicBezTo>
                    <a:pt x="161" y="178"/>
                    <a:pt x="158" y="191"/>
                    <a:pt x="151" y="202"/>
                  </a:cubicBezTo>
                  <a:cubicBezTo>
                    <a:pt x="144" y="213"/>
                    <a:pt x="135" y="222"/>
                    <a:pt x="123" y="228"/>
                  </a:cubicBezTo>
                  <a:cubicBezTo>
                    <a:pt x="111" y="234"/>
                    <a:pt x="97" y="237"/>
                    <a:pt x="81" y="237"/>
                  </a:cubicBezTo>
                  <a:cubicBezTo>
                    <a:pt x="65" y="237"/>
                    <a:pt x="51" y="234"/>
                    <a:pt x="39" y="228"/>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2" name="Freeform 38">
              <a:extLst>
                <a:ext uri="{FF2B5EF4-FFF2-40B4-BE49-F238E27FC236}">
                  <a16:creationId xmlns:a16="http://schemas.microsoft.com/office/drawing/2014/main" id="{3189B89F-B8E2-FDCC-27D0-F133B74ECA4F}"/>
                </a:ext>
              </a:extLst>
            </p:cNvPr>
            <p:cNvSpPr>
              <a:spLocks noEditPoints="1"/>
            </p:cNvSpPr>
            <p:nvPr userDrawn="1"/>
          </p:nvSpPr>
          <p:spPr bwMode="auto">
            <a:xfrm>
              <a:off x="6495" y="2961"/>
              <a:ext cx="51" cy="74"/>
            </a:xfrm>
            <a:custGeom>
              <a:avLst/>
              <a:gdLst>
                <a:gd name="T0" fmla="*/ 39 w 164"/>
                <a:gd name="T1" fmla="*/ 227 h 237"/>
                <a:gd name="T2" fmla="*/ 10 w 164"/>
                <a:gd name="T3" fmla="*/ 199 h 237"/>
                <a:gd name="T4" fmla="*/ 0 w 164"/>
                <a:gd name="T5" fmla="*/ 158 h 237"/>
                <a:gd name="T6" fmla="*/ 0 w 164"/>
                <a:gd name="T7" fmla="*/ 79 h 237"/>
                <a:gd name="T8" fmla="*/ 10 w 164"/>
                <a:gd name="T9" fmla="*/ 37 h 237"/>
                <a:gd name="T10" fmla="*/ 39 w 164"/>
                <a:gd name="T11" fmla="*/ 9 h 237"/>
                <a:gd name="T12" fmla="*/ 81 w 164"/>
                <a:gd name="T13" fmla="*/ 0 h 237"/>
                <a:gd name="T14" fmla="*/ 125 w 164"/>
                <a:gd name="T15" fmla="*/ 9 h 237"/>
                <a:gd name="T16" fmla="*/ 154 w 164"/>
                <a:gd name="T17" fmla="*/ 37 h 237"/>
                <a:gd name="T18" fmla="*/ 164 w 164"/>
                <a:gd name="T19" fmla="*/ 79 h 237"/>
                <a:gd name="T20" fmla="*/ 164 w 164"/>
                <a:gd name="T21" fmla="*/ 157 h 237"/>
                <a:gd name="T22" fmla="*/ 154 w 164"/>
                <a:gd name="T23" fmla="*/ 199 h 237"/>
                <a:gd name="T24" fmla="*/ 125 w 164"/>
                <a:gd name="T25" fmla="*/ 227 h 237"/>
                <a:gd name="T26" fmla="*/ 82 w 164"/>
                <a:gd name="T27" fmla="*/ 237 h 237"/>
                <a:gd name="T28" fmla="*/ 39 w 164"/>
                <a:gd name="T29" fmla="*/ 227 h 237"/>
                <a:gd name="T30" fmla="*/ 118 w 164"/>
                <a:gd name="T31" fmla="*/ 196 h 237"/>
                <a:gd name="T32" fmla="*/ 132 w 164"/>
                <a:gd name="T33" fmla="*/ 159 h 237"/>
                <a:gd name="T34" fmla="*/ 132 w 164"/>
                <a:gd name="T35" fmla="*/ 78 h 237"/>
                <a:gd name="T36" fmla="*/ 118 w 164"/>
                <a:gd name="T37" fmla="*/ 41 h 237"/>
                <a:gd name="T38" fmla="*/ 82 w 164"/>
                <a:gd name="T39" fmla="*/ 27 h 237"/>
                <a:gd name="T40" fmla="*/ 45 w 164"/>
                <a:gd name="T41" fmla="*/ 41 h 237"/>
                <a:gd name="T42" fmla="*/ 32 w 164"/>
                <a:gd name="T43" fmla="*/ 78 h 237"/>
                <a:gd name="T44" fmla="*/ 32 w 164"/>
                <a:gd name="T45" fmla="*/ 159 h 237"/>
                <a:gd name="T46" fmla="*/ 45 w 164"/>
                <a:gd name="T47" fmla="*/ 196 h 237"/>
                <a:gd name="T48" fmla="*/ 82 w 164"/>
                <a:gd name="T49" fmla="*/ 210 h 237"/>
                <a:gd name="T50" fmla="*/ 118 w 164"/>
                <a:gd name="T51" fmla="*/ 196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64" h="237">
                  <a:moveTo>
                    <a:pt x="39" y="227"/>
                  </a:moveTo>
                  <a:cubicBezTo>
                    <a:pt x="27" y="220"/>
                    <a:pt x="17" y="211"/>
                    <a:pt x="10" y="199"/>
                  </a:cubicBezTo>
                  <a:cubicBezTo>
                    <a:pt x="3" y="187"/>
                    <a:pt x="0" y="173"/>
                    <a:pt x="0" y="158"/>
                  </a:cubicBezTo>
                  <a:cubicBezTo>
                    <a:pt x="0" y="79"/>
                    <a:pt x="0" y="79"/>
                    <a:pt x="0" y="79"/>
                  </a:cubicBezTo>
                  <a:cubicBezTo>
                    <a:pt x="0" y="63"/>
                    <a:pt x="3" y="49"/>
                    <a:pt x="10" y="37"/>
                  </a:cubicBezTo>
                  <a:cubicBezTo>
                    <a:pt x="17" y="25"/>
                    <a:pt x="26" y="16"/>
                    <a:pt x="39" y="9"/>
                  </a:cubicBezTo>
                  <a:cubicBezTo>
                    <a:pt x="51" y="3"/>
                    <a:pt x="65" y="0"/>
                    <a:pt x="81" y="0"/>
                  </a:cubicBezTo>
                  <a:cubicBezTo>
                    <a:pt x="98" y="0"/>
                    <a:pt x="112" y="3"/>
                    <a:pt x="125" y="9"/>
                  </a:cubicBezTo>
                  <a:cubicBezTo>
                    <a:pt x="137" y="16"/>
                    <a:pt x="147" y="25"/>
                    <a:pt x="154" y="37"/>
                  </a:cubicBezTo>
                  <a:cubicBezTo>
                    <a:pt x="161" y="49"/>
                    <a:pt x="164" y="63"/>
                    <a:pt x="164" y="79"/>
                  </a:cubicBezTo>
                  <a:cubicBezTo>
                    <a:pt x="164" y="157"/>
                    <a:pt x="164" y="157"/>
                    <a:pt x="164" y="157"/>
                  </a:cubicBezTo>
                  <a:cubicBezTo>
                    <a:pt x="164" y="173"/>
                    <a:pt x="161" y="187"/>
                    <a:pt x="154" y="199"/>
                  </a:cubicBezTo>
                  <a:cubicBezTo>
                    <a:pt x="147" y="211"/>
                    <a:pt x="137" y="220"/>
                    <a:pt x="125" y="227"/>
                  </a:cubicBezTo>
                  <a:cubicBezTo>
                    <a:pt x="112" y="234"/>
                    <a:pt x="98" y="237"/>
                    <a:pt x="82" y="237"/>
                  </a:cubicBezTo>
                  <a:cubicBezTo>
                    <a:pt x="66" y="237"/>
                    <a:pt x="51" y="234"/>
                    <a:pt x="39" y="227"/>
                  </a:cubicBezTo>
                  <a:moveTo>
                    <a:pt x="118" y="196"/>
                  </a:moveTo>
                  <a:cubicBezTo>
                    <a:pt x="128" y="186"/>
                    <a:pt x="132" y="174"/>
                    <a:pt x="132" y="159"/>
                  </a:cubicBezTo>
                  <a:cubicBezTo>
                    <a:pt x="132" y="78"/>
                    <a:pt x="132" y="78"/>
                    <a:pt x="132" y="78"/>
                  </a:cubicBezTo>
                  <a:cubicBezTo>
                    <a:pt x="132" y="63"/>
                    <a:pt x="128" y="50"/>
                    <a:pt x="118" y="41"/>
                  </a:cubicBezTo>
                  <a:cubicBezTo>
                    <a:pt x="109" y="32"/>
                    <a:pt x="97" y="27"/>
                    <a:pt x="82" y="27"/>
                  </a:cubicBezTo>
                  <a:cubicBezTo>
                    <a:pt x="67" y="27"/>
                    <a:pt x="54" y="32"/>
                    <a:pt x="45" y="41"/>
                  </a:cubicBezTo>
                  <a:cubicBezTo>
                    <a:pt x="36" y="51"/>
                    <a:pt x="32" y="63"/>
                    <a:pt x="32" y="78"/>
                  </a:cubicBezTo>
                  <a:cubicBezTo>
                    <a:pt x="32" y="159"/>
                    <a:pt x="32" y="159"/>
                    <a:pt x="32" y="159"/>
                  </a:cubicBezTo>
                  <a:cubicBezTo>
                    <a:pt x="32" y="174"/>
                    <a:pt x="36" y="186"/>
                    <a:pt x="45" y="196"/>
                  </a:cubicBezTo>
                  <a:cubicBezTo>
                    <a:pt x="55" y="205"/>
                    <a:pt x="67" y="210"/>
                    <a:pt x="82" y="210"/>
                  </a:cubicBezTo>
                  <a:cubicBezTo>
                    <a:pt x="97" y="210"/>
                    <a:pt x="109" y="205"/>
                    <a:pt x="118" y="196"/>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3" name="Freeform 39">
              <a:extLst>
                <a:ext uri="{FF2B5EF4-FFF2-40B4-BE49-F238E27FC236}">
                  <a16:creationId xmlns:a16="http://schemas.microsoft.com/office/drawing/2014/main" id="{23D6F79C-F680-619C-9A4A-765980DF9A6F}"/>
                </a:ext>
              </a:extLst>
            </p:cNvPr>
            <p:cNvSpPr>
              <a:spLocks/>
            </p:cNvSpPr>
            <p:nvPr userDrawn="1"/>
          </p:nvSpPr>
          <p:spPr bwMode="auto">
            <a:xfrm>
              <a:off x="6559" y="2962"/>
              <a:ext cx="57" cy="72"/>
            </a:xfrm>
            <a:custGeom>
              <a:avLst/>
              <a:gdLst>
                <a:gd name="T0" fmla="*/ 154 w 183"/>
                <a:gd name="T1" fmla="*/ 0 h 232"/>
                <a:gd name="T2" fmla="*/ 180 w 183"/>
                <a:gd name="T3" fmla="*/ 0 h 232"/>
                <a:gd name="T4" fmla="*/ 183 w 183"/>
                <a:gd name="T5" fmla="*/ 3 h 232"/>
                <a:gd name="T6" fmla="*/ 183 w 183"/>
                <a:gd name="T7" fmla="*/ 229 h 232"/>
                <a:gd name="T8" fmla="*/ 180 w 183"/>
                <a:gd name="T9" fmla="*/ 232 h 232"/>
                <a:gd name="T10" fmla="*/ 155 w 183"/>
                <a:gd name="T11" fmla="*/ 232 h 232"/>
                <a:gd name="T12" fmla="*/ 151 w 183"/>
                <a:gd name="T13" fmla="*/ 229 h 232"/>
                <a:gd name="T14" fmla="*/ 151 w 183"/>
                <a:gd name="T15" fmla="*/ 59 h 232"/>
                <a:gd name="T16" fmla="*/ 150 w 183"/>
                <a:gd name="T17" fmla="*/ 58 h 232"/>
                <a:gd name="T18" fmla="*/ 149 w 183"/>
                <a:gd name="T19" fmla="*/ 58 h 232"/>
                <a:gd name="T20" fmla="*/ 102 w 183"/>
                <a:gd name="T21" fmla="*/ 131 h 232"/>
                <a:gd name="T22" fmla="*/ 98 w 183"/>
                <a:gd name="T23" fmla="*/ 133 h 232"/>
                <a:gd name="T24" fmla="*/ 86 w 183"/>
                <a:gd name="T25" fmla="*/ 133 h 232"/>
                <a:gd name="T26" fmla="*/ 82 w 183"/>
                <a:gd name="T27" fmla="*/ 131 h 232"/>
                <a:gd name="T28" fmla="*/ 34 w 183"/>
                <a:gd name="T29" fmla="*/ 59 h 232"/>
                <a:gd name="T30" fmla="*/ 33 w 183"/>
                <a:gd name="T31" fmla="*/ 58 h 232"/>
                <a:gd name="T32" fmla="*/ 32 w 183"/>
                <a:gd name="T33" fmla="*/ 60 h 232"/>
                <a:gd name="T34" fmla="*/ 32 w 183"/>
                <a:gd name="T35" fmla="*/ 229 h 232"/>
                <a:gd name="T36" fmla="*/ 29 w 183"/>
                <a:gd name="T37" fmla="*/ 232 h 232"/>
                <a:gd name="T38" fmla="*/ 4 w 183"/>
                <a:gd name="T39" fmla="*/ 232 h 232"/>
                <a:gd name="T40" fmla="*/ 1 w 183"/>
                <a:gd name="T41" fmla="*/ 229 h 232"/>
                <a:gd name="T42" fmla="*/ 0 w 183"/>
                <a:gd name="T43" fmla="*/ 3 h 232"/>
                <a:gd name="T44" fmla="*/ 4 w 183"/>
                <a:gd name="T45" fmla="*/ 0 h 232"/>
                <a:gd name="T46" fmla="*/ 29 w 183"/>
                <a:gd name="T47" fmla="*/ 0 h 232"/>
                <a:gd name="T48" fmla="*/ 33 w 183"/>
                <a:gd name="T49" fmla="*/ 2 h 232"/>
                <a:gd name="T50" fmla="*/ 91 w 183"/>
                <a:gd name="T51" fmla="*/ 89 h 232"/>
                <a:gd name="T52" fmla="*/ 92 w 183"/>
                <a:gd name="T53" fmla="*/ 89 h 232"/>
                <a:gd name="T54" fmla="*/ 93 w 183"/>
                <a:gd name="T55" fmla="*/ 89 h 232"/>
                <a:gd name="T56" fmla="*/ 150 w 183"/>
                <a:gd name="T57" fmla="*/ 2 h 232"/>
                <a:gd name="T58" fmla="*/ 154 w 183"/>
                <a:gd name="T59" fmla="*/ 0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83" h="232">
                  <a:moveTo>
                    <a:pt x="154" y="0"/>
                  </a:moveTo>
                  <a:cubicBezTo>
                    <a:pt x="180" y="0"/>
                    <a:pt x="180" y="0"/>
                    <a:pt x="180" y="0"/>
                  </a:cubicBezTo>
                  <a:cubicBezTo>
                    <a:pt x="182" y="0"/>
                    <a:pt x="183" y="1"/>
                    <a:pt x="183" y="3"/>
                  </a:cubicBezTo>
                  <a:cubicBezTo>
                    <a:pt x="183" y="229"/>
                    <a:pt x="183" y="229"/>
                    <a:pt x="183" y="229"/>
                  </a:cubicBezTo>
                  <a:cubicBezTo>
                    <a:pt x="183" y="231"/>
                    <a:pt x="182" y="232"/>
                    <a:pt x="180" y="232"/>
                  </a:cubicBezTo>
                  <a:cubicBezTo>
                    <a:pt x="155" y="232"/>
                    <a:pt x="155" y="232"/>
                    <a:pt x="155" y="232"/>
                  </a:cubicBezTo>
                  <a:cubicBezTo>
                    <a:pt x="152" y="232"/>
                    <a:pt x="151" y="231"/>
                    <a:pt x="151" y="229"/>
                  </a:cubicBezTo>
                  <a:cubicBezTo>
                    <a:pt x="151" y="59"/>
                    <a:pt x="151" y="59"/>
                    <a:pt x="151" y="59"/>
                  </a:cubicBezTo>
                  <a:cubicBezTo>
                    <a:pt x="151" y="58"/>
                    <a:pt x="151" y="58"/>
                    <a:pt x="150" y="58"/>
                  </a:cubicBezTo>
                  <a:cubicBezTo>
                    <a:pt x="150" y="57"/>
                    <a:pt x="150" y="58"/>
                    <a:pt x="149" y="58"/>
                  </a:cubicBezTo>
                  <a:cubicBezTo>
                    <a:pt x="102" y="131"/>
                    <a:pt x="102" y="131"/>
                    <a:pt x="102" y="131"/>
                  </a:cubicBezTo>
                  <a:cubicBezTo>
                    <a:pt x="101" y="132"/>
                    <a:pt x="100" y="133"/>
                    <a:pt x="98" y="133"/>
                  </a:cubicBezTo>
                  <a:cubicBezTo>
                    <a:pt x="86" y="133"/>
                    <a:pt x="86" y="133"/>
                    <a:pt x="86" y="133"/>
                  </a:cubicBezTo>
                  <a:cubicBezTo>
                    <a:pt x="84" y="133"/>
                    <a:pt x="83" y="132"/>
                    <a:pt x="82" y="131"/>
                  </a:cubicBezTo>
                  <a:cubicBezTo>
                    <a:pt x="34" y="59"/>
                    <a:pt x="34" y="59"/>
                    <a:pt x="34" y="59"/>
                  </a:cubicBezTo>
                  <a:cubicBezTo>
                    <a:pt x="34" y="58"/>
                    <a:pt x="33" y="58"/>
                    <a:pt x="33" y="58"/>
                  </a:cubicBezTo>
                  <a:cubicBezTo>
                    <a:pt x="32" y="59"/>
                    <a:pt x="32" y="59"/>
                    <a:pt x="32" y="60"/>
                  </a:cubicBezTo>
                  <a:cubicBezTo>
                    <a:pt x="32" y="229"/>
                    <a:pt x="32" y="229"/>
                    <a:pt x="32" y="229"/>
                  </a:cubicBezTo>
                  <a:cubicBezTo>
                    <a:pt x="32" y="231"/>
                    <a:pt x="31" y="232"/>
                    <a:pt x="29" y="232"/>
                  </a:cubicBezTo>
                  <a:cubicBezTo>
                    <a:pt x="4" y="232"/>
                    <a:pt x="4" y="232"/>
                    <a:pt x="4" y="232"/>
                  </a:cubicBezTo>
                  <a:cubicBezTo>
                    <a:pt x="2" y="232"/>
                    <a:pt x="1" y="231"/>
                    <a:pt x="1" y="229"/>
                  </a:cubicBezTo>
                  <a:cubicBezTo>
                    <a:pt x="0" y="3"/>
                    <a:pt x="0" y="3"/>
                    <a:pt x="0" y="3"/>
                  </a:cubicBezTo>
                  <a:cubicBezTo>
                    <a:pt x="0" y="1"/>
                    <a:pt x="1" y="0"/>
                    <a:pt x="4" y="0"/>
                  </a:cubicBezTo>
                  <a:cubicBezTo>
                    <a:pt x="29" y="0"/>
                    <a:pt x="29" y="0"/>
                    <a:pt x="29" y="0"/>
                  </a:cubicBezTo>
                  <a:cubicBezTo>
                    <a:pt x="31" y="0"/>
                    <a:pt x="32" y="1"/>
                    <a:pt x="33" y="2"/>
                  </a:cubicBezTo>
                  <a:cubicBezTo>
                    <a:pt x="91" y="89"/>
                    <a:pt x="91" y="89"/>
                    <a:pt x="91" y="89"/>
                  </a:cubicBezTo>
                  <a:cubicBezTo>
                    <a:pt x="91" y="89"/>
                    <a:pt x="91" y="89"/>
                    <a:pt x="92" y="89"/>
                  </a:cubicBezTo>
                  <a:cubicBezTo>
                    <a:pt x="92" y="89"/>
                    <a:pt x="93" y="89"/>
                    <a:pt x="93" y="89"/>
                  </a:cubicBezTo>
                  <a:cubicBezTo>
                    <a:pt x="150" y="2"/>
                    <a:pt x="150" y="2"/>
                    <a:pt x="150" y="2"/>
                  </a:cubicBezTo>
                  <a:cubicBezTo>
                    <a:pt x="152" y="1"/>
                    <a:pt x="153" y="0"/>
                    <a:pt x="154" y="0"/>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4" name="Freeform 40">
              <a:extLst>
                <a:ext uri="{FF2B5EF4-FFF2-40B4-BE49-F238E27FC236}">
                  <a16:creationId xmlns:a16="http://schemas.microsoft.com/office/drawing/2014/main" id="{069885CB-9B4A-CB67-44A2-E9856F5945C6}"/>
                </a:ext>
              </a:extLst>
            </p:cNvPr>
            <p:cNvSpPr>
              <a:spLocks noEditPoints="1"/>
            </p:cNvSpPr>
            <p:nvPr userDrawn="1"/>
          </p:nvSpPr>
          <p:spPr bwMode="auto">
            <a:xfrm>
              <a:off x="6632" y="2962"/>
              <a:ext cx="51" cy="72"/>
            </a:xfrm>
            <a:custGeom>
              <a:avLst/>
              <a:gdLst>
                <a:gd name="T0" fmla="*/ 129 w 161"/>
                <a:gd name="T1" fmla="*/ 8 h 232"/>
                <a:gd name="T2" fmla="*/ 152 w 161"/>
                <a:gd name="T3" fmla="*/ 32 h 232"/>
                <a:gd name="T4" fmla="*/ 161 w 161"/>
                <a:gd name="T5" fmla="*/ 67 h 232"/>
                <a:gd name="T6" fmla="*/ 152 w 161"/>
                <a:gd name="T7" fmla="*/ 102 h 232"/>
                <a:gd name="T8" fmla="*/ 128 w 161"/>
                <a:gd name="T9" fmla="*/ 125 h 232"/>
                <a:gd name="T10" fmla="*/ 92 w 161"/>
                <a:gd name="T11" fmla="*/ 133 h 232"/>
                <a:gd name="T12" fmla="*/ 33 w 161"/>
                <a:gd name="T13" fmla="*/ 133 h 232"/>
                <a:gd name="T14" fmla="*/ 32 w 161"/>
                <a:gd name="T15" fmla="*/ 134 h 232"/>
                <a:gd name="T16" fmla="*/ 32 w 161"/>
                <a:gd name="T17" fmla="*/ 229 h 232"/>
                <a:gd name="T18" fmla="*/ 29 w 161"/>
                <a:gd name="T19" fmla="*/ 232 h 232"/>
                <a:gd name="T20" fmla="*/ 4 w 161"/>
                <a:gd name="T21" fmla="*/ 232 h 232"/>
                <a:gd name="T22" fmla="*/ 0 w 161"/>
                <a:gd name="T23" fmla="*/ 229 h 232"/>
                <a:gd name="T24" fmla="*/ 0 w 161"/>
                <a:gd name="T25" fmla="*/ 3 h 232"/>
                <a:gd name="T26" fmla="*/ 4 w 161"/>
                <a:gd name="T27" fmla="*/ 0 h 232"/>
                <a:gd name="T28" fmla="*/ 93 w 161"/>
                <a:gd name="T29" fmla="*/ 0 h 232"/>
                <a:gd name="T30" fmla="*/ 129 w 161"/>
                <a:gd name="T31" fmla="*/ 8 h 232"/>
                <a:gd name="T32" fmla="*/ 118 w 161"/>
                <a:gd name="T33" fmla="*/ 96 h 232"/>
                <a:gd name="T34" fmla="*/ 129 w 161"/>
                <a:gd name="T35" fmla="*/ 67 h 232"/>
                <a:gd name="T36" fmla="*/ 118 w 161"/>
                <a:gd name="T37" fmla="*/ 38 h 232"/>
                <a:gd name="T38" fmla="*/ 89 w 161"/>
                <a:gd name="T39" fmla="*/ 27 h 232"/>
                <a:gd name="T40" fmla="*/ 33 w 161"/>
                <a:gd name="T41" fmla="*/ 27 h 232"/>
                <a:gd name="T42" fmla="*/ 32 w 161"/>
                <a:gd name="T43" fmla="*/ 28 h 232"/>
                <a:gd name="T44" fmla="*/ 32 w 161"/>
                <a:gd name="T45" fmla="*/ 106 h 232"/>
                <a:gd name="T46" fmla="*/ 33 w 161"/>
                <a:gd name="T47" fmla="*/ 107 h 232"/>
                <a:gd name="T48" fmla="*/ 89 w 161"/>
                <a:gd name="T49" fmla="*/ 107 h 232"/>
                <a:gd name="T50" fmla="*/ 118 w 161"/>
                <a:gd name="T51" fmla="*/ 96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61" h="232">
                  <a:moveTo>
                    <a:pt x="129" y="8"/>
                  </a:moveTo>
                  <a:cubicBezTo>
                    <a:pt x="139" y="14"/>
                    <a:pt x="147" y="22"/>
                    <a:pt x="152" y="32"/>
                  </a:cubicBezTo>
                  <a:cubicBezTo>
                    <a:pt x="158" y="42"/>
                    <a:pt x="161" y="54"/>
                    <a:pt x="161" y="67"/>
                  </a:cubicBezTo>
                  <a:cubicBezTo>
                    <a:pt x="161" y="80"/>
                    <a:pt x="158" y="92"/>
                    <a:pt x="152" y="102"/>
                  </a:cubicBezTo>
                  <a:cubicBezTo>
                    <a:pt x="147" y="112"/>
                    <a:pt x="138" y="119"/>
                    <a:pt x="128" y="125"/>
                  </a:cubicBezTo>
                  <a:cubicBezTo>
                    <a:pt x="118" y="130"/>
                    <a:pt x="105" y="133"/>
                    <a:pt x="92" y="133"/>
                  </a:cubicBezTo>
                  <a:cubicBezTo>
                    <a:pt x="33" y="133"/>
                    <a:pt x="33" y="133"/>
                    <a:pt x="33" y="133"/>
                  </a:cubicBezTo>
                  <a:cubicBezTo>
                    <a:pt x="33" y="133"/>
                    <a:pt x="32" y="134"/>
                    <a:pt x="32" y="134"/>
                  </a:cubicBezTo>
                  <a:cubicBezTo>
                    <a:pt x="32" y="229"/>
                    <a:pt x="32" y="229"/>
                    <a:pt x="32" y="229"/>
                  </a:cubicBezTo>
                  <a:cubicBezTo>
                    <a:pt x="32" y="231"/>
                    <a:pt x="31" y="232"/>
                    <a:pt x="29" y="232"/>
                  </a:cubicBezTo>
                  <a:cubicBezTo>
                    <a:pt x="4" y="232"/>
                    <a:pt x="4" y="232"/>
                    <a:pt x="4" y="232"/>
                  </a:cubicBezTo>
                  <a:cubicBezTo>
                    <a:pt x="1" y="232"/>
                    <a:pt x="0" y="231"/>
                    <a:pt x="0" y="229"/>
                  </a:cubicBezTo>
                  <a:cubicBezTo>
                    <a:pt x="0" y="3"/>
                    <a:pt x="0" y="3"/>
                    <a:pt x="0" y="3"/>
                  </a:cubicBezTo>
                  <a:cubicBezTo>
                    <a:pt x="0" y="1"/>
                    <a:pt x="1" y="0"/>
                    <a:pt x="4" y="0"/>
                  </a:cubicBezTo>
                  <a:cubicBezTo>
                    <a:pt x="93" y="0"/>
                    <a:pt x="93" y="0"/>
                    <a:pt x="93" y="0"/>
                  </a:cubicBezTo>
                  <a:cubicBezTo>
                    <a:pt x="106" y="0"/>
                    <a:pt x="118" y="2"/>
                    <a:pt x="129" y="8"/>
                  </a:cubicBezTo>
                  <a:moveTo>
                    <a:pt x="118" y="96"/>
                  </a:moveTo>
                  <a:cubicBezTo>
                    <a:pt x="125" y="89"/>
                    <a:pt x="129" y="79"/>
                    <a:pt x="129" y="67"/>
                  </a:cubicBezTo>
                  <a:cubicBezTo>
                    <a:pt x="129" y="55"/>
                    <a:pt x="125" y="46"/>
                    <a:pt x="118" y="38"/>
                  </a:cubicBezTo>
                  <a:cubicBezTo>
                    <a:pt x="111" y="31"/>
                    <a:pt x="101" y="27"/>
                    <a:pt x="89" y="27"/>
                  </a:cubicBezTo>
                  <a:cubicBezTo>
                    <a:pt x="33" y="27"/>
                    <a:pt x="33" y="27"/>
                    <a:pt x="33" y="27"/>
                  </a:cubicBezTo>
                  <a:cubicBezTo>
                    <a:pt x="32" y="27"/>
                    <a:pt x="32" y="28"/>
                    <a:pt x="32" y="28"/>
                  </a:cubicBezTo>
                  <a:cubicBezTo>
                    <a:pt x="32" y="106"/>
                    <a:pt x="32" y="106"/>
                    <a:pt x="32" y="106"/>
                  </a:cubicBezTo>
                  <a:cubicBezTo>
                    <a:pt x="32" y="107"/>
                    <a:pt x="33" y="107"/>
                    <a:pt x="33" y="107"/>
                  </a:cubicBezTo>
                  <a:cubicBezTo>
                    <a:pt x="89" y="107"/>
                    <a:pt x="89" y="107"/>
                    <a:pt x="89" y="107"/>
                  </a:cubicBezTo>
                  <a:cubicBezTo>
                    <a:pt x="101" y="107"/>
                    <a:pt x="111" y="104"/>
                    <a:pt x="118" y="96"/>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5" name="Freeform 41">
              <a:extLst>
                <a:ext uri="{FF2B5EF4-FFF2-40B4-BE49-F238E27FC236}">
                  <a16:creationId xmlns:a16="http://schemas.microsoft.com/office/drawing/2014/main" id="{42B984B9-BC83-C904-0ABC-8BE14D814A27}"/>
                </a:ext>
              </a:extLst>
            </p:cNvPr>
            <p:cNvSpPr>
              <a:spLocks noEditPoints="1"/>
            </p:cNvSpPr>
            <p:nvPr userDrawn="1"/>
          </p:nvSpPr>
          <p:spPr bwMode="auto">
            <a:xfrm>
              <a:off x="6681" y="2962"/>
              <a:ext cx="59" cy="72"/>
            </a:xfrm>
            <a:custGeom>
              <a:avLst/>
              <a:gdLst>
                <a:gd name="T0" fmla="*/ 154 w 188"/>
                <a:gd name="T1" fmla="*/ 229 h 232"/>
                <a:gd name="T2" fmla="*/ 142 w 188"/>
                <a:gd name="T3" fmla="*/ 190 h 232"/>
                <a:gd name="T4" fmla="*/ 140 w 188"/>
                <a:gd name="T5" fmla="*/ 189 h 232"/>
                <a:gd name="T6" fmla="*/ 47 w 188"/>
                <a:gd name="T7" fmla="*/ 189 h 232"/>
                <a:gd name="T8" fmla="*/ 46 w 188"/>
                <a:gd name="T9" fmla="*/ 190 h 232"/>
                <a:gd name="T10" fmla="*/ 34 w 188"/>
                <a:gd name="T11" fmla="*/ 229 h 232"/>
                <a:gd name="T12" fmla="*/ 30 w 188"/>
                <a:gd name="T13" fmla="*/ 232 h 232"/>
                <a:gd name="T14" fmla="*/ 3 w 188"/>
                <a:gd name="T15" fmla="*/ 232 h 232"/>
                <a:gd name="T16" fmla="*/ 0 w 188"/>
                <a:gd name="T17" fmla="*/ 228 h 232"/>
                <a:gd name="T18" fmla="*/ 73 w 188"/>
                <a:gd name="T19" fmla="*/ 2 h 232"/>
                <a:gd name="T20" fmla="*/ 77 w 188"/>
                <a:gd name="T21" fmla="*/ 0 h 232"/>
                <a:gd name="T22" fmla="*/ 110 w 188"/>
                <a:gd name="T23" fmla="*/ 0 h 232"/>
                <a:gd name="T24" fmla="*/ 114 w 188"/>
                <a:gd name="T25" fmla="*/ 2 h 232"/>
                <a:gd name="T26" fmla="*/ 187 w 188"/>
                <a:gd name="T27" fmla="*/ 228 h 232"/>
                <a:gd name="T28" fmla="*/ 188 w 188"/>
                <a:gd name="T29" fmla="*/ 229 h 232"/>
                <a:gd name="T30" fmla="*/ 185 w 188"/>
                <a:gd name="T31" fmla="*/ 232 h 232"/>
                <a:gd name="T32" fmla="*/ 158 w 188"/>
                <a:gd name="T33" fmla="*/ 232 h 232"/>
                <a:gd name="T34" fmla="*/ 154 w 188"/>
                <a:gd name="T35" fmla="*/ 229 h 232"/>
                <a:gd name="T36" fmla="*/ 55 w 188"/>
                <a:gd name="T37" fmla="*/ 164 h 232"/>
                <a:gd name="T38" fmla="*/ 56 w 188"/>
                <a:gd name="T39" fmla="*/ 164 h 232"/>
                <a:gd name="T40" fmla="*/ 132 w 188"/>
                <a:gd name="T41" fmla="*/ 164 h 232"/>
                <a:gd name="T42" fmla="*/ 133 w 188"/>
                <a:gd name="T43" fmla="*/ 164 h 232"/>
                <a:gd name="T44" fmla="*/ 133 w 188"/>
                <a:gd name="T45" fmla="*/ 162 h 232"/>
                <a:gd name="T46" fmla="*/ 94 w 188"/>
                <a:gd name="T47" fmla="*/ 40 h 232"/>
                <a:gd name="T48" fmla="*/ 93 w 188"/>
                <a:gd name="T49" fmla="*/ 39 h 232"/>
                <a:gd name="T50" fmla="*/ 92 w 188"/>
                <a:gd name="T51" fmla="*/ 40 h 232"/>
                <a:gd name="T52" fmla="*/ 54 w 188"/>
                <a:gd name="T53" fmla="*/ 163 h 232"/>
                <a:gd name="T54" fmla="*/ 55 w 188"/>
                <a:gd name="T55" fmla="*/ 164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88" h="232">
                  <a:moveTo>
                    <a:pt x="154" y="229"/>
                  </a:moveTo>
                  <a:cubicBezTo>
                    <a:pt x="142" y="190"/>
                    <a:pt x="142" y="190"/>
                    <a:pt x="142" y="190"/>
                  </a:cubicBezTo>
                  <a:cubicBezTo>
                    <a:pt x="142" y="190"/>
                    <a:pt x="141" y="189"/>
                    <a:pt x="140" y="189"/>
                  </a:cubicBezTo>
                  <a:cubicBezTo>
                    <a:pt x="47" y="189"/>
                    <a:pt x="47" y="189"/>
                    <a:pt x="47" y="189"/>
                  </a:cubicBezTo>
                  <a:cubicBezTo>
                    <a:pt x="46" y="189"/>
                    <a:pt x="46" y="190"/>
                    <a:pt x="46" y="190"/>
                  </a:cubicBezTo>
                  <a:cubicBezTo>
                    <a:pt x="34" y="229"/>
                    <a:pt x="34" y="229"/>
                    <a:pt x="34" y="229"/>
                  </a:cubicBezTo>
                  <a:cubicBezTo>
                    <a:pt x="33" y="231"/>
                    <a:pt x="32" y="232"/>
                    <a:pt x="30" y="232"/>
                  </a:cubicBezTo>
                  <a:cubicBezTo>
                    <a:pt x="3" y="232"/>
                    <a:pt x="3" y="232"/>
                    <a:pt x="3" y="232"/>
                  </a:cubicBezTo>
                  <a:cubicBezTo>
                    <a:pt x="1" y="232"/>
                    <a:pt x="0" y="231"/>
                    <a:pt x="0" y="228"/>
                  </a:cubicBezTo>
                  <a:cubicBezTo>
                    <a:pt x="73" y="2"/>
                    <a:pt x="73" y="2"/>
                    <a:pt x="73" y="2"/>
                  </a:cubicBezTo>
                  <a:cubicBezTo>
                    <a:pt x="73" y="1"/>
                    <a:pt x="75" y="0"/>
                    <a:pt x="77" y="0"/>
                  </a:cubicBezTo>
                  <a:cubicBezTo>
                    <a:pt x="110" y="0"/>
                    <a:pt x="110" y="0"/>
                    <a:pt x="110" y="0"/>
                  </a:cubicBezTo>
                  <a:cubicBezTo>
                    <a:pt x="112" y="0"/>
                    <a:pt x="114" y="1"/>
                    <a:pt x="114" y="2"/>
                  </a:cubicBezTo>
                  <a:cubicBezTo>
                    <a:pt x="187" y="228"/>
                    <a:pt x="187" y="228"/>
                    <a:pt x="187" y="228"/>
                  </a:cubicBezTo>
                  <a:cubicBezTo>
                    <a:pt x="188" y="229"/>
                    <a:pt x="188" y="229"/>
                    <a:pt x="188" y="229"/>
                  </a:cubicBezTo>
                  <a:cubicBezTo>
                    <a:pt x="188" y="231"/>
                    <a:pt x="187" y="232"/>
                    <a:pt x="185" y="232"/>
                  </a:cubicBezTo>
                  <a:cubicBezTo>
                    <a:pt x="158" y="232"/>
                    <a:pt x="158" y="232"/>
                    <a:pt x="158" y="232"/>
                  </a:cubicBezTo>
                  <a:cubicBezTo>
                    <a:pt x="156" y="232"/>
                    <a:pt x="154" y="231"/>
                    <a:pt x="154" y="229"/>
                  </a:cubicBezTo>
                  <a:moveTo>
                    <a:pt x="55" y="164"/>
                  </a:moveTo>
                  <a:cubicBezTo>
                    <a:pt x="55" y="164"/>
                    <a:pt x="55" y="164"/>
                    <a:pt x="56" y="164"/>
                  </a:cubicBezTo>
                  <a:cubicBezTo>
                    <a:pt x="132" y="164"/>
                    <a:pt x="132" y="164"/>
                    <a:pt x="132" y="164"/>
                  </a:cubicBezTo>
                  <a:cubicBezTo>
                    <a:pt x="132" y="164"/>
                    <a:pt x="133" y="164"/>
                    <a:pt x="133" y="164"/>
                  </a:cubicBezTo>
                  <a:cubicBezTo>
                    <a:pt x="133" y="163"/>
                    <a:pt x="133" y="163"/>
                    <a:pt x="133" y="162"/>
                  </a:cubicBezTo>
                  <a:cubicBezTo>
                    <a:pt x="94" y="40"/>
                    <a:pt x="94" y="40"/>
                    <a:pt x="94" y="40"/>
                  </a:cubicBezTo>
                  <a:cubicBezTo>
                    <a:pt x="94" y="39"/>
                    <a:pt x="94" y="39"/>
                    <a:pt x="93" y="39"/>
                  </a:cubicBezTo>
                  <a:cubicBezTo>
                    <a:pt x="93" y="39"/>
                    <a:pt x="93" y="39"/>
                    <a:pt x="92" y="40"/>
                  </a:cubicBezTo>
                  <a:cubicBezTo>
                    <a:pt x="54" y="163"/>
                    <a:pt x="54" y="163"/>
                    <a:pt x="54" y="163"/>
                  </a:cubicBezTo>
                  <a:cubicBezTo>
                    <a:pt x="54" y="163"/>
                    <a:pt x="54" y="163"/>
                    <a:pt x="55" y="164"/>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6" name="Freeform 42">
              <a:extLst>
                <a:ext uri="{FF2B5EF4-FFF2-40B4-BE49-F238E27FC236}">
                  <a16:creationId xmlns:a16="http://schemas.microsoft.com/office/drawing/2014/main" id="{ACF37363-8415-02D8-3194-6204BF5673AA}"/>
                </a:ext>
              </a:extLst>
            </p:cNvPr>
            <p:cNvSpPr>
              <a:spLocks/>
            </p:cNvSpPr>
            <p:nvPr userDrawn="1"/>
          </p:nvSpPr>
          <p:spPr bwMode="auto">
            <a:xfrm>
              <a:off x="6750" y="2962"/>
              <a:ext cx="52" cy="72"/>
            </a:xfrm>
            <a:custGeom>
              <a:avLst/>
              <a:gdLst>
                <a:gd name="T0" fmla="*/ 140 w 168"/>
                <a:gd name="T1" fmla="*/ 0 h 232"/>
                <a:gd name="T2" fmla="*/ 165 w 168"/>
                <a:gd name="T3" fmla="*/ 0 h 232"/>
                <a:gd name="T4" fmla="*/ 168 w 168"/>
                <a:gd name="T5" fmla="*/ 3 h 232"/>
                <a:gd name="T6" fmla="*/ 168 w 168"/>
                <a:gd name="T7" fmla="*/ 228 h 232"/>
                <a:gd name="T8" fmla="*/ 165 w 168"/>
                <a:gd name="T9" fmla="*/ 232 h 232"/>
                <a:gd name="T10" fmla="*/ 141 w 168"/>
                <a:gd name="T11" fmla="*/ 232 h 232"/>
                <a:gd name="T12" fmla="*/ 137 w 168"/>
                <a:gd name="T13" fmla="*/ 229 h 232"/>
                <a:gd name="T14" fmla="*/ 33 w 168"/>
                <a:gd name="T15" fmla="*/ 60 h 232"/>
                <a:gd name="T16" fmla="*/ 32 w 168"/>
                <a:gd name="T17" fmla="*/ 59 h 232"/>
                <a:gd name="T18" fmla="*/ 31 w 168"/>
                <a:gd name="T19" fmla="*/ 60 h 232"/>
                <a:gd name="T20" fmla="*/ 32 w 168"/>
                <a:gd name="T21" fmla="*/ 228 h 232"/>
                <a:gd name="T22" fmla="*/ 28 w 168"/>
                <a:gd name="T23" fmla="*/ 232 h 232"/>
                <a:gd name="T24" fmla="*/ 3 w 168"/>
                <a:gd name="T25" fmla="*/ 232 h 232"/>
                <a:gd name="T26" fmla="*/ 0 w 168"/>
                <a:gd name="T27" fmla="*/ 228 h 232"/>
                <a:gd name="T28" fmla="*/ 0 w 168"/>
                <a:gd name="T29" fmla="*/ 3 h 232"/>
                <a:gd name="T30" fmla="*/ 3 w 168"/>
                <a:gd name="T31" fmla="*/ 0 h 232"/>
                <a:gd name="T32" fmla="*/ 28 w 168"/>
                <a:gd name="T33" fmla="*/ 0 h 232"/>
                <a:gd name="T34" fmla="*/ 32 w 168"/>
                <a:gd name="T35" fmla="*/ 2 h 232"/>
                <a:gd name="T36" fmla="*/ 135 w 168"/>
                <a:gd name="T37" fmla="*/ 171 h 232"/>
                <a:gd name="T38" fmla="*/ 136 w 168"/>
                <a:gd name="T39" fmla="*/ 172 h 232"/>
                <a:gd name="T40" fmla="*/ 137 w 168"/>
                <a:gd name="T41" fmla="*/ 171 h 232"/>
                <a:gd name="T42" fmla="*/ 136 w 168"/>
                <a:gd name="T43" fmla="*/ 3 h 232"/>
                <a:gd name="T44" fmla="*/ 140 w 168"/>
                <a:gd name="T45" fmla="*/ 0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8" h="232">
                  <a:moveTo>
                    <a:pt x="140" y="0"/>
                  </a:moveTo>
                  <a:cubicBezTo>
                    <a:pt x="165" y="0"/>
                    <a:pt x="165" y="0"/>
                    <a:pt x="165" y="0"/>
                  </a:cubicBezTo>
                  <a:cubicBezTo>
                    <a:pt x="167" y="0"/>
                    <a:pt x="168" y="1"/>
                    <a:pt x="168" y="3"/>
                  </a:cubicBezTo>
                  <a:cubicBezTo>
                    <a:pt x="168" y="228"/>
                    <a:pt x="168" y="228"/>
                    <a:pt x="168" y="228"/>
                  </a:cubicBezTo>
                  <a:cubicBezTo>
                    <a:pt x="168" y="230"/>
                    <a:pt x="167" y="232"/>
                    <a:pt x="165" y="232"/>
                  </a:cubicBezTo>
                  <a:cubicBezTo>
                    <a:pt x="141" y="232"/>
                    <a:pt x="141" y="232"/>
                    <a:pt x="141" y="232"/>
                  </a:cubicBezTo>
                  <a:cubicBezTo>
                    <a:pt x="139" y="232"/>
                    <a:pt x="138" y="231"/>
                    <a:pt x="137" y="229"/>
                  </a:cubicBezTo>
                  <a:cubicBezTo>
                    <a:pt x="33" y="60"/>
                    <a:pt x="33" y="60"/>
                    <a:pt x="33" y="60"/>
                  </a:cubicBezTo>
                  <a:cubicBezTo>
                    <a:pt x="33" y="59"/>
                    <a:pt x="32" y="59"/>
                    <a:pt x="32" y="59"/>
                  </a:cubicBezTo>
                  <a:cubicBezTo>
                    <a:pt x="32" y="59"/>
                    <a:pt x="31" y="60"/>
                    <a:pt x="31" y="60"/>
                  </a:cubicBezTo>
                  <a:cubicBezTo>
                    <a:pt x="32" y="228"/>
                    <a:pt x="32" y="228"/>
                    <a:pt x="32" y="228"/>
                  </a:cubicBezTo>
                  <a:cubicBezTo>
                    <a:pt x="32" y="231"/>
                    <a:pt x="31" y="232"/>
                    <a:pt x="28" y="232"/>
                  </a:cubicBezTo>
                  <a:cubicBezTo>
                    <a:pt x="3" y="232"/>
                    <a:pt x="3" y="232"/>
                    <a:pt x="3" y="232"/>
                  </a:cubicBezTo>
                  <a:cubicBezTo>
                    <a:pt x="1" y="232"/>
                    <a:pt x="0" y="231"/>
                    <a:pt x="0" y="228"/>
                  </a:cubicBezTo>
                  <a:cubicBezTo>
                    <a:pt x="0" y="3"/>
                    <a:pt x="0" y="3"/>
                    <a:pt x="0" y="3"/>
                  </a:cubicBezTo>
                  <a:cubicBezTo>
                    <a:pt x="0" y="1"/>
                    <a:pt x="1" y="0"/>
                    <a:pt x="3" y="0"/>
                  </a:cubicBezTo>
                  <a:cubicBezTo>
                    <a:pt x="28" y="0"/>
                    <a:pt x="28" y="0"/>
                    <a:pt x="28" y="0"/>
                  </a:cubicBezTo>
                  <a:cubicBezTo>
                    <a:pt x="29" y="0"/>
                    <a:pt x="31" y="1"/>
                    <a:pt x="32" y="2"/>
                  </a:cubicBezTo>
                  <a:cubicBezTo>
                    <a:pt x="135" y="171"/>
                    <a:pt x="135" y="171"/>
                    <a:pt x="135" y="171"/>
                  </a:cubicBezTo>
                  <a:cubicBezTo>
                    <a:pt x="135" y="172"/>
                    <a:pt x="136" y="172"/>
                    <a:pt x="136" y="172"/>
                  </a:cubicBezTo>
                  <a:cubicBezTo>
                    <a:pt x="137" y="172"/>
                    <a:pt x="137" y="172"/>
                    <a:pt x="137" y="171"/>
                  </a:cubicBezTo>
                  <a:cubicBezTo>
                    <a:pt x="136" y="3"/>
                    <a:pt x="136" y="3"/>
                    <a:pt x="136" y="3"/>
                  </a:cubicBezTo>
                  <a:cubicBezTo>
                    <a:pt x="136" y="1"/>
                    <a:pt x="137" y="0"/>
                    <a:pt x="140" y="0"/>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7" name="Freeform 43">
              <a:extLst>
                <a:ext uri="{FF2B5EF4-FFF2-40B4-BE49-F238E27FC236}">
                  <a16:creationId xmlns:a16="http://schemas.microsoft.com/office/drawing/2014/main" id="{7985D20F-9BE4-BD87-FBC8-4B0DAA63A663}"/>
                </a:ext>
              </a:extLst>
            </p:cNvPr>
            <p:cNvSpPr>
              <a:spLocks/>
            </p:cNvSpPr>
            <p:nvPr userDrawn="1"/>
          </p:nvSpPr>
          <p:spPr bwMode="auto">
            <a:xfrm>
              <a:off x="6819" y="2962"/>
              <a:ext cx="9" cy="72"/>
            </a:xfrm>
            <a:custGeom>
              <a:avLst/>
              <a:gdLst>
                <a:gd name="T0" fmla="*/ 3 w 32"/>
                <a:gd name="T1" fmla="*/ 0 h 232"/>
                <a:gd name="T2" fmla="*/ 29 w 32"/>
                <a:gd name="T3" fmla="*/ 0 h 232"/>
                <a:gd name="T4" fmla="*/ 32 w 32"/>
                <a:gd name="T5" fmla="*/ 3 h 232"/>
                <a:gd name="T6" fmla="*/ 32 w 32"/>
                <a:gd name="T7" fmla="*/ 228 h 232"/>
                <a:gd name="T8" fmla="*/ 29 w 32"/>
                <a:gd name="T9" fmla="*/ 232 h 232"/>
                <a:gd name="T10" fmla="*/ 4 w 32"/>
                <a:gd name="T11" fmla="*/ 232 h 232"/>
                <a:gd name="T12" fmla="*/ 0 w 32"/>
                <a:gd name="T13" fmla="*/ 228 h 232"/>
                <a:gd name="T14" fmla="*/ 0 w 32"/>
                <a:gd name="T15" fmla="*/ 3 h 232"/>
                <a:gd name="T16" fmla="*/ 3 w 32"/>
                <a:gd name="T17" fmla="*/ 0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232">
                  <a:moveTo>
                    <a:pt x="3" y="0"/>
                  </a:moveTo>
                  <a:cubicBezTo>
                    <a:pt x="29" y="0"/>
                    <a:pt x="29" y="0"/>
                    <a:pt x="29" y="0"/>
                  </a:cubicBezTo>
                  <a:cubicBezTo>
                    <a:pt x="31" y="0"/>
                    <a:pt x="32" y="1"/>
                    <a:pt x="32" y="3"/>
                  </a:cubicBezTo>
                  <a:cubicBezTo>
                    <a:pt x="32" y="228"/>
                    <a:pt x="32" y="228"/>
                    <a:pt x="32" y="228"/>
                  </a:cubicBezTo>
                  <a:cubicBezTo>
                    <a:pt x="32" y="230"/>
                    <a:pt x="31" y="232"/>
                    <a:pt x="29" y="232"/>
                  </a:cubicBezTo>
                  <a:cubicBezTo>
                    <a:pt x="4" y="232"/>
                    <a:pt x="4" y="232"/>
                    <a:pt x="4" y="232"/>
                  </a:cubicBezTo>
                  <a:cubicBezTo>
                    <a:pt x="1" y="232"/>
                    <a:pt x="0" y="230"/>
                    <a:pt x="0" y="228"/>
                  </a:cubicBezTo>
                  <a:cubicBezTo>
                    <a:pt x="0" y="3"/>
                    <a:pt x="0" y="3"/>
                    <a:pt x="0" y="3"/>
                  </a:cubicBezTo>
                  <a:cubicBezTo>
                    <a:pt x="0" y="1"/>
                    <a:pt x="1" y="0"/>
                    <a:pt x="3" y="0"/>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8" name="Freeform 44">
              <a:extLst>
                <a:ext uri="{FF2B5EF4-FFF2-40B4-BE49-F238E27FC236}">
                  <a16:creationId xmlns:a16="http://schemas.microsoft.com/office/drawing/2014/main" id="{99332342-AB37-AF01-7E06-004E93B7C883}"/>
                </a:ext>
              </a:extLst>
            </p:cNvPr>
            <p:cNvSpPr>
              <a:spLocks/>
            </p:cNvSpPr>
            <p:nvPr userDrawn="1"/>
          </p:nvSpPr>
          <p:spPr bwMode="auto">
            <a:xfrm>
              <a:off x="6845" y="2962"/>
              <a:ext cx="48" cy="72"/>
            </a:xfrm>
            <a:custGeom>
              <a:avLst/>
              <a:gdLst>
                <a:gd name="T0" fmla="*/ 150 w 154"/>
                <a:gd name="T1" fmla="*/ 27 h 231"/>
                <a:gd name="T2" fmla="*/ 33 w 154"/>
                <a:gd name="T3" fmla="*/ 27 h 231"/>
                <a:gd name="T4" fmla="*/ 32 w 154"/>
                <a:gd name="T5" fmla="*/ 28 h 231"/>
                <a:gd name="T6" fmla="*/ 32 w 154"/>
                <a:gd name="T7" fmla="*/ 100 h 231"/>
                <a:gd name="T8" fmla="*/ 33 w 154"/>
                <a:gd name="T9" fmla="*/ 101 h 231"/>
                <a:gd name="T10" fmla="*/ 114 w 154"/>
                <a:gd name="T11" fmla="*/ 101 h 231"/>
                <a:gd name="T12" fmla="*/ 117 w 154"/>
                <a:gd name="T13" fmla="*/ 104 h 231"/>
                <a:gd name="T14" fmla="*/ 117 w 154"/>
                <a:gd name="T15" fmla="*/ 125 h 231"/>
                <a:gd name="T16" fmla="*/ 114 w 154"/>
                <a:gd name="T17" fmla="*/ 128 h 231"/>
                <a:gd name="T18" fmla="*/ 33 w 154"/>
                <a:gd name="T19" fmla="*/ 128 h 231"/>
                <a:gd name="T20" fmla="*/ 32 w 154"/>
                <a:gd name="T21" fmla="*/ 130 h 231"/>
                <a:gd name="T22" fmla="*/ 32 w 154"/>
                <a:gd name="T23" fmla="*/ 203 h 231"/>
                <a:gd name="T24" fmla="*/ 33 w 154"/>
                <a:gd name="T25" fmla="*/ 204 h 231"/>
                <a:gd name="T26" fmla="*/ 150 w 154"/>
                <a:gd name="T27" fmla="*/ 204 h 231"/>
                <a:gd name="T28" fmla="*/ 154 w 154"/>
                <a:gd name="T29" fmla="*/ 207 h 231"/>
                <a:gd name="T30" fmla="*/ 154 w 154"/>
                <a:gd name="T31" fmla="*/ 228 h 231"/>
                <a:gd name="T32" fmla="*/ 150 w 154"/>
                <a:gd name="T33" fmla="*/ 231 h 231"/>
                <a:gd name="T34" fmla="*/ 3 w 154"/>
                <a:gd name="T35" fmla="*/ 231 h 231"/>
                <a:gd name="T36" fmla="*/ 0 w 154"/>
                <a:gd name="T37" fmla="*/ 228 h 231"/>
                <a:gd name="T38" fmla="*/ 0 w 154"/>
                <a:gd name="T39" fmla="*/ 3 h 231"/>
                <a:gd name="T40" fmla="*/ 3 w 154"/>
                <a:gd name="T41" fmla="*/ 0 h 231"/>
                <a:gd name="T42" fmla="*/ 150 w 154"/>
                <a:gd name="T43" fmla="*/ 0 h 231"/>
                <a:gd name="T44" fmla="*/ 154 w 154"/>
                <a:gd name="T45" fmla="*/ 3 h 231"/>
                <a:gd name="T46" fmla="*/ 154 w 154"/>
                <a:gd name="T47" fmla="*/ 24 h 231"/>
                <a:gd name="T48" fmla="*/ 150 w 154"/>
                <a:gd name="T49" fmla="*/ 27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231">
                  <a:moveTo>
                    <a:pt x="150" y="27"/>
                  </a:moveTo>
                  <a:cubicBezTo>
                    <a:pt x="33" y="27"/>
                    <a:pt x="33" y="27"/>
                    <a:pt x="33" y="27"/>
                  </a:cubicBezTo>
                  <a:cubicBezTo>
                    <a:pt x="32" y="27"/>
                    <a:pt x="32" y="28"/>
                    <a:pt x="32" y="28"/>
                  </a:cubicBezTo>
                  <a:cubicBezTo>
                    <a:pt x="32" y="100"/>
                    <a:pt x="32" y="100"/>
                    <a:pt x="32" y="100"/>
                  </a:cubicBezTo>
                  <a:cubicBezTo>
                    <a:pt x="32" y="101"/>
                    <a:pt x="32" y="101"/>
                    <a:pt x="33" y="101"/>
                  </a:cubicBezTo>
                  <a:cubicBezTo>
                    <a:pt x="114" y="101"/>
                    <a:pt x="114" y="101"/>
                    <a:pt x="114" y="101"/>
                  </a:cubicBezTo>
                  <a:cubicBezTo>
                    <a:pt x="116" y="101"/>
                    <a:pt x="117" y="102"/>
                    <a:pt x="117" y="104"/>
                  </a:cubicBezTo>
                  <a:cubicBezTo>
                    <a:pt x="117" y="125"/>
                    <a:pt x="117" y="125"/>
                    <a:pt x="117" y="125"/>
                  </a:cubicBezTo>
                  <a:cubicBezTo>
                    <a:pt x="117" y="127"/>
                    <a:pt x="116" y="128"/>
                    <a:pt x="114" y="128"/>
                  </a:cubicBezTo>
                  <a:cubicBezTo>
                    <a:pt x="33" y="128"/>
                    <a:pt x="33" y="128"/>
                    <a:pt x="33" y="128"/>
                  </a:cubicBezTo>
                  <a:cubicBezTo>
                    <a:pt x="32" y="128"/>
                    <a:pt x="32" y="129"/>
                    <a:pt x="32" y="130"/>
                  </a:cubicBezTo>
                  <a:cubicBezTo>
                    <a:pt x="32" y="203"/>
                    <a:pt x="32" y="203"/>
                    <a:pt x="32" y="203"/>
                  </a:cubicBezTo>
                  <a:cubicBezTo>
                    <a:pt x="32" y="204"/>
                    <a:pt x="32" y="204"/>
                    <a:pt x="33" y="204"/>
                  </a:cubicBezTo>
                  <a:cubicBezTo>
                    <a:pt x="150" y="204"/>
                    <a:pt x="150" y="204"/>
                    <a:pt x="150" y="204"/>
                  </a:cubicBezTo>
                  <a:cubicBezTo>
                    <a:pt x="153" y="204"/>
                    <a:pt x="154" y="205"/>
                    <a:pt x="154" y="207"/>
                  </a:cubicBezTo>
                  <a:cubicBezTo>
                    <a:pt x="154" y="228"/>
                    <a:pt x="154" y="228"/>
                    <a:pt x="154" y="228"/>
                  </a:cubicBezTo>
                  <a:cubicBezTo>
                    <a:pt x="154" y="230"/>
                    <a:pt x="153" y="231"/>
                    <a:pt x="150" y="231"/>
                  </a:cubicBezTo>
                  <a:cubicBezTo>
                    <a:pt x="3" y="231"/>
                    <a:pt x="3" y="231"/>
                    <a:pt x="3" y="231"/>
                  </a:cubicBezTo>
                  <a:cubicBezTo>
                    <a:pt x="1" y="231"/>
                    <a:pt x="0" y="230"/>
                    <a:pt x="0" y="228"/>
                  </a:cubicBezTo>
                  <a:cubicBezTo>
                    <a:pt x="0" y="3"/>
                    <a:pt x="0" y="3"/>
                    <a:pt x="0" y="3"/>
                  </a:cubicBezTo>
                  <a:cubicBezTo>
                    <a:pt x="0" y="1"/>
                    <a:pt x="1" y="0"/>
                    <a:pt x="3" y="0"/>
                  </a:cubicBezTo>
                  <a:cubicBezTo>
                    <a:pt x="150" y="0"/>
                    <a:pt x="150" y="0"/>
                    <a:pt x="150" y="0"/>
                  </a:cubicBezTo>
                  <a:cubicBezTo>
                    <a:pt x="153" y="0"/>
                    <a:pt x="154" y="1"/>
                    <a:pt x="154" y="3"/>
                  </a:cubicBezTo>
                  <a:cubicBezTo>
                    <a:pt x="154" y="24"/>
                    <a:pt x="154" y="24"/>
                    <a:pt x="154" y="24"/>
                  </a:cubicBezTo>
                  <a:cubicBezTo>
                    <a:pt x="154" y="26"/>
                    <a:pt x="153" y="27"/>
                    <a:pt x="150" y="27"/>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9" name="Freeform 45">
              <a:extLst>
                <a:ext uri="{FF2B5EF4-FFF2-40B4-BE49-F238E27FC236}">
                  <a16:creationId xmlns:a16="http://schemas.microsoft.com/office/drawing/2014/main" id="{CB6D1926-FC1C-6007-45C5-010D0C56E47E}"/>
                </a:ext>
              </a:extLst>
            </p:cNvPr>
            <p:cNvSpPr>
              <a:spLocks/>
            </p:cNvSpPr>
            <p:nvPr userDrawn="1"/>
          </p:nvSpPr>
          <p:spPr bwMode="auto">
            <a:xfrm>
              <a:off x="6900" y="2961"/>
              <a:ext cx="51" cy="74"/>
            </a:xfrm>
            <a:custGeom>
              <a:avLst/>
              <a:gdLst>
                <a:gd name="T0" fmla="*/ 39 w 164"/>
                <a:gd name="T1" fmla="*/ 229 h 237"/>
                <a:gd name="T2" fmla="*/ 10 w 164"/>
                <a:gd name="T3" fmla="*/ 207 h 237"/>
                <a:gd name="T4" fmla="*/ 0 w 164"/>
                <a:gd name="T5" fmla="*/ 172 h 237"/>
                <a:gd name="T6" fmla="*/ 0 w 164"/>
                <a:gd name="T7" fmla="*/ 163 h 237"/>
                <a:gd name="T8" fmla="*/ 4 w 164"/>
                <a:gd name="T9" fmla="*/ 160 h 237"/>
                <a:gd name="T10" fmla="*/ 28 w 164"/>
                <a:gd name="T11" fmla="*/ 160 h 237"/>
                <a:gd name="T12" fmla="*/ 31 w 164"/>
                <a:gd name="T13" fmla="*/ 163 h 237"/>
                <a:gd name="T14" fmla="*/ 31 w 164"/>
                <a:gd name="T15" fmla="*/ 171 h 237"/>
                <a:gd name="T16" fmla="*/ 46 w 164"/>
                <a:gd name="T17" fmla="*/ 199 h 237"/>
                <a:gd name="T18" fmla="*/ 86 w 164"/>
                <a:gd name="T19" fmla="*/ 210 h 237"/>
                <a:gd name="T20" fmla="*/ 120 w 164"/>
                <a:gd name="T21" fmla="*/ 200 h 237"/>
                <a:gd name="T22" fmla="*/ 132 w 164"/>
                <a:gd name="T23" fmla="*/ 175 h 237"/>
                <a:gd name="T24" fmla="*/ 126 w 164"/>
                <a:gd name="T25" fmla="*/ 157 h 237"/>
                <a:gd name="T26" fmla="*/ 108 w 164"/>
                <a:gd name="T27" fmla="*/ 144 h 237"/>
                <a:gd name="T28" fmla="*/ 75 w 164"/>
                <a:gd name="T29" fmla="*/ 129 h 237"/>
                <a:gd name="T30" fmla="*/ 37 w 164"/>
                <a:gd name="T31" fmla="*/ 112 h 237"/>
                <a:gd name="T32" fmla="*/ 13 w 164"/>
                <a:gd name="T33" fmla="*/ 92 h 237"/>
                <a:gd name="T34" fmla="*/ 4 w 164"/>
                <a:gd name="T35" fmla="*/ 61 h 237"/>
                <a:gd name="T36" fmla="*/ 25 w 164"/>
                <a:gd name="T37" fmla="*/ 16 h 237"/>
                <a:gd name="T38" fmla="*/ 80 w 164"/>
                <a:gd name="T39" fmla="*/ 0 h 237"/>
                <a:gd name="T40" fmla="*/ 123 w 164"/>
                <a:gd name="T41" fmla="*/ 8 h 237"/>
                <a:gd name="T42" fmla="*/ 151 w 164"/>
                <a:gd name="T43" fmla="*/ 31 h 237"/>
                <a:gd name="T44" fmla="*/ 162 w 164"/>
                <a:gd name="T45" fmla="*/ 66 h 237"/>
                <a:gd name="T46" fmla="*/ 162 w 164"/>
                <a:gd name="T47" fmla="*/ 72 h 237"/>
                <a:gd name="T48" fmla="*/ 158 w 164"/>
                <a:gd name="T49" fmla="*/ 76 h 237"/>
                <a:gd name="T50" fmla="*/ 133 w 164"/>
                <a:gd name="T51" fmla="*/ 76 h 237"/>
                <a:gd name="T52" fmla="*/ 130 w 164"/>
                <a:gd name="T53" fmla="*/ 72 h 237"/>
                <a:gd name="T54" fmla="*/ 130 w 164"/>
                <a:gd name="T55" fmla="*/ 67 h 237"/>
                <a:gd name="T56" fmla="*/ 116 w 164"/>
                <a:gd name="T57" fmla="*/ 39 h 237"/>
                <a:gd name="T58" fmla="*/ 78 w 164"/>
                <a:gd name="T59" fmla="*/ 27 h 237"/>
                <a:gd name="T60" fmla="*/ 47 w 164"/>
                <a:gd name="T61" fmla="*/ 36 h 237"/>
                <a:gd name="T62" fmla="*/ 35 w 164"/>
                <a:gd name="T63" fmla="*/ 60 h 237"/>
                <a:gd name="T64" fmla="*/ 41 w 164"/>
                <a:gd name="T65" fmla="*/ 78 h 237"/>
                <a:gd name="T66" fmla="*/ 58 w 164"/>
                <a:gd name="T67" fmla="*/ 90 h 237"/>
                <a:gd name="T68" fmla="*/ 92 w 164"/>
                <a:gd name="T69" fmla="*/ 104 h 237"/>
                <a:gd name="T70" fmla="*/ 130 w 164"/>
                <a:gd name="T71" fmla="*/ 122 h 237"/>
                <a:gd name="T72" fmla="*/ 154 w 164"/>
                <a:gd name="T73" fmla="*/ 142 h 237"/>
                <a:gd name="T74" fmla="*/ 164 w 164"/>
                <a:gd name="T75" fmla="*/ 174 h 237"/>
                <a:gd name="T76" fmla="*/ 142 w 164"/>
                <a:gd name="T77" fmla="*/ 220 h 237"/>
                <a:gd name="T78" fmla="*/ 83 w 164"/>
                <a:gd name="T79" fmla="*/ 237 h 237"/>
                <a:gd name="T80" fmla="*/ 39 w 164"/>
                <a:gd name="T81" fmla="*/ 229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64" h="237">
                  <a:moveTo>
                    <a:pt x="39" y="229"/>
                  </a:moveTo>
                  <a:cubicBezTo>
                    <a:pt x="27" y="224"/>
                    <a:pt x="17" y="216"/>
                    <a:pt x="10" y="207"/>
                  </a:cubicBezTo>
                  <a:cubicBezTo>
                    <a:pt x="4" y="197"/>
                    <a:pt x="0" y="185"/>
                    <a:pt x="0" y="172"/>
                  </a:cubicBezTo>
                  <a:cubicBezTo>
                    <a:pt x="0" y="163"/>
                    <a:pt x="0" y="163"/>
                    <a:pt x="0" y="163"/>
                  </a:cubicBezTo>
                  <a:cubicBezTo>
                    <a:pt x="0" y="161"/>
                    <a:pt x="1" y="160"/>
                    <a:pt x="4" y="160"/>
                  </a:cubicBezTo>
                  <a:cubicBezTo>
                    <a:pt x="28" y="160"/>
                    <a:pt x="28" y="160"/>
                    <a:pt x="28" y="160"/>
                  </a:cubicBezTo>
                  <a:cubicBezTo>
                    <a:pt x="30" y="160"/>
                    <a:pt x="31" y="161"/>
                    <a:pt x="31" y="163"/>
                  </a:cubicBezTo>
                  <a:cubicBezTo>
                    <a:pt x="31" y="171"/>
                    <a:pt x="31" y="171"/>
                    <a:pt x="31" y="171"/>
                  </a:cubicBezTo>
                  <a:cubicBezTo>
                    <a:pt x="31" y="182"/>
                    <a:pt x="36" y="191"/>
                    <a:pt x="46" y="199"/>
                  </a:cubicBezTo>
                  <a:cubicBezTo>
                    <a:pt x="55" y="206"/>
                    <a:pt x="69" y="210"/>
                    <a:pt x="86" y="210"/>
                  </a:cubicBezTo>
                  <a:cubicBezTo>
                    <a:pt x="101" y="210"/>
                    <a:pt x="112" y="206"/>
                    <a:pt x="120" y="200"/>
                  </a:cubicBezTo>
                  <a:cubicBezTo>
                    <a:pt x="128" y="193"/>
                    <a:pt x="132" y="185"/>
                    <a:pt x="132" y="175"/>
                  </a:cubicBezTo>
                  <a:cubicBezTo>
                    <a:pt x="132" y="168"/>
                    <a:pt x="130" y="162"/>
                    <a:pt x="126" y="157"/>
                  </a:cubicBezTo>
                  <a:cubicBezTo>
                    <a:pt x="122" y="152"/>
                    <a:pt x="116" y="148"/>
                    <a:pt x="108" y="144"/>
                  </a:cubicBezTo>
                  <a:cubicBezTo>
                    <a:pt x="101" y="140"/>
                    <a:pt x="90" y="135"/>
                    <a:pt x="75" y="129"/>
                  </a:cubicBezTo>
                  <a:cubicBezTo>
                    <a:pt x="59" y="123"/>
                    <a:pt x="46" y="117"/>
                    <a:pt x="37" y="112"/>
                  </a:cubicBezTo>
                  <a:cubicBezTo>
                    <a:pt x="27" y="107"/>
                    <a:pt x="20" y="100"/>
                    <a:pt x="13" y="92"/>
                  </a:cubicBezTo>
                  <a:cubicBezTo>
                    <a:pt x="7" y="84"/>
                    <a:pt x="4" y="73"/>
                    <a:pt x="4" y="61"/>
                  </a:cubicBezTo>
                  <a:cubicBezTo>
                    <a:pt x="4" y="42"/>
                    <a:pt x="11" y="27"/>
                    <a:pt x="25" y="16"/>
                  </a:cubicBezTo>
                  <a:cubicBezTo>
                    <a:pt x="38" y="5"/>
                    <a:pt x="56" y="0"/>
                    <a:pt x="80" y="0"/>
                  </a:cubicBezTo>
                  <a:cubicBezTo>
                    <a:pt x="96" y="0"/>
                    <a:pt x="110" y="3"/>
                    <a:pt x="123" y="8"/>
                  </a:cubicBezTo>
                  <a:cubicBezTo>
                    <a:pt x="135" y="14"/>
                    <a:pt x="145" y="21"/>
                    <a:pt x="151" y="31"/>
                  </a:cubicBezTo>
                  <a:cubicBezTo>
                    <a:pt x="158" y="41"/>
                    <a:pt x="162" y="53"/>
                    <a:pt x="162" y="66"/>
                  </a:cubicBezTo>
                  <a:cubicBezTo>
                    <a:pt x="162" y="72"/>
                    <a:pt x="162" y="72"/>
                    <a:pt x="162" y="72"/>
                  </a:cubicBezTo>
                  <a:cubicBezTo>
                    <a:pt x="162" y="75"/>
                    <a:pt x="160" y="76"/>
                    <a:pt x="158" y="76"/>
                  </a:cubicBezTo>
                  <a:cubicBezTo>
                    <a:pt x="133" y="76"/>
                    <a:pt x="133" y="76"/>
                    <a:pt x="133" y="76"/>
                  </a:cubicBezTo>
                  <a:cubicBezTo>
                    <a:pt x="131" y="76"/>
                    <a:pt x="130" y="75"/>
                    <a:pt x="130" y="72"/>
                  </a:cubicBezTo>
                  <a:cubicBezTo>
                    <a:pt x="130" y="67"/>
                    <a:pt x="130" y="67"/>
                    <a:pt x="130" y="67"/>
                  </a:cubicBezTo>
                  <a:cubicBezTo>
                    <a:pt x="130" y="56"/>
                    <a:pt x="125" y="46"/>
                    <a:pt x="116" y="39"/>
                  </a:cubicBezTo>
                  <a:cubicBezTo>
                    <a:pt x="107" y="31"/>
                    <a:pt x="94" y="27"/>
                    <a:pt x="78" y="27"/>
                  </a:cubicBezTo>
                  <a:cubicBezTo>
                    <a:pt x="65" y="27"/>
                    <a:pt x="54" y="30"/>
                    <a:pt x="47" y="36"/>
                  </a:cubicBezTo>
                  <a:cubicBezTo>
                    <a:pt x="39" y="41"/>
                    <a:pt x="35" y="50"/>
                    <a:pt x="35" y="60"/>
                  </a:cubicBezTo>
                  <a:cubicBezTo>
                    <a:pt x="35" y="67"/>
                    <a:pt x="37" y="73"/>
                    <a:pt x="41" y="78"/>
                  </a:cubicBezTo>
                  <a:cubicBezTo>
                    <a:pt x="45" y="83"/>
                    <a:pt x="50" y="87"/>
                    <a:pt x="58" y="90"/>
                  </a:cubicBezTo>
                  <a:cubicBezTo>
                    <a:pt x="65" y="94"/>
                    <a:pt x="76" y="99"/>
                    <a:pt x="92" y="104"/>
                  </a:cubicBezTo>
                  <a:cubicBezTo>
                    <a:pt x="107" y="111"/>
                    <a:pt x="120" y="116"/>
                    <a:pt x="130" y="122"/>
                  </a:cubicBezTo>
                  <a:cubicBezTo>
                    <a:pt x="139" y="127"/>
                    <a:pt x="148" y="134"/>
                    <a:pt x="154" y="142"/>
                  </a:cubicBezTo>
                  <a:cubicBezTo>
                    <a:pt x="160" y="151"/>
                    <a:pt x="164" y="161"/>
                    <a:pt x="164" y="174"/>
                  </a:cubicBezTo>
                  <a:cubicBezTo>
                    <a:pt x="164" y="193"/>
                    <a:pt x="156" y="209"/>
                    <a:pt x="142" y="220"/>
                  </a:cubicBezTo>
                  <a:cubicBezTo>
                    <a:pt x="128" y="231"/>
                    <a:pt x="108" y="237"/>
                    <a:pt x="83" y="237"/>
                  </a:cubicBezTo>
                  <a:cubicBezTo>
                    <a:pt x="66" y="237"/>
                    <a:pt x="52" y="234"/>
                    <a:pt x="39" y="229"/>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0" name="Freeform 46">
              <a:extLst>
                <a:ext uri="{FF2B5EF4-FFF2-40B4-BE49-F238E27FC236}">
                  <a16:creationId xmlns:a16="http://schemas.microsoft.com/office/drawing/2014/main" id="{325D3E55-820D-B65B-34C5-127EB0624D01}"/>
                </a:ext>
              </a:extLst>
            </p:cNvPr>
            <p:cNvSpPr>
              <a:spLocks/>
            </p:cNvSpPr>
            <p:nvPr userDrawn="1"/>
          </p:nvSpPr>
          <p:spPr bwMode="auto">
            <a:xfrm>
              <a:off x="6980" y="2962"/>
              <a:ext cx="47" cy="72"/>
            </a:xfrm>
            <a:custGeom>
              <a:avLst/>
              <a:gdLst>
                <a:gd name="T0" fmla="*/ 51 w 150"/>
                <a:gd name="T1" fmla="*/ 113 h 230"/>
                <a:gd name="T2" fmla="*/ 1 w 150"/>
                <a:gd name="T3" fmla="*/ 12 h 230"/>
                <a:gd name="T4" fmla="*/ 0 w 150"/>
                <a:gd name="T5" fmla="*/ 7 h 230"/>
                <a:gd name="T6" fmla="*/ 8 w 150"/>
                <a:gd name="T7" fmla="*/ 0 h 230"/>
                <a:gd name="T8" fmla="*/ 89 w 150"/>
                <a:gd name="T9" fmla="*/ 0 h 230"/>
                <a:gd name="T10" fmla="*/ 100 w 150"/>
                <a:gd name="T11" fmla="*/ 7 h 230"/>
                <a:gd name="T12" fmla="*/ 149 w 150"/>
                <a:gd name="T13" fmla="*/ 108 h 230"/>
                <a:gd name="T14" fmla="*/ 150 w 150"/>
                <a:gd name="T15" fmla="*/ 115 h 230"/>
                <a:gd name="T16" fmla="*/ 149 w 150"/>
                <a:gd name="T17" fmla="*/ 121 h 230"/>
                <a:gd name="T18" fmla="*/ 100 w 150"/>
                <a:gd name="T19" fmla="*/ 222 h 230"/>
                <a:gd name="T20" fmla="*/ 89 w 150"/>
                <a:gd name="T21" fmla="*/ 230 h 230"/>
                <a:gd name="T22" fmla="*/ 8 w 150"/>
                <a:gd name="T23" fmla="*/ 230 h 230"/>
                <a:gd name="T24" fmla="*/ 0 w 150"/>
                <a:gd name="T25" fmla="*/ 223 h 230"/>
                <a:gd name="T26" fmla="*/ 1 w 150"/>
                <a:gd name="T27" fmla="*/ 218 h 230"/>
                <a:gd name="T28" fmla="*/ 51 w 150"/>
                <a:gd name="T29" fmla="*/ 117 h 230"/>
                <a:gd name="T30" fmla="*/ 51 w 150"/>
                <a:gd name="T31" fmla="*/ 113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50" h="230">
                  <a:moveTo>
                    <a:pt x="51" y="113"/>
                  </a:moveTo>
                  <a:cubicBezTo>
                    <a:pt x="1" y="12"/>
                    <a:pt x="1" y="12"/>
                    <a:pt x="1" y="12"/>
                  </a:cubicBezTo>
                  <a:cubicBezTo>
                    <a:pt x="0" y="7"/>
                    <a:pt x="0" y="7"/>
                    <a:pt x="0" y="7"/>
                  </a:cubicBezTo>
                  <a:cubicBezTo>
                    <a:pt x="0" y="2"/>
                    <a:pt x="3" y="0"/>
                    <a:pt x="8" y="0"/>
                  </a:cubicBezTo>
                  <a:cubicBezTo>
                    <a:pt x="89" y="0"/>
                    <a:pt x="89" y="0"/>
                    <a:pt x="89" y="0"/>
                  </a:cubicBezTo>
                  <a:cubicBezTo>
                    <a:pt x="94" y="0"/>
                    <a:pt x="98" y="2"/>
                    <a:pt x="100" y="7"/>
                  </a:cubicBezTo>
                  <a:cubicBezTo>
                    <a:pt x="149" y="108"/>
                    <a:pt x="149" y="108"/>
                    <a:pt x="149" y="108"/>
                  </a:cubicBezTo>
                  <a:cubicBezTo>
                    <a:pt x="150" y="110"/>
                    <a:pt x="150" y="112"/>
                    <a:pt x="150" y="115"/>
                  </a:cubicBezTo>
                  <a:cubicBezTo>
                    <a:pt x="150" y="117"/>
                    <a:pt x="150" y="120"/>
                    <a:pt x="149" y="121"/>
                  </a:cubicBezTo>
                  <a:cubicBezTo>
                    <a:pt x="100" y="222"/>
                    <a:pt x="100" y="222"/>
                    <a:pt x="100" y="222"/>
                  </a:cubicBezTo>
                  <a:cubicBezTo>
                    <a:pt x="98" y="227"/>
                    <a:pt x="94" y="230"/>
                    <a:pt x="89" y="230"/>
                  </a:cubicBezTo>
                  <a:cubicBezTo>
                    <a:pt x="8" y="230"/>
                    <a:pt x="8" y="230"/>
                    <a:pt x="8" y="230"/>
                  </a:cubicBezTo>
                  <a:cubicBezTo>
                    <a:pt x="3" y="230"/>
                    <a:pt x="0" y="227"/>
                    <a:pt x="0" y="223"/>
                  </a:cubicBezTo>
                  <a:cubicBezTo>
                    <a:pt x="1" y="218"/>
                    <a:pt x="1" y="218"/>
                    <a:pt x="1" y="218"/>
                  </a:cubicBezTo>
                  <a:cubicBezTo>
                    <a:pt x="51" y="117"/>
                    <a:pt x="51" y="117"/>
                    <a:pt x="51" y="117"/>
                  </a:cubicBezTo>
                  <a:cubicBezTo>
                    <a:pt x="52" y="116"/>
                    <a:pt x="52" y="114"/>
                    <a:pt x="51" y="113"/>
                  </a:cubicBezTo>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1" name="Freeform 47">
              <a:extLst>
                <a:ext uri="{FF2B5EF4-FFF2-40B4-BE49-F238E27FC236}">
                  <a16:creationId xmlns:a16="http://schemas.microsoft.com/office/drawing/2014/main" id="{AE6FE7FF-3D06-4772-342C-905797B1C549}"/>
                </a:ext>
              </a:extLst>
            </p:cNvPr>
            <p:cNvSpPr>
              <a:spLocks/>
            </p:cNvSpPr>
            <p:nvPr userDrawn="1"/>
          </p:nvSpPr>
          <p:spPr bwMode="auto">
            <a:xfrm>
              <a:off x="7027" y="2962"/>
              <a:ext cx="46" cy="72"/>
            </a:xfrm>
            <a:custGeom>
              <a:avLst/>
              <a:gdLst>
                <a:gd name="T0" fmla="*/ 51 w 150"/>
                <a:gd name="T1" fmla="*/ 113 h 230"/>
                <a:gd name="T2" fmla="*/ 1 w 150"/>
                <a:gd name="T3" fmla="*/ 12 h 230"/>
                <a:gd name="T4" fmla="*/ 0 w 150"/>
                <a:gd name="T5" fmla="*/ 7 h 230"/>
                <a:gd name="T6" fmla="*/ 8 w 150"/>
                <a:gd name="T7" fmla="*/ 0 h 230"/>
                <a:gd name="T8" fmla="*/ 89 w 150"/>
                <a:gd name="T9" fmla="*/ 0 h 230"/>
                <a:gd name="T10" fmla="*/ 100 w 150"/>
                <a:gd name="T11" fmla="*/ 7 h 230"/>
                <a:gd name="T12" fmla="*/ 149 w 150"/>
                <a:gd name="T13" fmla="*/ 108 h 230"/>
                <a:gd name="T14" fmla="*/ 150 w 150"/>
                <a:gd name="T15" fmla="*/ 115 h 230"/>
                <a:gd name="T16" fmla="*/ 149 w 150"/>
                <a:gd name="T17" fmla="*/ 121 h 230"/>
                <a:gd name="T18" fmla="*/ 100 w 150"/>
                <a:gd name="T19" fmla="*/ 222 h 230"/>
                <a:gd name="T20" fmla="*/ 89 w 150"/>
                <a:gd name="T21" fmla="*/ 230 h 230"/>
                <a:gd name="T22" fmla="*/ 8 w 150"/>
                <a:gd name="T23" fmla="*/ 230 h 230"/>
                <a:gd name="T24" fmla="*/ 0 w 150"/>
                <a:gd name="T25" fmla="*/ 223 h 230"/>
                <a:gd name="T26" fmla="*/ 1 w 150"/>
                <a:gd name="T27" fmla="*/ 218 h 230"/>
                <a:gd name="T28" fmla="*/ 51 w 150"/>
                <a:gd name="T29" fmla="*/ 117 h 230"/>
                <a:gd name="T30" fmla="*/ 51 w 150"/>
                <a:gd name="T31" fmla="*/ 113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50" h="230">
                  <a:moveTo>
                    <a:pt x="51" y="113"/>
                  </a:moveTo>
                  <a:cubicBezTo>
                    <a:pt x="1" y="12"/>
                    <a:pt x="1" y="12"/>
                    <a:pt x="1" y="12"/>
                  </a:cubicBezTo>
                  <a:cubicBezTo>
                    <a:pt x="0" y="7"/>
                    <a:pt x="0" y="7"/>
                    <a:pt x="0" y="7"/>
                  </a:cubicBezTo>
                  <a:cubicBezTo>
                    <a:pt x="0" y="2"/>
                    <a:pt x="3" y="0"/>
                    <a:pt x="8" y="0"/>
                  </a:cubicBezTo>
                  <a:cubicBezTo>
                    <a:pt x="89" y="0"/>
                    <a:pt x="89" y="0"/>
                    <a:pt x="89" y="0"/>
                  </a:cubicBezTo>
                  <a:cubicBezTo>
                    <a:pt x="94" y="0"/>
                    <a:pt x="98" y="2"/>
                    <a:pt x="100" y="7"/>
                  </a:cubicBezTo>
                  <a:cubicBezTo>
                    <a:pt x="149" y="108"/>
                    <a:pt x="149" y="108"/>
                    <a:pt x="149" y="108"/>
                  </a:cubicBezTo>
                  <a:cubicBezTo>
                    <a:pt x="150" y="110"/>
                    <a:pt x="150" y="112"/>
                    <a:pt x="150" y="115"/>
                  </a:cubicBezTo>
                  <a:cubicBezTo>
                    <a:pt x="150" y="117"/>
                    <a:pt x="150" y="120"/>
                    <a:pt x="149" y="121"/>
                  </a:cubicBezTo>
                  <a:cubicBezTo>
                    <a:pt x="100" y="222"/>
                    <a:pt x="100" y="222"/>
                    <a:pt x="100" y="222"/>
                  </a:cubicBezTo>
                  <a:cubicBezTo>
                    <a:pt x="98" y="227"/>
                    <a:pt x="94" y="230"/>
                    <a:pt x="89" y="230"/>
                  </a:cubicBezTo>
                  <a:cubicBezTo>
                    <a:pt x="8" y="230"/>
                    <a:pt x="8" y="230"/>
                    <a:pt x="8" y="230"/>
                  </a:cubicBezTo>
                  <a:cubicBezTo>
                    <a:pt x="3" y="230"/>
                    <a:pt x="0" y="227"/>
                    <a:pt x="0" y="223"/>
                  </a:cubicBezTo>
                  <a:cubicBezTo>
                    <a:pt x="1" y="218"/>
                    <a:pt x="1" y="218"/>
                    <a:pt x="1" y="218"/>
                  </a:cubicBezTo>
                  <a:cubicBezTo>
                    <a:pt x="51" y="117"/>
                    <a:pt x="51" y="117"/>
                    <a:pt x="51" y="117"/>
                  </a:cubicBezTo>
                  <a:cubicBezTo>
                    <a:pt x="52" y="116"/>
                    <a:pt x="52" y="114"/>
                    <a:pt x="51" y="113"/>
                  </a:cubicBezTo>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2" name="Freeform 48">
              <a:extLst>
                <a:ext uri="{FF2B5EF4-FFF2-40B4-BE49-F238E27FC236}">
                  <a16:creationId xmlns:a16="http://schemas.microsoft.com/office/drawing/2014/main" id="{75DB51F4-636A-C341-BDD4-9A4F2EB3FE06}"/>
                </a:ext>
              </a:extLst>
            </p:cNvPr>
            <p:cNvSpPr>
              <a:spLocks/>
            </p:cNvSpPr>
            <p:nvPr userDrawn="1"/>
          </p:nvSpPr>
          <p:spPr bwMode="auto">
            <a:xfrm>
              <a:off x="6291" y="2858"/>
              <a:ext cx="111" cy="176"/>
            </a:xfrm>
            <a:custGeom>
              <a:avLst/>
              <a:gdLst>
                <a:gd name="T0" fmla="*/ 174 w 355"/>
                <a:gd name="T1" fmla="*/ 141 h 564"/>
                <a:gd name="T2" fmla="*/ 161 w 355"/>
                <a:gd name="T3" fmla="*/ 179 h 564"/>
                <a:gd name="T4" fmla="*/ 284 w 355"/>
                <a:gd name="T5" fmla="*/ 277 h 564"/>
                <a:gd name="T6" fmla="*/ 355 w 355"/>
                <a:gd name="T7" fmla="*/ 422 h 564"/>
                <a:gd name="T8" fmla="*/ 314 w 355"/>
                <a:gd name="T9" fmla="*/ 522 h 564"/>
                <a:gd name="T10" fmla="*/ 214 w 355"/>
                <a:gd name="T11" fmla="*/ 564 h 564"/>
                <a:gd name="T12" fmla="*/ 7 w 355"/>
                <a:gd name="T13" fmla="*/ 564 h 564"/>
                <a:gd name="T14" fmla="*/ 0 w 355"/>
                <a:gd name="T15" fmla="*/ 557 h 564"/>
                <a:gd name="T16" fmla="*/ 0 w 355"/>
                <a:gd name="T17" fmla="*/ 429 h 564"/>
                <a:gd name="T18" fmla="*/ 7 w 355"/>
                <a:gd name="T19" fmla="*/ 422 h 564"/>
                <a:gd name="T20" fmla="*/ 181 w 355"/>
                <a:gd name="T21" fmla="*/ 422 h 564"/>
                <a:gd name="T22" fmla="*/ 194 w 355"/>
                <a:gd name="T23" fmla="*/ 385 h 564"/>
                <a:gd name="T24" fmla="*/ 70 w 355"/>
                <a:gd name="T25" fmla="*/ 287 h 564"/>
                <a:gd name="T26" fmla="*/ 0 w 355"/>
                <a:gd name="T27" fmla="*/ 141 h 564"/>
                <a:gd name="T28" fmla="*/ 141 w 355"/>
                <a:gd name="T29" fmla="*/ 0 h 564"/>
                <a:gd name="T30" fmla="*/ 320 w 355"/>
                <a:gd name="T31" fmla="*/ 0 h 564"/>
                <a:gd name="T32" fmla="*/ 334 w 355"/>
                <a:gd name="T33" fmla="*/ 14 h 564"/>
                <a:gd name="T34" fmla="*/ 334 w 355"/>
                <a:gd name="T35" fmla="*/ 127 h 564"/>
                <a:gd name="T36" fmla="*/ 320 w 355"/>
                <a:gd name="T37" fmla="*/ 141 h 564"/>
                <a:gd name="T38" fmla="*/ 174 w 355"/>
                <a:gd name="T39" fmla="*/ 141 h 5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55" h="564">
                  <a:moveTo>
                    <a:pt x="174" y="141"/>
                  </a:moveTo>
                  <a:cubicBezTo>
                    <a:pt x="154" y="141"/>
                    <a:pt x="145" y="166"/>
                    <a:pt x="161" y="179"/>
                  </a:cubicBezTo>
                  <a:cubicBezTo>
                    <a:pt x="284" y="277"/>
                    <a:pt x="284" y="277"/>
                    <a:pt x="284" y="277"/>
                  </a:cubicBezTo>
                  <a:cubicBezTo>
                    <a:pt x="329" y="312"/>
                    <a:pt x="355" y="366"/>
                    <a:pt x="355" y="422"/>
                  </a:cubicBezTo>
                  <a:cubicBezTo>
                    <a:pt x="355" y="461"/>
                    <a:pt x="339" y="497"/>
                    <a:pt x="314" y="522"/>
                  </a:cubicBezTo>
                  <a:cubicBezTo>
                    <a:pt x="288" y="548"/>
                    <a:pt x="253" y="564"/>
                    <a:pt x="214" y="564"/>
                  </a:cubicBezTo>
                  <a:cubicBezTo>
                    <a:pt x="7" y="564"/>
                    <a:pt x="7" y="564"/>
                    <a:pt x="7" y="564"/>
                  </a:cubicBezTo>
                  <a:cubicBezTo>
                    <a:pt x="3" y="564"/>
                    <a:pt x="0" y="560"/>
                    <a:pt x="0" y="557"/>
                  </a:cubicBezTo>
                  <a:cubicBezTo>
                    <a:pt x="0" y="429"/>
                    <a:pt x="0" y="429"/>
                    <a:pt x="0" y="429"/>
                  </a:cubicBezTo>
                  <a:cubicBezTo>
                    <a:pt x="0" y="426"/>
                    <a:pt x="3" y="422"/>
                    <a:pt x="7" y="422"/>
                  </a:cubicBezTo>
                  <a:cubicBezTo>
                    <a:pt x="181" y="422"/>
                    <a:pt x="181" y="422"/>
                    <a:pt x="181" y="422"/>
                  </a:cubicBezTo>
                  <a:cubicBezTo>
                    <a:pt x="201" y="422"/>
                    <a:pt x="210" y="397"/>
                    <a:pt x="194" y="385"/>
                  </a:cubicBezTo>
                  <a:cubicBezTo>
                    <a:pt x="70" y="287"/>
                    <a:pt x="70" y="287"/>
                    <a:pt x="70" y="287"/>
                  </a:cubicBezTo>
                  <a:cubicBezTo>
                    <a:pt x="25" y="251"/>
                    <a:pt x="0" y="198"/>
                    <a:pt x="0" y="141"/>
                  </a:cubicBezTo>
                  <a:cubicBezTo>
                    <a:pt x="0" y="63"/>
                    <a:pt x="63" y="0"/>
                    <a:pt x="141" y="0"/>
                  </a:cubicBezTo>
                  <a:cubicBezTo>
                    <a:pt x="320" y="0"/>
                    <a:pt x="320" y="0"/>
                    <a:pt x="320" y="0"/>
                  </a:cubicBezTo>
                  <a:cubicBezTo>
                    <a:pt x="327" y="0"/>
                    <a:pt x="334" y="6"/>
                    <a:pt x="334" y="14"/>
                  </a:cubicBezTo>
                  <a:cubicBezTo>
                    <a:pt x="334" y="127"/>
                    <a:pt x="334" y="127"/>
                    <a:pt x="334" y="127"/>
                  </a:cubicBezTo>
                  <a:cubicBezTo>
                    <a:pt x="334" y="135"/>
                    <a:pt x="327" y="141"/>
                    <a:pt x="320" y="141"/>
                  </a:cubicBezTo>
                  <a:lnTo>
                    <a:pt x="174" y="141"/>
                  </a:lnTo>
                  <a:close/>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3" name="Freeform 49">
              <a:extLst>
                <a:ext uri="{FF2B5EF4-FFF2-40B4-BE49-F238E27FC236}">
                  <a16:creationId xmlns:a16="http://schemas.microsoft.com/office/drawing/2014/main" id="{DC5186B1-87FD-CDAD-FB08-D228EB8E20DE}"/>
                </a:ext>
              </a:extLst>
            </p:cNvPr>
            <p:cNvSpPr>
              <a:spLocks/>
            </p:cNvSpPr>
            <p:nvPr userDrawn="1"/>
          </p:nvSpPr>
          <p:spPr bwMode="auto">
            <a:xfrm>
              <a:off x="6017" y="2858"/>
              <a:ext cx="263" cy="209"/>
            </a:xfrm>
            <a:custGeom>
              <a:avLst/>
              <a:gdLst>
                <a:gd name="T0" fmla="*/ 704 w 845"/>
                <a:gd name="T1" fmla="*/ 0 h 669"/>
                <a:gd name="T2" fmla="*/ 528 w 845"/>
                <a:gd name="T3" fmla="*/ 0 h 669"/>
                <a:gd name="T4" fmla="*/ 387 w 845"/>
                <a:gd name="T5" fmla="*/ 141 h 669"/>
                <a:gd name="T6" fmla="*/ 387 w 845"/>
                <a:gd name="T7" fmla="*/ 422 h 669"/>
                <a:gd name="T8" fmla="*/ 387 w 845"/>
                <a:gd name="T9" fmla="*/ 423 h 669"/>
                <a:gd name="T10" fmla="*/ 197 w 845"/>
                <a:gd name="T11" fmla="*/ 423 h 669"/>
                <a:gd name="T12" fmla="*/ 140 w 845"/>
                <a:gd name="T13" fmla="*/ 366 h 669"/>
                <a:gd name="T14" fmla="*/ 140 w 845"/>
                <a:gd name="T15" fmla="*/ 344 h 669"/>
                <a:gd name="T16" fmla="*/ 147 w 845"/>
                <a:gd name="T17" fmla="*/ 337 h 669"/>
                <a:gd name="T18" fmla="*/ 239 w 845"/>
                <a:gd name="T19" fmla="*/ 337 h 669"/>
                <a:gd name="T20" fmla="*/ 253 w 845"/>
                <a:gd name="T21" fmla="*/ 323 h 669"/>
                <a:gd name="T22" fmla="*/ 253 w 845"/>
                <a:gd name="T23" fmla="*/ 238 h 669"/>
                <a:gd name="T24" fmla="*/ 239 w 845"/>
                <a:gd name="T25" fmla="*/ 224 h 669"/>
                <a:gd name="T26" fmla="*/ 147 w 845"/>
                <a:gd name="T27" fmla="*/ 224 h 669"/>
                <a:gd name="T28" fmla="*/ 140 w 845"/>
                <a:gd name="T29" fmla="*/ 217 h 669"/>
                <a:gd name="T30" fmla="*/ 140 w 845"/>
                <a:gd name="T31" fmla="*/ 197 h 669"/>
                <a:gd name="T32" fmla="*/ 197 w 845"/>
                <a:gd name="T33" fmla="*/ 141 h 669"/>
                <a:gd name="T34" fmla="*/ 338 w 845"/>
                <a:gd name="T35" fmla="*/ 141 h 669"/>
                <a:gd name="T36" fmla="*/ 352 w 845"/>
                <a:gd name="T37" fmla="*/ 127 h 669"/>
                <a:gd name="T38" fmla="*/ 352 w 845"/>
                <a:gd name="T39" fmla="*/ 14 h 669"/>
                <a:gd name="T40" fmla="*/ 338 w 845"/>
                <a:gd name="T41" fmla="*/ 0 h 669"/>
                <a:gd name="T42" fmla="*/ 141 w 845"/>
                <a:gd name="T43" fmla="*/ 0 h 669"/>
                <a:gd name="T44" fmla="*/ 0 w 845"/>
                <a:gd name="T45" fmla="*/ 141 h 669"/>
                <a:gd name="T46" fmla="*/ 0 w 845"/>
                <a:gd name="T47" fmla="*/ 423 h 669"/>
                <a:gd name="T48" fmla="*/ 141 w 845"/>
                <a:gd name="T49" fmla="*/ 564 h 669"/>
                <a:gd name="T50" fmla="*/ 662 w 845"/>
                <a:gd name="T51" fmla="*/ 564 h 669"/>
                <a:gd name="T52" fmla="*/ 670 w 845"/>
                <a:gd name="T53" fmla="*/ 557 h 669"/>
                <a:gd name="T54" fmla="*/ 670 w 845"/>
                <a:gd name="T55" fmla="*/ 430 h 669"/>
                <a:gd name="T56" fmla="*/ 662 w 845"/>
                <a:gd name="T57" fmla="*/ 423 h 669"/>
                <a:gd name="T58" fmla="*/ 584 w 845"/>
                <a:gd name="T59" fmla="*/ 423 h 669"/>
                <a:gd name="T60" fmla="*/ 528 w 845"/>
                <a:gd name="T61" fmla="*/ 366 h 669"/>
                <a:gd name="T62" fmla="*/ 528 w 845"/>
                <a:gd name="T63" fmla="*/ 197 h 669"/>
                <a:gd name="T64" fmla="*/ 584 w 845"/>
                <a:gd name="T65" fmla="*/ 141 h 669"/>
                <a:gd name="T66" fmla="*/ 648 w 845"/>
                <a:gd name="T67" fmla="*/ 141 h 669"/>
                <a:gd name="T68" fmla="*/ 705 w 845"/>
                <a:gd name="T69" fmla="*/ 197 h 669"/>
                <a:gd name="T70" fmla="*/ 705 w 845"/>
                <a:gd name="T71" fmla="*/ 562 h 669"/>
                <a:gd name="T72" fmla="*/ 705 w 845"/>
                <a:gd name="T73" fmla="*/ 655 h 669"/>
                <a:gd name="T74" fmla="*/ 719 w 845"/>
                <a:gd name="T75" fmla="*/ 669 h 669"/>
                <a:gd name="T76" fmla="*/ 831 w 845"/>
                <a:gd name="T77" fmla="*/ 669 h 669"/>
                <a:gd name="T78" fmla="*/ 845 w 845"/>
                <a:gd name="T79" fmla="*/ 655 h 669"/>
                <a:gd name="T80" fmla="*/ 845 w 845"/>
                <a:gd name="T81" fmla="*/ 422 h 669"/>
                <a:gd name="T82" fmla="*/ 845 w 845"/>
                <a:gd name="T83" fmla="*/ 141 h 669"/>
                <a:gd name="T84" fmla="*/ 704 w 845"/>
                <a:gd name="T85" fmla="*/ 0 h 6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45" h="669">
                  <a:moveTo>
                    <a:pt x="704" y="0"/>
                  </a:moveTo>
                  <a:cubicBezTo>
                    <a:pt x="528" y="0"/>
                    <a:pt x="528" y="0"/>
                    <a:pt x="528" y="0"/>
                  </a:cubicBezTo>
                  <a:cubicBezTo>
                    <a:pt x="450" y="0"/>
                    <a:pt x="387" y="63"/>
                    <a:pt x="387" y="141"/>
                  </a:cubicBezTo>
                  <a:cubicBezTo>
                    <a:pt x="387" y="422"/>
                    <a:pt x="387" y="422"/>
                    <a:pt x="387" y="422"/>
                  </a:cubicBezTo>
                  <a:cubicBezTo>
                    <a:pt x="387" y="422"/>
                    <a:pt x="387" y="422"/>
                    <a:pt x="387" y="423"/>
                  </a:cubicBezTo>
                  <a:cubicBezTo>
                    <a:pt x="197" y="423"/>
                    <a:pt x="197" y="423"/>
                    <a:pt x="197" y="423"/>
                  </a:cubicBezTo>
                  <a:cubicBezTo>
                    <a:pt x="166" y="423"/>
                    <a:pt x="140" y="397"/>
                    <a:pt x="140" y="366"/>
                  </a:cubicBezTo>
                  <a:cubicBezTo>
                    <a:pt x="140" y="344"/>
                    <a:pt x="140" y="344"/>
                    <a:pt x="140" y="344"/>
                  </a:cubicBezTo>
                  <a:cubicBezTo>
                    <a:pt x="140" y="340"/>
                    <a:pt x="144" y="337"/>
                    <a:pt x="147" y="337"/>
                  </a:cubicBezTo>
                  <a:cubicBezTo>
                    <a:pt x="239" y="337"/>
                    <a:pt x="239" y="337"/>
                    <a:pt x="239" y="337"/>
                  </a:cubicBezTo>
                  <a:cubicBezTo>
                    <a:pt x="247" y="337"/>
                    <a:pt x="253" y="330"/>
                    <a:pt x="253" y="323"/>
                  </a:cubicBezTo>
                  <a:cubicBezTo>
                    <a:pt x="253" y="238"/>
                    <a:pt x="253" y="238"/>
                    <a:pt x="253" y="238"/>
                  </a:cubicBezTo>
                  <a:cubicBezTo>
                    <a:pt x="253" y="231"/>
                    <a:pt x="247" y="224"/>
                    <a:pt x="239" y="224"/>
                  </a:cubicBezTo>
                  <a:cubicBezTo>
                    <a:pt x="147" y="224"/>
                    <a:pt x="147" y="224"/>
                    <a:pt x="147" y="224"/>
                  </a:cubicBezTo>
                  <a:cubicBezTo>
                    <a:pt x="144" y="224"/>
                    <a:pt x="140" y="221"/>
                    <a:pt x="140" y="217"/>
                  </a:cubicBezTo>
                  <a:cubicBezTo>
                    <a:pt x="140" y="197"/>
                    <a:pt x="140" y="197"/>
                    <a:pt x="140" y="197"/>
                  </a:cubicBezTo>
                  <a:cubicBezTo>
                    <a:pt x="140" y="166"/>
                    <a:pt x="166" y="141"/>
                    <a:pt x="197" y="141"/>
                  </a:cubicBezTo>
                  <a:cubicBezTo>
                    <a:pt x="338" y="141"/>
                    <a:pt x="338" y="141"/>
                    <a:pt x="338" y="141"/>
                  </a:cubicBezTo>
                  <a:cubicBezTo>
                    <a:pt x="346" y="141"/>
                    <a:pt x="352" y="135"/>
                    <a:pt x="352" y="127"/>
                  </a:cubicBezTo>
                  <a:cubicBezTo>
                    <a:pt x="352" y="14"/>
                    <a:pt x="352" y="14"/>
                    <a:pt x="352" y="14"/>
                  </a:cubicBezTo>
                  <a:cubicBezTo>
                    <a:pt x="352" y="6"/>
                    <a:pt x="346" y="0"/>
                    <a:pt x="338" y="0"/>
                  </a:cubicBezTo>
                  <a:cubicBezTo>
                    <a:pt x="141" y="0"/>
                    <a:pt x="141" y="0"/>
                    <a:pt x="141" y="0"/>
                  </a:cubicBezTo>
                  <a:cubicBezTo>
                    <a:pt x="63" y="0"/>
                    <a:pt x="0" y="63"/>
                    <a:pt x="0" y="141"/>
                  </a:cubicBezTo>
                  <a:cubicBezTo>
                    <a:pt x="0" y="423"/>
                    <a:pt x="0" y="423"/>
                    <a:pt x="0" y="423"/>
                  </a:cubicBezTo>
                  <a:cubicBezTo>
                    <a:pt x="0" y="501"/>
                    <a:pt x="63" y="564"/>
                    <a:pt x="141" y="564"/>
                  </a:cubicBezTo>
                  <a:cubicBezTo>
                    <a:pt x="662" y="564"/>
                    <a:pt x="662" y="564"/>
                    <a:pt x="662" y="564"/>
                  </a:cubicBezTo>
                  <a:cubicBezTo>
                    <a:pt x="666" y="564"/>
                    <a:pt x="670" y="560"/>
                    <a:pt x="670" y="557"/>
                  </a:cubicBezTo>
                  <a:cubicBezTo>
                    <a:pt x="670" y="430"/>
                    <a:pt x="670" y="430"/>
                    <a:pt x="670" y="430"/>
                  </a:cubicBezTo>
                  <a:cubicBezTo>
                    <a:pt x="670" y="426"/>
                    <a:pt x="666" y="423"/>
                    <a:pt x="662" y="423"/>
                  </a:cubicBezTo>
                  <a:cubicBezTo>
                    <a:pt x="584" y="423"/>
                    <a:pt x="584" y="423"/>
                    <a:pt x="584" y="423"/>
                  </a:cubicBezTo>
                  <a:cubicBezTo>
                    <a:pt x="553" y="423"/>
                    <a:pt x="528" y="397"/>
                    <a:pt x="528" y="366"/>
                  </a:cubicBezTo>
                  <a:cubicBezTo>
                    <a:pt x="528" y="197"/>
                    <a:pt x="528" y="197"/>
                    <a:pt x="528" y="197"/>
                  </a:cubicBezTo>
                  <a:cubicBezTo>
                    <a:pt x="528" y="166"/>
                    <a:pt x="553" y="141"/>
                    <a:pt x="584" y="141"/>
                  </a:cubicBezTo>
                  <a:cubicBezTo>
                    <a:pt x="648" y="141"/>
                    <a:pt x="648" y="141"/>
                    <a:pt x="648" y="141"/>
                  </a:cubicBezTo>
                  <a:cubicBezTo>
                    <a:pt x="679" y="141"/>
                    <a:pt x="705" y="166"/>
                    <a:pt x="705" y="197"/>
                  </a:cubicBezTo>
                  <a:cubicBezTo>
                    <a:pt x="705" y="562"/>
                    <a:pt x="705" y="562"/>
                    <a:pt x="705" y="562"/>
                  </a:cubicBezTo>
                  <a:cubicBezTo>
                    <a:pt x="705" y="655"/>
                    <a:pt x="705" y="655"/>
                    <a:pt x="705" y="655"/>
                  </a:cubicBezTo>
                  <a:cubicBezTo>
                    <a:pt x="705" y="663"/>
                    <a:pt x="711" y="669"/>
                    <a:pt x="719" y="669"/>
                  </a:cubicBezTo>
                  <a:cubicBezTo>
                    <a:pt x="831" y="669"/>
                    <a:pt x="831" y="669"/>
                    <a:pt x="831" y="669"/>
                  </a:cubicBezTo>
                  <a:cubicBezTo>
                    <a:pt x="839" y="669"/>
                    <a:pt x="845" y="663"/>
                    <a:pt x="845" y="655"/>
                  </a:cubicBezTo>
                  <a:cubicBezTo>
                    <a:pt x="845" y="422"/>
                    <a:pt x="845" y="422"/>
                    <a:pt x="845" y="422"/>
                  </a:cubicBezTo>
                  <a:cubicBezTo>
                    <a:pt x="845" y="141"/>
                    <a:pt x="845" y="141"/>
                    <a:pt x="845" y="141"/>
                  </a:cubicBezTo>
                  <a:cubicBezTo>
                    <a:pt x="845" y="63"/>
                    <a:pt x="782" y="0"/>
                    <a:pt x="704" y="0"/>
                  </a:cubicBezTo>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grpSp>
    </p:spTree>
    <p:extLst>
      <p:ext uri="{BB962C8B-B14F-4D97-AF65-F5344CB8AC3E}">
        <p14:creationId xmlns:p14="http://schemas.microsoft.com/office/powerpoint/2010/main" val="1717279852"/>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End slide">
    <p:bg>
      <p:bgPr>
        <a:solidFill>
          <a:schemeClr val="accent1"/>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BA4E336-7EB3-3D91-6249-3B676358C207}"/>
              </a:ext>
            </a:extLst>
          </p:cNvPr>
          <p:cNvSpPr>
            <a:spLocks noGrp="1"/>
          </p:cNvSpPr>
          <p:nvPr>
            <p:ph type="title" hasCustomPrompt="1"/>
          </p:nvPr>
        </p:nvSpPr>
        <p:spPr bwMode="gray">
          <a:xfrm>
            <a:off x="1092200" y="2658668"/>
            <a:ext cx="7308056" cy="1540664"/>
          </a:xfrm>
        </p:spPr>
        <p:txBody>
          <a:bodyPr/>
          <a:lstStyle>
            <a:lvl1pPr>
              <a:defRPr sz="4700">
                <a:solidFill>
                  <a:schemeClr val="bg1"/>
                </a:solidFill>
              </a:defRPr>
            </a:lvl1pPr>
          </a:lstStyle>
          <a:p>
            <a:r>
              <a:rPr lang="de-DE"/>
              <a:t>Closing </a:t>
            </a:r>
            <a:br>
              <a:rPr lang="de-DE"/>
            </a:br>
            <a:r>
              <a:rPr lang="de-DE"/>
              <a:t>Words</a:t>
            </a:r>
          </a:p>
        </p:txBody>
      </p:sp>
      <p:sp>
        <p:nvSpPr>
          <p:cNvPr id="8" name="Grafik 5">
            <a:extLst>
              <a:ext uri="{FF2B5EF4-FFF2-40B4-BE49-F238E27FC236}">
                <a16:creationId xmlns:a16="http://schemas.microsoft.com/office/drawing/2014/main" id="{4DA71EDF-2289-B17D-23DE-09D484E95B9F}"/>
              </a:ext>
            </a:extLst>
          </p:cNvPr>
          <p:cNvSpPr/>
          <p:nvPr/>
        </p:nvSpPr>
        <p:spPr bwMode="gray">
          <a:xfrm>
            <a:off x="8791597" y="3448037"/>
            <a:ext cx="3397103" cy="3415179"/>
          </a:xfrm>
          <a:custGeom>
            <a:avLst/>
            <a:gdLst>
              <a:gd name="connsiteX0" fmla="*/ 3396216 w 3397103"/>
              <a:gd name="connsiteY0" fmla="*/ 789518 h 3415179"/>
              <a:gd name="connsiteX1" fmla="*/ 3217820 w 3397103"/>
              <a:gd name="connsiteY1" fmla="*/ 678694 h 3415179"/>
              <a:gd name="connsiteX2" fmla="*/ 1250014 w 3397103"/>
              <a:gd name="connsiteY2" fmla="*/ 23297 h 3415179"/>
              <a:gd name="connsiteX3" fmla="*/ 676763 w 3397103"/>
              <a:gd name="connsiteY3" fmla="*/ 311488 h 3415179"/>
              <a:gd name="connsiteX4" fmla="*/ 23197 w 3397103"/>
              <a:gd name="connsiteY4" fmla="*/ 2284679 h 3415179"/>
              <a:gd name="connsiteX5" fmla="*/ 16218 w 3397103"/>
              <a:gd name="connsiteY5" fmla="*/ 2548187 h 3415179"/>
              <a:gd name="connsiteX6" fmla="*/ 26622 w 3397103"/>
              <a:gd name="connsiteY6" fmla="*/ 2596155 h 3415179"/>
              <a:gd name="connsiteX7" fmla="*/ 37027 w 3397103"/>
              <a:gd name="connsiteY7" fmla="*/ 2644251 h 3415179"/>
              <a:gd name="connsiteX8" fmla="*/ 47431 w 3397103"/>
              <a:gd name="connsiteY8" fmla="*/ 2692219 h 3415179"/>
              <a:gd name="connsiteX9" fmla="*/ 57835 w 3397103"/>
              <a:gd name="connsiteY9" fmla="*/ 2740314 h 3415179"/>
              <a:gd name="connsiteX10" fmla="*/ 68240 w 3397103"/>
              <a:gd name="connsiteY10" fmla="*/ 2788283 h 3415179"/>
              <a:gd name="connsiteX11" fmla="*/ 78644 w 3397103"/>
              <a:gd name="connsiteY11" fmla="*/ 2836378 h 3415179"/>
              <a:gd name="connsiteX12" fmla="*/ 89048 w 3397103"/>
              <a:gd name="connsiteY12" fmla="*/ 2884474 h 3415179"/>
              <a:gd name="connsiteX13" fmla="*/ 99452 w 3397103"/>
              <a:gd name="connsiteY13" fmla="*/ 2932442 h 3415179"/>
              <a:gd name="connsiteX14" fmla="*/ 109857 w 3397103"/>
              <a:gd name="connsiteY14" fmla="*/ 2980538 h 3415179"/>
              <a:gd name="connsiteX15" fmla="*/ 120261 w 3397103"/>
              <a:gd name="connsiteY15" fmla="*/ 3028506 h 3415179"/>
              <a:gd name="connsiteX16" fmla="*/ 130665 w 3397103"/>
              <a:gd name="connsiteY16" fmla="*/ 3076602 h 3415179"/>
              <a:gd name="connsiteX17" fmla="*/ 141070 w 3397103"/>
              <a:gd name="connsiteY17" fmla="*/ 3124570 h 3415179"/>
              <a:gd name="connsiteX18" fmla="*/ 151474 w 3397103"/>
              <a:gd name="connsiteY18" fmla="*/ 3172666 h 3415179"/>
              <a:gd name="connsiteX19" fmla="*/ 161878 w 3397103"/>
              <a:gd name="connsiteY19" fmla="*/ 3220761 h 3415179"/>
              <a:gd name="connsiteX20" fmla="*/ 172282 w 3397103"/>
              <a:gd name="connsiteY20" fmla="*/ 3268729 h 3415179"/>
              <a:gd name="connsiteX21" fmla="*/ 182687 w 3397103"/>
              <a:gd name="connsiteY21" fmla="*/ 3316825 h 3415179"/>
              <a:gd name="connsiteX22" fmla="*/ 193091 w 3397103"/>
              <a:gd name="connsiteY22" fmla="*/ 3364793 h 3415179"/>
              <a:gd name="connsiteX23" fmla="*/ 203495 w 3397103"/>
              <a:gd name="connsiteY23" fmla="*/ 3412889 h 3415179"/>
              <a:gd name="connsiteX24" fmla="*/ 204003 w 3397103"/>
              <a:gd name="connsiteY24" fmla="*/ 3415179 h 3415179"/>
              <a:gd name="connsiteX25" fmla="*/ 3397103 w 3397103"/>
              <a:gd name="connsiteY25" fmla="*/ 3415179 h 3415179"/>
              <a:gd name="connsiteX26" fmla="*/ 3397103 w 3397103"/>
              <a:gd name="connsiteY26" fmla="*/ 789518 h 34151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397103" h="3415179">
                <a:moveTo>
                  <a:pt x="3396216" y="789518"/>
                </a:moveTo>
                <a:cubicBezTo>
                  <a:pt x="3347747" y="740531"/>
                  <a:pt x="3287478" y="701979"/>
                  <a:pt x="3217820" y="678694"/>
                </a:cubicBezTo>
                <a:lnTo>
                  <a:pt x="1250014" y="23297"/>
                </a:lnTo>
                <a:cubicBezTo>
                  <a:pt x="1012365" y="-55845"/>
                  <a:pt x="755684" y="73174"/>
                  <a:pt x="676763" y="311488"/>
                </a:cubicBezTo>
                <a:lnTo>
                  <a:pt x="23197" y="2284679"/>
                </a:lnTo>
                <a:cubicBezTo>
                  <a:pt x="-6113" y="2373236"/>
                  <a:pt x="-6747" y="2464465"/>
                  <a:pt x="16218" y="2548187"/>
                </a:cubicBezTo>
                <a:cubicBezTo>
                  <a:pt x="18883" y="2564473"/>
                  <a:pt x="22308" y="2580505"/>
                  <a:pt x="26622" y="2596155"/>
                </a:cubicBezTo>
                <a:cubicBezTo>
                  <a:pt x="29287" y="2612441"/>
                  <a:pt x="32713" y="2628473"/>
                  <a:pt x="37027" y="2644251"/>
                </a:cubicBezTo>
                <a:cubicBezTo>
                  <a:pt x="39691" y="2660537"/>
                  <a:pt x="42990" y="2676569"/>
                  <a:pt x="47431" y="2692219"/>
                </a:cubicBezTo>
                <a:cubicBezTo>
                  <a:pt x="50096" y="2708505"/>
                  <a:pt x="53521" y="2724537"/>
                  <a:pt x="57835" y="2740314"/>
                </a:cubicBezTo>
                <a:cubicBezTo>
                  <a:pt x="60500" y="2756601"/>
                  <a:pt x="63926" y="2772633"/>
                  <a:pt x="68240" y="2788283"/>
                </a:cubicBezTo>
                <a:cubicBezTo>
                  <a:pt x="70904" y="2804569"/>
                  <a:pt x="74330" y="2820601"/>
                  <a:pt x="78644" y="2836378"/>
                </a:cubicBezTo>
                <a:cubicBezTo>
                  <a:pt x="81308" y="2852665"/>
                  <a:pt x="84734" y="2868697"/>
                  <a:pt x="89048" y="2884474"/>
                </a:cubicBezTo>
                <a:cubicBezTo>
                  <a:pt x="91713" y="2900760"/>
                  <a:pt x="95138" y="2916792"/>
                  <a:pt x="99452" y="2932442"/>
                </a:cubicBezTo>
                <a:cubicBezTo>
                  <a:pt x="102117" y="2948729"/>
                  <a:pt x="105416" y="2964760"/>
                  <a:pt x="109857" y="2980538"/>
                </a:cubicBezTo>
                <a:cubicBezTo>
                  <a:pt x="112521" y="2996824"/>
                  <a:pt x="115820" y="3012856"/>
                  <a:pt x="120261" y="3028506"/>
                </a:cubicBezTo>
                <a:cubicBezTo>
                  <a:pt x="122926" y="3044792"/>
                  <a:pt x="126351" y="3060824"/>
                  <a:pt x="130665" y="3076602"/>
                </a:cubicBezTo>
                <a:cubicBezTo>
                  <a:pt x="133330" y="3092888"/>
                  <a:pt x="136756" y="3108920"/>
                  <a:pt x="141070" y="3124570"/>
                </a:cubicBezTo>
                <a:cubicBezTo>
                  <a:pt x="143734" y="3140856"/>
                  <a:pt x="147160" y="3156888"/>
                  <a:pt x="151474" y="3172666"/>
                </a:cubicBezTo>
                <a:cubicBezTo>
                  <a:pt x="154138" y="3188952"/>
                  <a:pt x="157564" y="3204984"/>
                  <a:pt x="161878" y="3220761"/>
                </a:cubicBezTo>
                <a:cubicBezTo>
                  <a:pt x="164543" y="3237047"/>
                  <a:pt x="167968" y="3253079"/>
                  <a:pt x="172282" y="3268729"/>
                </a:cubicBezTo>
                <a:cubicBezTo>
                  <a:pt x="174947" y="3285016"/>
                  <a:pt x="178373" y="3301048"/>
                  <a:pt x="182687" y="3316825"/>
                </a:cubicBezTo>
                <a:cubicBezTo>
                  <a:pt x="185351" y="3333111"/>
                  <a:pt x="188777" y="3349143"/>
                  <a:pt x="193091" y="3364793"/>
                </a:cubicBezTo>
                <a:cubicBezTo>
                  <a:pt x="195756" y="3381080"/>
                  <a:pt x="199181" y="3397111"/>
                  <a:pt x="203495" y="3412889"/>
                </a:cubicBezTo>
                <a:cubicBezTo>
                  <a:pt x="203495" y="3413652"/>
                  <a:pt x="203749" y="3414416"/>
                  <a:pt x="204003" y="3415179"/>
                </a:cubicBezTo>
                <a:lnTo>
                  <a:pt x="3397103" y="3415179"/>
                </a:lnTo>
                <a:lnTo>
                  <a:pt x="3397103" y="789518"/>
                </a:lnTo>
                <a:close/>
              </a:path>
            </a:pathLst>
          </a:custGeom>
          <a:solidFill>
            <a:srgbClr val="FFFFFF"/>
          </a:solidFill>
          <a:ln w="0" cap="flat">
            <a:noFill/>
            <a:prstDash val="solid"/>
            <a:miter/>
          </a:ln>
        </p:spPr>
        <p:txBody>
          <a:bodyPr rtlCol="0" anchor="ctr"/>
          <a:lstStyle/>
          <a:p>
            <a:endParaRPr lang="de-DE"/>
          </a:p>
        </p:txBody>
      </p:sp>
      <p:sp>
        <p:nvSpPr>
          <p:cNvPr id="3" name="Titel 1">
            <a:extLst>
              <a:ext uri="{FF2B5EF4-FFF2-40B4-BE49-F238E27FC236}">
                <a16:creationId xmlns:a16="http://schemas.microsoft.com/office/drawing/2014/main" id="{92EC8225-9C95-B9A9-A62A-FB9ACC43D59A}"/>
              </a:ext>
            </a:extLst>
          </p:cNvPr>
          <p:cNvSpPr txBox="1">
            <a:spLocks/>
          </p:cNvSpPr>
          <p:nvPr userDrawn="1"/>
        </p:nvSpPr>
        <p:spPr bwMode="gray">
          <a:xfrm>
            <a:off x="9552384" y="5913276"/>
            <a:ext cx="1979464" cy="252028"/>
          </a:xfrm>
          <a:prstGeom prst="rect">
            <a:avLst/>
          </a:prstGeom>
        </p:spPr>
        <p:txBody>
          <a:bodyPr vert="horz" lIns="0" tIns="0" rIns="0" bIns="0" rtlCol="0" anchor="t">
            <a:noAutofit/>
          </a:bodyPr>
          <a:lstStyle>
            <a:lvl1pPr marL="0" indent="0" algn="l" defTabSz="914400" rtl="0" eaLnBrk="1" latinLnBrk="0" hangingPunct="1">
              <a:lnSpc>
                <a:spcPct val="100000"/>
              </a:lnSpc>
              <a:spcBef>
                <a:spcPct val="0"/>
              </a:spcBef>
              <a:buFont typeface="Yanone Kaffeesatz" panose="00000500000000000000" pitchFamily="50" charset="0"/>
              <a:buNone/>
              <a:defRPr sz="4700" kern="1200" cap="all" baseline="0">
                <a:solidFill>
                  <a:schemeClr val="bg1"/>
                </a:solidFill>
                <a:latin typeface="Barlow Black" panose="00000A00000000000000" pitchFamily="2" charset="0"/>
                <a:ea typeface="+mj-ea"/>
                <a:cs typeface="+mj-cs"/>
              </a:defRPr>
            </a:lvl1pPr>
          </a:lstStyle>
          <a:p>
            <a:r>
              <a:rPr lang="de-DE" sz="1200" cap="none" baseline="0">
                <a:solidFill>
                  <a:schemeClr val="tx1"/>
                </a:solidFill>
                <a:latin typeface="+mn-lt"/>
              </a:rPr>
              <a:t>www.eqs.com</a:t>
            </a:r>
          </a:p>
        </p:txBody>
      </p:sp>
      <p:grpSp>
        <p:nvGrpSpPr>
          <p:cNvPr id="4" name="Group 4">
            <a:extLst>
              <a:ext uri="{FF2B5EF4-FFF2-40B4-BE49-F238E27FC236}">
                <a16:creationId xmlns:a16="http://schemas.microsoft.com/office/drawing/2014/main" id="{81433DCD-1403-525A-51C9-D85747050517}"/>
              </a:ext>
            </a:extLst>
          </p:cNvPr>
          <p:cNvGrpSpPr>
            <a:grpSpLocks noChangeAspect="1"/>
          </p:cNvGrpSpPr>
          <p:nvPr userDrawn="1"/>
        </p:nvGrpSpPr>
        <p:grpSpPr bwMode="auto">
          <a:xfrm>
            <a:off x="9551988" y="5553075"/>
            <a:ext cx="1879600" cy="323850"/>
            <a:chOff x="6017" y="3498"/>
            <a:chExt cx="1184" cy="204"/>
          </a:xfrm>
        </p:grpSpPr>
        <p:sp>
          <p:nvSpPr>
            <p:cNvPr id="5" name="AutoShape 3">
              <a:extLst>
                <a:ext uri="{FF2B5EF4-FFF2-40B4-BE49-F238E27FC236}">
                  <a16:creationId xmlns:a16="http://schemas.microsoft.com/office/drawing/2014/main" id="{2F47A2AB-2CB3-507E-D9D9-DFF1BFE60427}"/>
                </a:ext>
              </a:extLst>
            </p:cNvPr>
            <p:cNvSpPr>
              <a:spLocks noChangeAspect="1" noChangeArrowheads="1" noTextEdit="1"/>
            </p:cNvSpPr>
            <p:nvPr userDrawn="1"/>
          </p:nvSpPr>
          <p:spPr bwMode="auto">
            <a:xfrm>
              <a:off x="6017" y="3498"/>
              <a:ext cx="1184" cy="2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6" name="Freeform 5">
              <a:extLst>
                <a:ext uri="{FF2B5EF4-FFF2-40B4-BE49-F238E27FC236}">
                  <a16:creationId xmlns:a16="http://schemas.microsoft.com/office/drawing/2014/main" id="{231D8171-8E3B-6D84-EF2B-8D066DF13AED}"/>
                </a:ext>
              </a:extLst>
            </p:cNvPr>
            <p:cNvSpPr>
              <a:spLocks/>
            </p:cNvSpPr>
            <p:nvPr userDrawn="1"/>
          </p:nvSpPr>
          <p:spPr bwMode="auto">
            <a:xfrm>
              <a:off x="6015" y="3496"/>
              <a:ext cx="205" cy="208"/>
            </a:xfrm>
            <a:custGeom>
              <a:avLst/>
              <a:gdLst>
                <a:gd name="T0" fmla="*/ 18 w 105"/>
                <a:gd name="T1" fmla="*/ 0 h 104"/>
                <a:gd name="T2" fmla="*/ 0 w 105"/>
                <a:gd name="T3" fmla="*/ 18 h 104"/>
                <a:gd name="T4" fmla="*/ 0 w 105"/>
                <a:gd name="T5" fmla="*/ 86 h 104"/>
                <a:gd name="T6" fmla="*/ 18 w 105"/>
                <a:gd name="T7" fmla="*/ 104 h 104"/>
                <a:gd name="T8" fmla="*/ 87 w 105"/>
                <a:gd name="T9" fmla="*/ 104 h 104"/>
                <a:gd name="T10" fmla="*/ 105 w 105"/>
                <a:gd name="T11" fmla="*/ 86 h 104"/>
                <a:gd name="T12" fmla="*/ 105 w 105"/>
                <a:gd name="T13" fmla="*/ 18 h 104"/>
                <a:gd name="T14" fmla="*/ 87 w 105"/>
                <a:gd name="T15" fmla="*/ 0 h 104"/>
                <a:gd name="T16" fmla="*/ 18 w 105"/>
                <a:gd name="T17" fmla="*/ 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5" h="104">
                  <a:moveTo>
                    <a:pt x="18" y="0"/>
                  </a:moveTo>
                  <a:cubicBezTo>
                    <a:pt x="8" y="0"/>
                    <a:pt x="0" y="8"/>
                    <a:pt x="0" y="18"/>
                  </a:cubicBezTo>
                  <a:cubicBezTo>
                    <a:pt x="0" y="86"/>
                    <a:pt x="0" y="86"/>
                    <a:pt x="0" y="86"/>
                  </a:cubicBezTo>
                  <a:cubicBezTo>
                    <a:pt x="0" y="96"/>
                    <a:pt x="8" y="104"/>
                    <a:pt x="18" y="104"/>
                  </a:cubicBezTo>
                  <a:cubicBezTo>
                    <a:pt x="87" y="104"/>
                    <a:pt x="87" y="104"/>
                    <a:pt x="87" y="104"/>
                  </a:cubicBezTo>
                  <a:cubicBezTo>
                    <a:pt x="97" y="104"/>
                    <a:pt x="105" y="96"/>
                    <a:pt x="105" y="86"/>
                  </a:cubicBezTo>
                  <a:cubicBezTo>
                    <a:pt x="105" y="18"/>
                    <a:pt x="105" y="18"/>
                    <a:pt x="105" y="18"/>
                  </a:cubicBezTo>
                  <a:cubicBezTo>
                    <a:pt x="105" y="8"/>
                    <a:pt x="97" y="0"/>
                    <a:pt x="87" y="0"/>
                  </a:cubicBezTo>
                  <a:lnTo>
                    <a:pt x="18" y="0"/>
                  </a:lnTo>
                  <a:close/>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7" name="Freeform 6">
              <a:extLst>
                <a:ext uri="{FF2B5EF4-FFF2-40B4-BE49-F238E27FC236}">
                  <a16:creationId xmlns:a16="http://schemas.microsoft.com/office/drawing/2014/main" id="{B36C1D06-FBCD-ADED-B776-55926BCC210A}"/>
                </a:ext>
              </a:extLst>
            </p:cNvPr>
            <p:cNvSpPr>
              <a:spLocks/>
            </p:cNvSpPr>
            <p:nvPr userDrawn="1"/>
          </p:nvSpPr>
          <p:spPr bwMode="auto">
            <a:xfrm>
              <a:off x="6046" y="3540"/>
              <a:ext cx="145" cy="120"/>
            </a:xfrm>
            <a:custGeom>
              <a:avLst/>
              <a:gdLst>
                <a:gd name="T0" fmla="*/ 0 w 74"/>
                <a:gd name="T1" fmla="*/ 53 h 60"/>
                <a:gd name="T2" fmla="*/ 23 w 74"/>
                <a:gd name="T3" fmla="*/ 60 h 60"/>
                <a:gd name="T4" fmla="*/ 66 w 74"/>
                <a:gd name="T5" fmla="*/ 17 h 60"/>
                <a:gd name="T6" fmla="*/ 66 w 74"/>
                <a:gd name="T7" fmla="*/ 15 h 60"/>
                <a:gd name="T8" fmla="*/ 74 w 74"/>
                <a:gd name="T9" fmla="*/ 7 h 60"/>
                <a:gd name="T10" fmla="*/ 65 w 74"/>
                <a:gd name="T11" fmla="*/ 10 h 60"/>
                <a:gd name="T12" fmla="*/ 71 w 74"/>
                <a:gd name="T13" fmla="*/ 1 h 60"/>
                <a:gd name="T14" fmla="*/ 62 w 74"/>
                <a:gd name="T15" fmla="*/ 5 h 60"/>
                <a:gd name="T16" fmla="*/ 51 w 74"/>
                <a:gd name="T17" fmla="*/ 0 h 60"/>
                <a:gd name="T18" fmla="*/ 36 w 74"/>
                <a:gd name="T19" fmla="*/ 15 h 60"/>
                <a:gd name="T20" fmla="*/ 36 w 74"/>
                <a:gd name="T21" fmla="*/ 19 h 60"/>
                <a:gd name="T22" fmla="*/ 5 w 74"/>
                <a:gd name="T23" fmla="*/ 3 h 60"/>
                <a:gd name="T24" fmla="*/ 3 w 74"/>
                <a:gd name="T25" fmla="*/ 10 h 60"/>
                <a:gd name="T26" fmla="*/ 10 w 74"/>
                <a:gd name="T27" fmla="*/ 23 h 60"/>
                <a:gd name="T28" fmla="*/ 3 w 74"/>
                <a:gd name="T29" fmla="*/ 21 h 60"/>
                <a:gd name="T30" fmla="*/ 3 w 74"/>
                <a:gd name="T31" fmla="*/ 21 h 60"/>
                <a:gd name="T32" fmla="*/ 15 w 74"/>
                <a:gd name="T33" fmla="*/ 36 h 60"/>
                <a:gd name="T34" fmla="*/ 11 w 74"/>
                <a:gd name="T35" fmla="*/ 37 h 60"/>
                <a:gd name="T36" fmla="*/ 8 w 74"/>
                <a:gd name="T37" fmla="*/ 36 h 60"/>
                <a:gd name="T38" fmla="*/ 22 w 74"/>
                <a:gd name="T39" fmla="*/ 47 h 60"/>
                <a:gd name="T40" fmla="*/ 4 w 74"/>
                <a:gd name="T41" fmla="*/ 53 h 60"/>
                <a:gd name="T42" fmla="*/ 0 w 74"/>
                <a:gd name="T43" fmla="*/ 53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74" h="60">
                  <a:moveTo>
                    <a:pt x="0" y="53"/>
                  </a:moveTo>
                  <a:cubicBezTo>
                    <a:pt x="7" y="57"/>
                    <a:pt x="15" y="60"/>
                    <a:pt x="23" y="60"/>
                  </a:cubicBezTo>
                  <a:cubicBezTo>
                    <a:pt x="51" y="60"/>
                    <a:pt x="66" y="37"/>
                    <a:pt x="66" y="17"/>
                  </a:cubicBezTo>
                  <a:cubicBezTo>
                    <a:pt x="66" y="16"/>
                    <a:pt x="66" y="16"/>
                    <a:pt x="66" y="15"/>
                  </a:cubicBezTo>
                  <a:cubicBezTo>
                    <a:pt x="69" y="13"/>
                    <a:pt x="71" y="10"/>
                    <a:pt x="74" y="7"/>
                  </a:cubicBezTo>
                  <a:cubicBezTo>
                    <a:pt x="71" y="8"/>
                    <a:pt x="68" y="9"/>
                    <a:pt x="65" y="10"/>
                  </a:cubicBezTo>
                  <a:cubicBezTo>
                    <a:pt x="68" y="8"/>
                    <a:pt x="70" y="5"/>
                    <a:pt x="71" y="1"/>
                  </a:cubicBezTo>
                  <a:cubicBezTo>
                    <a:pt x="69" y="3"/>
                    <a:pt x="65" y="4"/>
                    <a:pt x="62" y="5"/>
                  </a:cubicBezTo>
                  <a:cubicBezTo>
                    <a:pt x="59" y="2"/>
                    <a:pt x="55" y="0"/>
                    <a:pt x="51" y="0"/>
                  </a:cubicBezTo>
                  <a:cubicBezTo>
                    <a:pt x="43" y="0"/>
                    <a:pt x="36" y="7"/>
                    <a:pt x="36" y="15"/>
                  </a:cubicBezTo>
                  <a:cubicBezTo>
                    <a:pt x="36" y="16"/>
                    <a:pt x="36" y="17"/>
                    <a:pt x="36" y="19"/>
                  </a:cubicBezTo>
                  <a:cubicBezTo>
                    <a:pt x="24" y="18"/>
                    <a:pt x="13" y="12"/>
                    <a:pt x="5" y="3"/>
                  </a:cubicBezTo>
                  <a:cubicBezTo>
                    <a:pt x="4" y="5"/>
                    <a:pt x="3" y="8"/>
                    <a:pt x="3" y="10"/>
                  </a:cubicBezTo>
                  <a:cubicBezTo>
                    <a:pt x="3" y="16"/>
                    <a:pt x="6" y="20"/>
                    <a:pt x="10" y="23"/>
                  </a:cubicBezTo>
                  <a:cubicBezTo>
                    <a:pt x="7" y="23"/>
                    <a:pt x="5" y="22"/>
                    <a:pt x="3" y="21"/>
                  </a:cubicBezTo>
                  <a:cubicBezTo>
                    <a:pt x="3" y="21"/>
                    <a:pt x="3" y="21"/>
                    <a:pt x="3" y="21"/>
                  </a:cubicBezTo>
                  <a:cubicBezTo>
                    <a:pt x="3" y="29"/>
                    <a:pt x="8" y="35"/>
                    <a:pt x="15" y="36"/>
                  </a:cubicBezTo>
                  <a:cubicBezTo>
                    <a:pt x="14" y="36"/>
                    <a:pt x="13" y="37"/>
                    <a:pt x="11" y="37"/>
                  </a:cubicBezTo>
                  <a:cubicBezTo>
                    <a:pt x="10" y="37"/>
                    <a:pt x="9" y="36"/>
                    <a:pt x="8" y="36"/>
                  </a:cubicBezTo>
                  <a:cubicBezTo>
                    <a:pt x="10" y="42"/>
                    <a:pt x="16" y="47"/>
                    <a:pt x="22" y="47"/>
                  </a:cubicBezTo>
                  <a:cubicBezTo>
                    <a:pt x="17" y="51"/>
                    <a:pt x="11" y="53"/>
                    <a:pt x="4" y="53"/>
                  </a:cubicBezTo>
                  <a:cubicBezTo>
                    <a:pt x="2" y="53"/>
                    <a:pt x="1" y="53"/>
                    <a:pt x="0" y="53"/>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9" name="Freeform 7">
              <a:extLst>
                <a:ext uri="{FF2B5EF4-FFF2-40B4-BE49-F238E27FC236}">
                  <a16:creationId xmlns:a16="http://schemas.microsoft.com/office/drawing/2014/main" id="{0696585D-EB93-DBD5-3A0B-625CFF7B612D}"/>
                </a:ext>
              </a:extLst>
            </p:cNvPr>
            <p:cNvSpPr>
              <a:spLocks/>
            </p:cNvSpPr>
            <p:nvPr userDrawn="1"/>
          </p:nvSpPr>
          <p:spPr bwMode="auto">
            <a:xfrm>
              <a:off x="6261" y="3496"/>
              <a:ext cx="205" cy="208"/>
            </a:xfrm>
            <a:custGeom>
              <a:avLst/>
              <a:gdLst>
                <a:gd name="T0" fmla="*/ 18 w 105"/>
                <a:gd name="T1" fmla="*/ 0 h 104"/>
                <a:gd name="T2" fmla="*/ 0 w 105"/>
                <a:gd name="T3" fmla="*/ 18 h 104"/>
                <a:gd name="T4" fmla="*/ 0 w 105"/>
                <a:gd name="T5" fmla="*/ 86 h 104"/>
                <a:gd name="T6" fmla="*/ 18 w 105"/>
                <a:gd name="T7" fmla="*/ 104 h 104"/>
                <a:gd name="T8" fmla="*/ 87 w 105"/>
                <a:gd name="T9" fmla="*/ 104 h 104"/>
                <a:gd name="T10" fmla="*/ 105 w 105"/>
                <a:gd name="T11" fmla="*/ 86 h 104"/>
                <a:gd name="T12" fmla="*/ 105 w 105"/>
                <a:gd name="T13" fmla="*/ 18 h 104"/>
                <a:gd name="T14" fmla="*/ 87 w 105"/>
                <a:gd name="T15" fmla="*/ 0 h 104"/>
                <a:gd name="T16" fmla="*/ 18 w 105"/>
                <a:gd name="T17" fmla="*/ 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5" h="104">
                  <a:moveTo>
                    <a:pt x="18" y="0"/>
                  </a:moveTo>
                  <a:cubicBezTo>
                    <a:pt x="8" y="0"/>
                    <a:pt x="0" y="8"/>
                    <a:pt x="0" y="18"/>
                  </a:cubicBezTo>
                  <a:cubicBezTo>
                    <a:pt x="0" y="86"/>
                    <a:pt x="0" y="86"/>
                    <a:pt x="0" y="86"/>
                  </a:cubicBezTo>
                  <a:cubicBezTo>
                    <a:pt x="0" y="96"/>
                    <a:pt x="8" y="104"/>
                    <a:pt x="18" y="104"/>
                  </a:cubicBezTo>
                  <a:cubicBezTo>
                    <a:pt x="87" y="104"/>
                    <a:pt x="87" y="104"/>
                    <a:pt x="87" y="104"/>
                  </a:cubicBezTo>
                  <a:cubicBezTo>
                    <a:pt x="97" y="104"/>
                    <a:pt x="105" y="96"/>
                    <a:pt x="105" y="86"/>
                  </a:cubicBezTo>
                  <a:cubicBezTo>
                    <a:pt x="105" y="18"/>
                    <a:pt x="105" y="18"/>
                    <a:pt x="105" y="18"/>
                  </a:cubicBezTo>
                  <a:cubicBezTo>
                    <a:pt x="105" y="8"/>
                    <a:pt x="97" y="0"/>
                    <a:pt x="87" y="0"/>
                  </a:cubicBezTo>
                  <a:lnTo>
                    <a:pt x="18" y="0"/>
                  </a:lnTo>
                  <a:close/>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0" name="Freeform 8">
              <a:extLst>
                <a:ext uri="{FF2B5EF4-FFF2-40B4-BE49-F238E27FC236}">
                  <a16:creationId xmlns:a16="http://schemas.microsoft.com/office/drawing/2014/main" id="{81275EB8-90F4-7794-5A73-52D0EA76A771}"/>
                </a:ext>
              </a:extLst>
            </p:cNvPr>
            <p:cNvSpPr>
              <a:spLocks noEditPoints="1"/>
            </p:cNvSpPr>
            <p:nvPr userDrawn="1"/>
          </p:nvSpPr>
          <p:spPr bwMode="auto">
            <a:xfrm>
              <a:off x="6292" y="3548"/>
              <a:ext cx="143" cy="104"/>
            </a:xfrm>
            <a:custGeom>
              <a:avLst/>
              <a:gdLst>
                <a:gd name="T0" fmla="*/ 29 w 73"/>
                <a:gd name="T1" fmla="*/ 37 h 52"/>
                <a:gd name="T2" fmla="*/ 29 w 73"/>
                <a:gd name="T3" fmla="*/ 15 h 52"/>
                <a:gd name="T4" fmla="*/ 48 w 73"/>
                <a:gd name="T5" fmla="*/ 26 h 52"/>
                <a:gd name="T6" fmla="*/ 29 w 73"/>
                <a:gd name="T7" fmla="*/ 37 h 52"/>
                <a:gd name="T8" fmla="*/ 65 w 73"/>
                <a:gd name="T9" fmla="*/ 2 h 52"/>
                <a:gd name="T10" fmla="*/ 36 w 73"/>
                <a:gd name="T11" fmla="*/ 0 h 52"/>
                <a:gd name="T12" fmla="*/ 8 w 73"/>
                <a:gd name="T13" fmla="*/ 2 h 52"/>
                <a:gd name="T14" fmla="*/ 1 w 73"/>
                <a:gd name="T15" fmla="*/ 8 h 52"/>
                <a:gd name="T16" fmla="*/ 0 w 73"/>
                <a:gd name="T17" fmla="*/ 26 h 52"/>
                <a:gd name="T18" fmla="*/ 1 w 73"/>
                <a:gd name="T19" fmla="*/ 44 h 52"/>
                <a:gd name="T20" fmla="*/ 8 w 73"/>
                <a:gd name="T21" fmla="*/ 50 h 52"/>
                <a:gd name="T22" fmla="*/ 36 w 73"/>
                <a:gd name="T23" fmla="*/ 52 h 52"/>
                <a:gd name="T24" fmla="*/ 65 w 73"/>
                <a:gd name="T25" fmla="*/ 50 h 52"/>
                <a:gd name="T26" fmla="*/ 72 w 73"/>
                <a:gd name="T27" fmla="*/ 44 h 52"/>
                <a:gd name="T28" fmla="*/ 73 w 73"/>
                <a:gd name="T29" fmla="*/ 26 h 52"/>
                <a:gd name="T30" fmla="*/ 72 w 73"/>
                <a:gd name="T31" fmla="*/ 8 h 52"/>
                <a:gd name="T32" fmla="*/ 65 w 73"/>
                <a:gd name="T33" fmla="*/ 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3" h="52">
                  <a:moveTo>
                    <a:pt x="29" y="37"/>
                  </a:moveTo>
                  <a:cubicBezTo>
                    <a:pt x="29" y="15"/>
                    <a:pt x="29" y="15"/>
                    <a:pt x="29" y="15"/>
                  </a:cubicBezTo>
                  <a:cubicBezTo>
                    <a:pt x="48" y="26"/>
                    <a:pt x="48" y="26"/>
                    <a:pt x="48" y="26"/>
                  </a:cubicBezTo>
                  <a:lnTo>
                    <a:pt x="29" y="37"/>
                  </a:lnTo>
                  <a:close/>
                  <a:moveTo>
                    <a:pt x="65" y="2"/>
                  </a:moveTo>
                  <a:cubicBezTo>
                    <a:pt x="59" y="0"/>
                    <a:pt x="36" y="0"/>
                    <a:pt x="36" y="0"/>
                  </a:cubicBezTo>
                  <a:cubicBezTo>
                    <a:pt x="36" y="0"/>
                    <a:pt x="13" y="0"/>
                    <a:pt x="8" y="2"/>
                  </a:cubicBezTo>
                  <a:cubicBezTo>
                    <a:pt x="5" y="3"/>
                    <a:pt x="2" y="5"/>
                    <a:pt x="1" y="8"/>
                  </a:cubicBezTo>
                  <a:cubicBezTo>
                    <a:pt x="0" y="14"/>
                    <a:pt x="0" y="26"/>
                    <a:pt x="0" y="26"/>
                  </a:cubicBezTo>
                  <a:cubicBezTo>
                    <a:pt x="0" y="26"/>
                    <a:pt x="0" y="38"/>
                    <a:pt x="1" y="44"/>
                  </a:cubicBezTo>
                  <a:cubicBezTo>
                    <a:pt x="2" y="47"/>
                    <a:pt x="5" y="49"/>
                    <a:pt x="8" y="50"/>
                  </a:cubicBezTo>
                  <a:cubicBezTo>
                    <a:pt x="13" y="52"/>
                    <a:pt x="36" y="52"/>
                    <a:pt x="36" y="52"/>
                  </a:cubicBezTo>
                  <a:cubicBezTo>
                    <a:pt x="36" y="52"/>
                    <a:pt x="59" y="52"/>
                    <a:pt x="65" y="50"/>
                  </a:cubicBezTo>
                  <a:cubicBezTo>
                    <a:pt x="68" y="49"/>
                    <a:pt x="71" y="47"/>
                    <a:pt x="72" y="44"/>
                  </a:cubicBezTo>
                  <a:cubicBezTo>
                    <a:pt x="73" y="38"/>
                    <a:pt x="73" y="26"/>
                    <a:pt x="73" y="26"/>
                  </a:cubicBezTo>
                  <a:cubicBezTo>
                    <a:pt x="73" y="26"/>
                    <a:pt x="73" y="14"/>
                    <a:pt x="72" y="8"/>
                  </a:cubicBezTo>
                  <a:cubicBezTo>
                    <a:pt x="71" y="5"/>
                    <a:pt x="68" y="3"/>
                    <a:pt x="65" y="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1" name="Freeform 9">
              <a:extLst>
                <a:ext uri="{FF2B5EF4-FFF2-40B4-BE49-F238E27FC236}">
                  <a16:creationId xmlns:a16="http://schemas.microsoft.com/office/drawing/2014/main" id="{590ABABF-8092-D469-1A8A-AEBBC95441F8}"/>
                </a:ext>
              </a:extLst>
            </p:cNvPr>
            <p:cNvSpPr>
              <a:spLocks/>
            </p:cNvSpPr>
            <p:nvPr userDrawn="1"/>
          </p:nvSpPr>
          <p:spPr bwMode="auto">
            <a:xfrm>
              <a:off x="6507" y="3496"/>
              <a:ext cx="204" cy="208"/>
            </a:xfrm>
            <a:custGeom>
              <a:avLst/>
              <a:gdLst>
                <a:gd name="T0" fmla="*/ 18 w 104"/>
                <a:gd name="T1" fmla="*/ 0 h 104"/>
                <a:gd name="T2" fmla="*/ 0 w 104"/>
                <a:gd name="T3" fmla="*/ 18 h 104"/>
                <a:gd name="T4" fmla="*/ 0 w 104"/>
                <a:gd name="T5" fmla="*/ 86 h 104"/>
                <a:gd name="T6" fmla="*/ 18 w 104"/>
                <a:gd name="T7" fmla="*/ 104 h 104"/>
                <a:gd name="T8" fmla="*/ 86 w 104"/>
                <a:gd name="T9" fmla="*/ 104 h 104"/>
                <a:gd name="T10" fmla="*/ 104 w 104"/>
                <a:gd name="T11" fmla="*/ 86 h 104"/>
                <a:gd name="T12" fmla="*/ 104 w 104"/>
                <a:gd name="T13" fmla="*/ 18 h 104"/>
                <a:gd name="T14" fmla="*/ 86 w 104"/>
                <a:gd name="T15" fmla="*/ 0 h 104"/>
                <a:gd name="T16" fmla="*/ 18 w 104"/>
                <a:gd name="T17" fmla="*/ 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4" h="104">
                  <a:moveTo>
                    <a:pt x="18" y="0"/>
                  </a:moveTo>
                  <a:cubicBezTo>
                    <a:pt x="8" y="0"/>
                    <a:pt x="0" y="8"/>
                    <a:pt x="0" y="18"/>
                  </a:cubicBezTo>
                  <a:cubicBezTo>
                    <a:pt x="0" y="86"/>
                    <a:pt x="0" y="86"/>
                    <a:pt x="0" y="86"/>
                  </a:cubicBezTo>
                  <a:cubicBezTo>
                    <a:pt x="0" y="96"/>
                    <a:pt x="8" y="104"/>
                    <a:pt x="18" y="104"/>
                  </a:cubicBezTo>
                  <a:cubicBezTo>
                    <a:pt x="86" y="104"/>
                    <a:pt x="86" y="104"/>
                    <a:pt x="86" y="104"/>
                  </a:cubicBezTo>
                  <a:cubicBezTo>
                    <a:pt x="96" y="104"/>
                    <a:pt x="104" y="96"/>
                    <a:pt x="104" y="86"/>
                  </a:cubicBezTo>
                  <a:cubicBezTo>
                    <a:pt x="104" y="18"/>
                    <a:pt x="104" y="18"/>
                    <a:pt x="104" y="18"/>
                  </a:cubicBezTo>
                  <a:cubicBezTo>
                    <a:pt x="104" y="8"/>
                    <a:pt x="96" y="0"/>
                    <a:pt x="86" y="0"/>
                  </a:cubicBezTo>
                  <a:lnTo>
                    <a:pt x="18" y="0"/>
                  </a:lnTo>
                  <a:close/>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2" name="Freeform 10">
              <a:extLst>
                <a:ext uri="{FF2B5EF4-FFF2-40B4-BE49-F238E27FC236}">
                  <a16:creationId xmlns:a16="http://schemas.microsoft.com/office/drawing/2014/main" id="{6AC1D440-D12E-2A9A-C179-616434090BE0}"/>
                </a:ext>
              </a:extLst>
            </p:cNvPr>
            <p:cNvSpPr>
              <a:spLocks/>
            </p:cNvSpPr>
            <p:nvPr userDrawn="1"/>
          </p:nvSpPr>
          <p:spPr bwMode="auto">
            <a:xfrm>
              <a:off x="6597" y="3522"/>
              <a:ext cx="96" cy="182"/>
            </a:xfrm>
            <a:custGeom>
              <a:avLst/>
              <a:gdLst>
                <a:gd name="T0" fmla="*/ 14 w 49"/>
                <a:gd name="T1" fmla="*/ 23 h 91"/>
                <a:gd name="T2" fmla="*/ 14 w 49"/>
                <a:gd name="T3" fmla="*/ 36 h 91"/>
                <a:gd name="T4" fmla="*/ 0 w 49"/>
                <a:gd name="T5" fmla="*/ 36 h 91"/>
                <a:gd name="T6" fmla="*/ 0 w 49"/>
                <a:gd name="T7" fmla="*/ 53 h 91"/>
                <a:gd name="T8" fmla="*/ 14 w 49"/>
                <a:gd name="T9" fmla="*/ 53 h 91"/>
                <a:gd name="T10" fmla="*/ 14 w 49"/>
                <a:gd name="T11" fmla="*/ 91 h 91"/>
                <a:gd name="T12" fmla="*/ 33 w 49"/>
                <a:gd name="T13" fmla="*/ 91 h 91"/>
                <a:gd name="T14" fmla="*/ 33 w 49"/>
                <a:gd name="T15" fmla="*/ 53 h 91"/>
                <a:gd name="T16" fmla="*/ 46 w 49"/>
                <a:gd name="T17" fmla="*/ 53 h 91"/>
                <a:gd name="T18" fmla="*/ 49 w 49"/>
                <a:gd name="T19" fmla="*/ 36 h 91"/>
                <a:gd name="T20" fmla="*/ 33 w 49"/>
                <a:gd name="T21" fmla="*/ 36 h 91"/>
                <a:gd name="T22" fmla="*/ 33 w 49"/>
                <a:gd name="T23" fmla="*/ 25 h 91"/>
                <a:gd name="T24" fmla="*/ 42 w 49"/>
                <a:gd name="T25" fmla="*/ 16 h 91"/>
                <a:gd name="T26" fmla="*/ 49 w 49"/>
                <a:gd name="T27" fmla="*/ 16 h 91"/>
                <a:gd name="T28" fmla="*/ 49 w 49"/>
                <a:gd name="T29" fmla="*/ 1 h 91"/>
                <a:gd name="T30" fmla="*/ 36 w 49"/>
                <a:gd name="T31" fmla="*/ 0 h 91"/>
                <a:gd name="T32" fmla="*/ 14 w 49"/>
                <a:gd name="T33" fmla="*/ 23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9" h="91">
                  <a:moveTo>
                    <a:pt x="14" y="23"/>
                  </a:moveTo>
                  <a:cubicBezTo>
                    <a:pt x="14" y="36"/>
                    <a:pt x="14" y="36"/>
                    <a:pt x="14" y="36"/>
                  </a:cubicBezTo>
                  <a:cubicBezTo>
                    <a:pt x="0" y="36"/>
                    <a:pt x="0" y="36"/>
                    <a:pt x="0" y="36"/>
                  </a:cubicBezTo>
                  <a:cubicBezTo>
                    <a:pt x="0" y="53"/>
                    <a:pt x="0" y="53"/>
                    <a:pt x="0" y="53"/>
                  </a:cubicBezTo>
                  <a:cubicBezTo>
                    <a:pt x="14" y="53"/>
                    <a:pt x="14" y="53"/>
                    <a:pt x="14" y="53"/>
                  </a:cubicBezTo>
                  <a:cubicBezTo>
                    <a:pt x="14" y="91"/>
                    <a:pt x="14" y="91"/>
                    <a:pt x="14" y="91"/>
                  </a:cubicBezTo>
                  <a:cubicBezTo>
                    <a:pt x="33" y="91"/>
                    <a:pt x="33" y="91"/>
                    <a:pt x="33" y="91"/>
                  </a:cubicBezTo>
                  <a:cubicBezTo>
                    <a:pt x="33" y="53"/>
                    <a:pt x="33" y="53"/>
                    <a:pt x="33" y="53"/>
                  </a:cubicBezTo>
                  <a:cubicBezTo>
                    <a:pt x="46" y="53"/>
                    <a:pt x="46" y="53"/>
                    <a:pt x="46" y="53"/>
                  </a:cubicBezTo>
                  <a:cubicBezTo>
                    <a:pt x="49" y="36"/>
                    <a:pt x="49" y="36"/>
                    <a:pt x="49" y="36"/>
                  </a:cubicBezTo>
                  <a:cubicBezTo>
                    <a:pt x="33" y="36"/>
                    <a:pt x="33" y="36"/>
                    <a:pt x="33" y="36"/>
                  </a:cubicBezTo>
                  <a:cubicBezTo>
                    <a:pt x="33" y="25"/>
                    <a:pt x="33" y="25"/>
                    <a:pt x="33" y="25"/>
                  </a:cubicBezTo>
                  <a:cubicBezTo>
                    <a:pt x="33" y="20"/>
                    <a:pt x="35" y="16"/>
                    <a:pt x="42" y="16"/>
                  </a:cubicBezTo>
                  <a:cubicBezTo>
                    <a:pt x="49" y="16"/>
                    <a:pt x="49" y="16"/>
                    <a:pt x="49" y="16"/>
                  </a:cubicBezTo>
                  <a:cubicBezTo>
                    <a:pt x="49" y="1"/>
                    <a:pt x="49" y="1"/>
                    <a:pt x="49" y="1"/>
                  </a:cubicBezTo>
                  <a:cubicBezTo>
                    <a:pt x="49" y="1"/>
                    <a:pt x="43" y="0"/>
                    <a:pt x="36" y="0"/>
                  </a:cubicBezTo>
                  <a:cubicBezTo>
                    <a:pt x="23" y="0"/>
                    <a:pt x="14" y="8"/>
                    <a:pt x="14" y="23"/>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3" name="Freeform 11">
              <a:extLst>
                <a:ext uri="{FF2B5EF4-FFF2-40B4-BE49-F238E27FC236}">
                  <a16:creationId xmlns:a16="http://schemas.microsoft.com/office/drawing/2014/main" id="{5EFEF4CD-3568-D135-AF65-5F01A0F321ED}"/>
                </a:ext>
              </a:extLst>
            </p:cNvPr>
            <p:cNvSpPr>
              <a:spLocks/>
            </p:cNvSpPr>
            <p:nvPr userDrawn="1"/>
          </p:nvSpPr>
          <p:spPr bwMode="auto">
            <a:xfrm>
              <a:off x="6998" y="3496"/>
              <a:ext cx="205" cy="208"/>
            </a:xfrm>
            <a:custGeom>
              <a:avLst/>
              <a:gdLst>
                <a:gd name="T0" fmla="*/ 18 w 105"/>
                <a:gd name="T1" fmla="*/ 0 h 104"/>
                <a:gd name="T2" fmla="*/ 0 w 105"/>
                <a:gd name="T3" fmla="*/ 18 h 104"/>
                <a:gd name="T4" fmla="*/ 0 w 105"/>
                <a:gd name="T5" fmla="*/ 86 h 104"/>
                <a:gd name="T6" fmla="*/ 18 w 105"/>
                <a:gd name="T7" fmla="*/ 104 h 104"/>
                <a:gd name="T8" fmla="*/ 87 w 105"/>
                <a:gd name="T9" fmla="*/ 104 h 104"/>
                <a:gd name="T10" fmla="*/ 105 w 105"/>
                <a:gd name="T11" fmla="*/ 86 h 104"/>
                <a:gd name="T12" fmla="*/ 105 w 105"/>
                <a:gd name="T13" fmla="*/ 18 h 104"/>
                <a:gd name="T14" fmla="*/ 87 w 105"/>
                <a:gd name="T15" fmla="*/ 0 h 104"/>
                <a:gd name="T16" fmla="*/ 18 w 105"/>
                <a:gd name="T17" fmla="*/ 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5" h="104">
                  <a:moveTo>
                    <a:pt x="18" y="0"/>
                  </a:moveTo>
                  <a:cubicBezTo>
                    <a:pt x="8" y="0"/>
                    <a:pt x="0" y="8"/>
                    <a:pt x="0" y="18"/>
                  </a:cubicBezTo>
                  <a:cubicBezTo>
                    <a:pt x="0" y="86"/>
                    <a:pt x="0" y="86"/>
                    <a:pt x="0" y="86"/>
                  </a:cubicBezTo>
                  <a:cubicBezTo>
                    <a:pt x="0" y="96"/>
                    <a:pt x="8" y="104"/>
                    <a:pt x="18" y="104"/>
                  </a:cubicBezTo>
                  <a:cubicBezTo>
                    <a:pt x="87" y="104"/>
                    <a:pt x="87" y="104"/>
                    <a:pt x="87" y="104"/>
                  </a:cubicBezTo>
                  <a:cubicBezTo>
                    <a:pt x="97" y="104"/>
                    <a:pt x="105" y="96"/>
                    <a:pt x="105" y="86"/>
                  </a:cubicBezTo>
                  <a:cubicBezTo>
                    <a:pt x="105" y="18"/>
                    <a:pt x="105" y="18"/>
                    <a:pt x="105" y="18"/>
                  </a:cubicBezTo>
                  <a:cubicBezTo>
                    <a:pt x="105" y="8"/>
                    <a:pt x="97" y="0"/>
                    <a:pt x="87" y="0"/>
                  </a:cubicBezTo>
                  <a:lnTo>
                    <a:pt x="18" y="0"/>
                  </a:lnTo>
                  <a:close/>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4" name="Rectangle 12">
              <a:extLst>
                <a:ext uri="{FF2B5EF4-FFF2-40B4-BE49-F238E27FC236}">
                  <a16:creationId xmlns:a16="http://schemas.microsoft.com/office/drawing/2014/main" id="{46F58ED3-1AC5-359D-FC78-981B6E45FFBE}"/>
                </a:ext>
              </a:extLst>
            </p:cNvPr>
            <p:cNvSpPr>
              <a:spLocks noChangeArrowheads="1"/>
            </p:cNvSpPr>
            <p:nvPr userDrawn="1"/>
          </p:nvSpPr>
          <p:spPr bwMode="auto">
            <a:xfrm>
              <a:off x="7033" y="3576"/>
              <a:ext cx="29" cy="9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5" name="Freeform 13">
              <a:extLst>
                <a:ext uri="{FF2B5EF4-FFF2-40B4-BE49-F238E27FC236}">
                  <a16:creationId xmlns:a16="http://schemas.microsoft.com/office/drawing/2014/main" id="{B5F86F61-5730-A096-814C-60EE38F55820}"/>
                </a:ext>
              </a:extLst>
            </p:cNvPr>
            <p:cNvSpPr>
              <a:spLocks/>
            </p:cNvSpPr>
            <p:nvPr userDrawn="1"/>
          </p:nvSpPr>
          <p:spPr bwMode="auto">
            <a:xfrm>
              <a:off x="7078" y="3574"/>
              <a:ext cx="92" cy="94"/>
            </a:xfrm>
            <a:custGeom>
              <a:avLst/>
              <a:gdLst>
                <a:gd name="T0" fmla="*/ 29 w 47"/>
                <a:gd name="T1" fmla="*/ 0 h 47"/>
                <a:gd name="T2" fmla="*/ 16 w 47"/>
                <a:gd name="T3" fmla="*/ 8 h 47"/>
                <a:gd name="T4" fmla="*/ 16 w 47"/>
                <a:gd name="T5" fmla="*/ 1 h 47"/>
                <a:gd name="T6" fmla="*/ 0 w 47"/>
                <a:gd name="T7" fmla="*/ 1 h 47"/>
                <a:gd name="T8" fmla="*/ 0 w 47"/>
                <a:gd name="T9" fmla="*/ 47 h 47"/>
                <a:gd name="T10" fmla="*/ 16 w 47"/>
                <a:gd name="T11" fmla="*/ 47 h 47"/>
                <a:gd name="T12" fmla="*/ 16 w 47"/>
                <a:gd name="T13" fmla="*/ 21 h 47"/>
                <a:gd name="T14" fmla="*/ 16 w 47"/>
                <a:gd name="T15" fmla="*/ 18 h 47"/>
                <a:gd name="T16" fmla="*/ 24 w 47"/>
                <a:gd name="T17" fmla="*/ 12 h 47"/>
                <a:gd name="T18" fmla="*/ 32 w 47"/>
                <a:gd name="T19" fmla="*/ 22 h 47"/>
                <a:gd name="T20" fmla="*/ 32 w 47"/>
                <a:gd name="T21" fmla="*/ 47 h 47"/>
                <a:gd name="T22" fmla="*/ 47 w 47"/>
                <a:gd name="T23" fmla="*/ 47 h 47"/>
                <a:gd name="T24" fmla="*/ 47 w 47"/>
                <a:gd name="T25" fmla="*/ 21 h 47"/>
                <a:gd name="T26" fmla="*/ 29 w 47"/>
                <a:gd name="T27"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7" h="47">
                  <a:moveTo>
                    <a:pt x="29" y="0"/>
                  </a:moveTo>
                  <a:cubicBezTo>
                    <a:pt x="21" y="0"/>
                    <a:pt x="18" y="4"/>
                    <a:pt x="16" y="8"/>
                  </a:cubicBezTo>
                  <a:cubicBezTo>
                    <a:pt x="16" y="1"/>
                    <a:pt x="16" y="1"/>
                    <a:pt x="16" y="1"/>
                  </a:cubicBezTo>
                  <a:cubicBezTo>
                    <a:pt x="0" y="1"/>
                    <a:pt x="0" y="1"/>
                    <a:pt x="0" y="1"/>
                  </a:cubicBezTo>
                  <a:cubicBezTo>
                    <a:pt x="1" y="5"/>
                    <a:pt x="0" y="47"/>
                    <a:pt x="0" y="47"/>
                  </a:cubicBezTo>
                  <a:cubicBezTo>
                    <a:pt x="16" y="47"/>
                    <a:pt x="16" y="47"/>
                    <a:pt x="16" y="47"/>
                  </a:cubicBezTo>
                  <a:cubicBezTo>
                    <a:pt x="16" y="21"/>
                    <a:pt x="16" y="21"/>
                    <a:pt x="16" y="21"/>
                  </a:cubicBezTo>
                  <a:cubicBezTo>
                    <a:pt x="16" y="20"/>
                    <a:pt x="16" y="19"/>
                    <a:pt x="16" y="18"/>
                  </a:cubicBezTo>
                  <a:cubicBezTo>
                    <a:pt x="17" y="15"/>
                    <a:pt x="20" y="12"/>
                    <a:pt x="24" y="12"/>
                  </a:cubicBezTo>
                  <a:cubicBezTo>
                    <a:pt x="30" y="12"/>
                    <a:pt x="32" y="16"/>
                    <a:pt x="32" y="22"/>
                  </a:cubicBezTo>
                  <a:cubicBezTo>
                    <a:pt x="32" y="47"/>
                    <a:pt x="32" y="47"/>
                    <a:pt x="32" y="47"/>
                  </a:cubicBezTo>
                  <a:cubicBezTo>
                    <a:pt x="47" y="47"/>
                    <a:pt x="47" y="47"/>
                    <a:pt x="47" y="47"/>
                  </a:cubicBezTo>
                  <a:cubicBezTo>
                    <a:pt x="47" y="21"/>
                    <a:pt x="47" y="21"/>
                    <a:pt x="47" y="21"/>
                  </a:cubicBezTo>
                  <a:cubicBezTo>
                    <a:pt x="47" y="7"/>
                    <a:pt x="40" y="0"/>
                    <a:pt x="29"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6" name="Freeform 14">
              <a:extLst>
                <a:ext uri="{FF2B5EF4-FFF2-40B4-BE49-F238E27FC236}">
                  <a16:creationId xmlns:a16="http://schemas.microsoft.com/office/drawing/2014/main" id="{3F2E7B21-553B-6C3B-2807-9399351F65FE}"/>
                </a:ext>
              </a:extLst>
            </p:cNvPr>
            <p:cNvSpPr>
              <a:spLocks/>
            </p:cNvSpPr>
            <p:nvPr userDrawn="1"/>
          </p:nvSpPr>
          <p:spPr bwMode="auto">
            <a:xfrm>
              <a:off x="7031" y="3532"/>
              <a:ext cx="33" cy="32"/>
            </a:xfrm>
            <a:custGeom>
              <a:avLst/>
              <a:gdLst>
                <a:gd name="T0" fmla="*/ 8 w 17"/>
                <a:gd name="T1" fmla="*/ 0 h 16"/>
                <a:gd name="T2" fmla="*/ 0 w 17"/>
                <a:gd name="T3" fmla="*/ 8 h 16"/>
                <a:gd name="T4" fmla="*/ 8 w 17"/>
                <a:gd name="T5" fmla="*/ 16 h 16"/>
                <a:gd name="T6" fmla="*/ 8 w 17"/>
                <a:gd name="T7" fmla="*/ 16 h 16"/>
                <a:gd name="T8" fmla="*/ 17 w 17"/>
                <a:gd name="T9" fmla="*/ 8 h 16"/>
                <a:gd name="T10" fmla="*/ 8 w 17"/>
                <a:gd name="T11" fmla="*/ 0 h 16"/>
              </a:gdLst>
              <a:ahLst/>
              <a:cxnLst>
                <a:cxn ang="0">
                  <a:pos x="T0" y="T1"/>
                </a:cxn>
                <a:cxn ang="0">
                  <a:pos x="T2" y="T3"/>
                </a:cxn>
                <a:cxn ang="0">
                  <a:pos x="T4" y="T5"/>
                </a:cxn>
                <a:cxn ang="0">
                  <a:pos x="T6" y="T7"/>
                </a:cxn>
                <a:cxn ang="0">
                  <a:pos x="T8" y="T9"/>
                </a:cxn>
                <a:cxn ang="0">
                  <a:pos x="T10" y="T11"/>
                </a:cxn>
              </a:cxnLst>
              <a:rect l="0" t="0" r="r" b="b"/>
              <a:pathLst>
                <a:path w="17" h="16">
                  <a:moveTo>
                    <a:pt x="8" y="0"/>
                  </a:moveTo>
                  <a:cubicBezTo>
                    <a:pt x="3" y="0"/>
                    <a:pt x="0" y="3"/>
                    <a:pt x="0" y="8"/>
                  </a:cubicBezTo>
                  <a:cubicBezTo>
                    <a:pt x="0" y="12"/>
                    <a:pt x="3" y="16"/>
                    <a:pt x="8" y="16"/>
                  </a:cubicBezTo>
                  <a:cubicBezTo>
                    <a:pt x="8" y="16"/>
                    <a:pt x="8" y="16"/>
                    <a:pt x="8" y="16"/>
                  </a:cubicBezTo>
                  <a:cubicBezTo>
                    <a:pt x="14" y="16"/>
                    <a:pt x="17" y="12"/>
                    <a:pt x="17" y="8"/>
                  </a:cubicBezTo>
                  <a:cubicBezTo>
                    <a:pt x="17" y="3"/>
                    <a:pt x="14" y="0"/>
                    <a:pt x="8"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8" name="Freeform 15">
              <a:extLst>
                <a:ext uri="{FF2B5EF4-FFF2-40B4-BE49-F238E27FC236}">
                  <a16:creationId xmlns:a16="http://schemas.microsoft.com/office/drawing/2014/main" id="{B09B5F53-17ED-06FB-A4CB-AFDA164BA009}"/>
                </a:ext>
              </a:extLst>
            </p:cNvPr>
            <p:cNvSpPr>
              <a:spLocks/>
            </p:cNvSpPr>
            <p:nvPr userDrawn="1"/>
          </p:nvSpPr>
          <p:spPr bwMode="auto">
            <a:xfrm>
              <a:off x="6752" y="3496"/>
              <a:ext cx="205" cy="208"/>
            </a:xfrm>
            <a:custGeom>
              <a:avLst/>
              <a:gdLst>
                <a:gd name="T0" fmla="*/ 18 w 105"/>
                <a:gd name="T1" fmla="*/ 0 h 104"/>
                <a:gd name="T2" fmla="*/ 0 w 105"/>
                <a:gd name="T3" fmla="*/ 18 h 104"/>
                <a:gd name="T4" fmla="*/ 0 w 105"/>
                <a:gd name="T5" fmla="*/ 86 h 104"/>
                <a:gd name="T6" fmla="*/ 18 w 105"/>
                <a:gd name="T7" fmla="*/ 104 h 104"/>
                <a:gd name="T8" fmla="*/ 87 w 105"/>
                <a:gd name="T9" fmla="*/ 104 h 104"/>
                <a:gd name="T10" fmla="*/ 105 w 105"/>
                <a:gd name="T11" fmla="*/ 86 h 104"/>
                <a:gd name="T12" fmla="*/ 105 w 105"/>
                <a:gd name="T13" fmla="*/ 18 h 104"/>
                <a:gd name="T14" fmla="*/ 87 w 105"/>
                <a:gd name="T15" fmla="*/ 0 h 104"/>
                <a:gd name="T16" fmla="*/ 18 w 105"/>
                <a:gd name="T17" fmla="*/ 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5" h="104">
                  <a:moveTo>
                    <a:pt x="18" y="0"/>
                  </a:moveTo>
                  <a:cubicBezTo>
                    <a:pt x="8" y="0"/>
                    <a:pt x="0" y="8"/>
                    <a:pt x="0" y="18"/>
                  </a:cubicBezTo>
                  <a:cubicBezTo>
                    <a:pt x="0" y="86"/>
                    <a:pt x="0" y="86"/>
                    <a:pt x="0" y="86"/>
                  </a:cubicBezTo>
                  <a:cubicBezTo>
                    <a:pt x="0" y="96"/>
                    <a:pt x="8" y="104"/>
                    <a:pt x="18" y="104"/>
                  </a:cubicBezTo>
                  <a:cubicBezTo>
                    <a:pt x="87" y="104"/>
                    <a:pt x="87" y="104"/>
                    <a:pt x="87" y="104"/>
                  </a:cubicBezTo>
                  <a:cubicBezTo>
                    <a:pt x="97" y="104"/>
                    <a:pt x="105" y="96"/>
                    <a:pt x="105" y="86"/>
                  </a:cubicBezTo>
                  <a:cubicBezTo>
                    <a:pt x="105" y="18"/>
                    <a:pt x="105" y="18"/>
                    <a:pt x="105" y="18"/>
                  </a:cubicBezTo>
                  <a:cubicBezTo>
                    <a:pt x="105" y="8"/>
                    <a:pt x="97" y="0"/>
                    <a:pt x="87" y="0"/>
                  </a:cubicBezTo>
                  <a:lnTo>
                    <a:pt x="18" y="0"/>
                  </a:lnTo>
                  <a:close/>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9" name="Freeform 16">
              <a:extLst>
                <a:ext uri="{FF2B5EF4-FFF2-40B4-BE49-F238E27FC236}">
                  <a16:creationId xmlns:a16="http://schemas.microsoft.com/office/drawing/2014/main" id="{BF006728-E93A-08D7-65DC-59E592AC6EBA}"/>
                </a:ext>
              </a:extLst>
            </p:cNvPr>
            <p:cNvSpPr>
              <a:spLocks noEditPoints="1"/>
            </p:cNvSpPr>
            <p:nvPr userDrawn="1"/>
          </p:nvSpPr>
          <p:spPr bwMode="auto">
            <a:xfrm>
              <a:off x="6818" y="3564"/>
              <a:ext cx="72" cy="72"/>
            </a:xfrm>
            <a:custGeom>
              <a:avLst/>
              <a:gdLst>
                <a:gd name="T0" fmla="*/ 19 w 37"/>
                <a:gd name="T1" fmla="*/ 30 h 36"/>
                <a:gd name="T2" fmla="*/ 7 w 37"/>
                <a:gd name="T3" fmla="*/ 18 h 36"/>
                <a:gd name="T4" fmla="*/ 19 w 37"/>
                <a:gd name="T5" fmla="*/ 6 h 36"/>
                <a:gd name="T6" fmla="*/ 31 w 37"/>
                <a:gd name="T7" fmla="*/ 18 h 36"/>
                <a:gd name="T8" fmla="*/ 19 w 37"/>
                <a:gd name="T9" fmla="*/ 30 h 36"/>
                <a:gd name="T10" fmla="*/ 19 w 37"/>
                <a:gd name="T11" fmla="*/ 0 h 36"/>
                <a:gd name="T12" fmla="*/ 0 w 37"/>
                <a:gd name="T13" fmla="*/ 18 h 36"/>
                <a:gd name="T14" fmla="*/ 19 w 37"/>
                <a:gd name="T15" fmla="*/ 36 h 36"/>
                <a:gd name="T16" fmla="*/ 37 w 37"/>
                <a:gd name="T17" fmla="*/ 18 h 36"/>
                <a:gd name="T18" fmla="*/ 19 w 37"/>
                <a:gd name="T19"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7" h="36">
                  <a:moveTo>
                    <a:pt x="19" y="30"/>
                  </a:moveTo>
                  <a:cubicBezTo>
                    <a:pt x="12" y="30"/>
                    <a:pt x="7" y="25"/>
                    <a:pt x="7" y="18"/>
                  </a:cubicBezTo>
                  <a:cubicBezTo>
                    <a:pt x="7" y="11"/>
                    <a:pt x="12" y="6"/>
                    <a:pt x="19" y="6"/>
                  </a:cubicBezTo>
                  <a:cubicBezTo>
                    <a:pt x="25" y="6"/>
                    <a:pt x="31" y="11"/>
                    <a:pt x="31" y="18"/>
                  </a:cubicBezTo>
                  <a:cubicBezTo>
                    <a:pt x="31" y="25"/>
                    <a:pt x="25" y="30"/>
                    <a:pt x="19" y="30"/>
                  </a:cubicBezTo>
                  <a:moveTo>
                    <a:pt x="19" y="0"/>
                  </a:moveTo>
                  <a:cubicBezTo>
                    <a:pt x="9" y="0"/>
                    <a:pt x="0" y="8"/>
                    <a:pt x="0" y="18"/>
                  </a:cubicBezTo>
                  <a:cubicBezTo>
                    <a:pt x="0" y="28"/>
                    <a:pt x="9" y="36"/>
                    <a:pt x="19" y="36"/>
                  </a:cubicBezTo>
                  <a:cubicBezTo>
                    <a:pt x="29" y="36"/>
                    <a:pt x="37" y="28"/>
                    <a:pt x="37" y="18"/>
                  </a:cubicBezTo>
                  <a:cubicBezTo>
                    <a:pt x="37" y="8"/>
                    <a:pt x="29" y="0"/>
                    <a:pt x="19"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0" name="Freeform 17">
              <a:extLst>
                <a:ext uri="{FF2B5EF4-FFF2-40B4-BE49-F238E27FC236}">
                  <a16:creationId xmlns:a16="http://schemas.microsoft.com/office/drawing/2014/main" id="{F1862EAE-6285-1ED8-8A93-FB580AFB625B}"/>
                </a:ext>
              </a:extLst>
            </p:cNvPr>
            <p:cNvSpPr>
              <a:spLocks noEditPoints="1"/>
            </p:cNvSpPr>
            <p:nvPr userDrawn="1"/>
          </p:nvSpPr>
          <p:spPr bwMode="auto">
            <a:xfrm>
              <a:off x="6785" y="3528"/>
              <a:ext cx="139" cy="144"/>
            </a:xfrm>
            <a:custGeom>
              <a:avLst/>
              <a:gdLst>
                <a:gd name="T0" fmla="*/ 65 w 71"/>
                <a:gd name="T1" fmla="*/ 50 h 72"/>
                <a:gd name="T2" fmla="*/ 64 w 71"/>
                <a:gd name="T3" fmla="*/ 57 h 72"/>
                <a:gd name="T4" fmla="*/ 61 w 71"/>
                <a:gd name="T5" fmla="*/ 61 h 72"/>
                <a:gd name="T6" fmla="*/ 57 w 71"/>
                <a:gd name="T7" fmla="*/ 64 h 72"/>
                <a:gd name="T8" fmla="*/ 50 w 71"/>
                <a:gd name="T9" fmla="*/ 65 h 72"/>
                <a:gd name="T10" fmla="*/ 36 w 71"/>
                <a:gd name="T11" fmla="*/ 65 h 72"/>
                <a:gd name="T12" fmla="*/ 21 w 71"/>
                <a:gd name="T13" fmla="*/ 65 h 72"/>
                <a:gd name="T14" fmla="*/ 15 w 71"/>
                <a:gd name="T15" fmla="*/ 64 h 72"/>
                <a:gd name="T16" fmla="*/ 11 w 71"/>
                <a:gd name="T17" fmla="*/ 61 h 72"/>
                <a:gd name="T18" fmla="*/ 8 w 71"/>
                <a:gd name="T19" fmla="*/ 57 h 72"/>
                <a:gd name="T20" fmla="*/ 7 w 71"/>
                <a:gd name="T21" fmla="*/ 50 h 72"/>
                <a:gd name="T22" fmla="*/ 6 w 71"/>
                <a:gd name="T23" fmla="*/ 36 h 72"/>
                <a:gd name="T24" fmla="*/ 7 w 71"/>
                <a:gd name="T25" fmla="*/ 21 h 72"/>
                <a:gd name="T26" fmla="*/ 8 w 71"/>
                <a:gd name="T27" fmla="*/ 15 h 72"/>
                <a:gd name="T28" fmla="*/ 11 w 71"/>
                <a:gd name="T29" fmla="*/ 11 h 72"/>
                <a:gd name="T30" fmla="*/ 15 w 71"/>
                <a:gd name="T31" fmla="*/ 8 h 72"/>
                <a:gd name="T32" fmla="*/ 21 w 71"/>
                <a:gd name="T33" fmla="*/ 7 h 72"/>
                <a:gd name="T34" fmla="*/ 36 w 71"/>
                <a:gd name="T35" fmla="*/ 7 h 72"/>
                <a:gd name="T36" fmla="*/ 50 w 71"/>
                <a:gd name="T37" fmla="*/ 7 h 72"/>
                <a:gd name="T38" fmla="*/ 57 w 71"/>
                <a:gd name="T39" fmla="*/ 8 h 72"/>
                <a:gd name="T40" fmla="*/ 61 w 71"/>
                <a:gd name="T41" fmla="*/ 11 h 72"/>
                <a:gd name="T42" fmla="*/ 64 w 71"/>
                <a:gd name="T43" fmla="*/ 15 h 72"/>
                <a:gd name="T44" fmla="*/ 65 w 71"/>
                <a:gd name="T45" fmla="*/ 21 h 72"/>
                <a:gd name="T46" fmla="*/ 65 w 71"/>
                <a:gd name="T47" fmla="*/ 36 h 72"/>
                <a:gd name="T48" fmla="*/ 65 w 71"/>
                <a:gd name="T49" fmla="*/ 50 h 72"/>
                <a:gd name="T50" fmla="*/ 71 w 71"/>
                <a:gd name="T51" fmla="*/ 21 h 72"/>
                <a:gd name="T52" fmla="*/ 70 w 71"/>
                <a:gd name="T53" fmla="*/ 13 h 72"/>
                <a:gd name="T54" fmla="*/ 65 w 71"/>
                <a:gd name="T55" fmla="*/ 6 h 72"/>
                <a:gd name="T56" fmla="*/ 59 w 71"/>
                <a:gd name="T57" fmla="*/ 2 h 72"/>
                <a:gd name="T58" fmla="*/ 50 w 71"/>
                <a:gd name="T59" fmla="*/ 0 h 72"/>
                <a:gd name="T60" fmla="*/ 36 w 71"/>
                <a:gd name="T61" fmla="*/ 0 h 72"/>
                <a:gd name="T62" fmla="*/ 21 w 71"/>
                <a:gd name="T63" fmla="*/ 0 h 72"/>
                <a:gd name="T64" fmla="*/ 12 w 71"/>
                <a:gd name="T65" fmla="*/ 2 h 72"/>
                <a:gd name="T66" fmla="*/ 6 w 71"/>
                <a:gd name="T67" fmla="*/ 6 h 72"/>
                <a:gd name="T68" fmla="*/ 2 w 71"/>
                <a:gd name="T69" fmla="*/ 13 h 72"/>
                <a:gd name="T70" fmla="*/ 0 w 71"/>
                <a:gd name="T71" fmla="*/ 21 h 72"/>
                <a:gd name="T72" fmla="*/ 0 w 71"/>
                <a:gd name="T73" fmla="*/ 36 h 72"/>
                <a:gd name="T74" fmla="*/ 0 w 71"/>
                <a:gd name="T75" fmla="*/ 51 h 72"/>
                <a:gd name="T76" fmla="*/ 2 w 71"/>
                <a:gd name="T77" fmla="*/ 59 h 72"/>
                <a:gd name="T78" fmla="*/ 6 w 71"/>
                <a:gd name="T79" fmla="*/ 66 h 72"/>
                <a:gd name="T80" fmla="*/ 12 w 71"/>
                <a:gd name="T81" fmla="*/ 70 h 72"/>
                <a:gd name="T82" fmla="*/ 21 w 71"/>
                <a:gd name="T83" fmla="*/ 71 h 72"/>
                <a:gd name="T84" fmla="*/ 36 w 71"/>
                <a:gd name="T85" fmla="*/ 72 h 72"/>
                <a:gd name="T86" fmla="*/ 50 w 71"/>
                <a:gd name="T87" fmla="*/ 71 h 72"/>
                <a:gd name="T88" fmla="*/ 59 w 71"/>
                <a:gd name="T89" fmla="*/ 70 h 72"/>
                <a:gd name="T90" fmla="*/ 65 w 71"/>
                <a:gd name="T91" fmla="*/ 66 h 72"/>
                <a:gd name="T92" fmla="*/ 70 w 71"/>
                <a:gd name="T93" fmla="*/ 59 h 72"/>
                <a:gd name="T94" fmla="*/ 71 w 71"/>
                <a:gd name="T95" fmla="*/ 51 h 72"/>
                <a:gd name="T96" fmla="*/ 71 w 71"/>
                <a:gd name="T97" fmla="*/ 36 h 72"/>
                <a:gd name="T98" fmla="*/ 71 w 71"/>
                <a:gd name="T99" fmla="*/ 21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71" h="72">
                  <a:moveTo>
                    <a:pt x="65" y="50"/>
                  </a:moveTo>
                  <a:cubicBezTo>
                    <a:pt x="65" y="54"/>
                    <a:pt x="64" y="56"/>
                    <a:pt x="64" y="57"/>
                  </a:cubicBezTo>
                  <a:cubicBezTo>
                    <a:pt x="63" y="59"/>
                    <a:pt x="62" y="60"/>
                    <a:pt x="61" y="61"/>
                  </a:cubicBezTo>
                  <a:cubicBezTo>
                    <a:pt x="60" y="62"/>
                    <a:pt x="58" y="63"/>
                    <a:pt x="57" y="64"/>
                  </a:cubicBezTo>
                  <a:cubicBezTo>
                    <a:pt x="56" y="64"/>
                    <a:pt x="54" y="65"/>
                    <a:pt x="50" y="65"/>
                  </a:cubicBezTo>
                  <a:cubicBezTo>
                    <a:pt x="46" y="65"/>
                    <a:pt x="45" y="65"/>
                    <a:pt x="36" y="65"/>
                  </a:cubicBezTo>
                  <a:cubicBezTo>
                    <a:pt x="26" y="65"/>
                    <a:pt x="25" y="65"/>
                    <a:pt x="21" y="65"/>
                  </a:cubicBezTo>
                  <a:cubicBezTo>
                    <a:pt x="18" y="65"/>
                    <a:pt x="16" y="64"/>
                    <a:pt x="15" y="64"/>
                  </a:cubicBezTo>
                  <a:cubicBezTo>
                    <a:pt x="13" y="63"/>
                    <a:pt x="12" y="62"/>
                    <a:pt x="11" y="61"/>
                  </a:cubicBezTo>
                  <a:cubicBezTo>
                    <a:pt x="9" y="60"/>
                    <a:pt x="9" y="59"/>
                    <a:pt x="8" y="57"/>
                  </a:cubicBezTo>
                  <a:cubicBezTo>
                    <a:pt x="7" y="56"/>
                    <a:pt x="7" y="54"/>
                    <a:pt x="7" y="50"/>
                  </a:cubicBezTo>
                  <a:cubicBezTo>
                    <a:pt x="6" y="47"/>
                    <a:pt x="6" y="45"/>
                    <a:pt x="6" y="36"/>
                  </a:cubicBezTo>
                  <a:cubicBezTo>
                    <a:pt x="6" y="26"/>
                    <a:pt x="6" y="25"/>
                    <a:pt x="7" y="21"/>
                  </a:cubicBezTo>
                  <a:cubicBezTo>
                    <a:pt x="7" y="18"/>
                    <a:pt x="7" y="16"/>
                    <a:pt x="8" y="15"/>
                  </a:cubicBezTo>
                  <a:cubicBezTo>
                    <a:pt x="9" y="13"/>
                    <a:pt x="9" y="12"/>
                    <a:pt x="11" y="11"/>
                  </a:cubicBezTo>
                  <a:cubicBezTo>
                    <a:pt x="12" y="10"/>
                    <a:pt x="13" y="9"/>
                    <a:pt x="15" y="8"/>
                  </a:cubicBezTo>
                  <a:cubicBezTo>
                    <a:pt x="16" y="8"/>
                    <a:pt x="18" y="7"/>
                    <a:pt x="21" y="7"/>
                  </a:cubicBezTo>
                  <a:cubicBezTo>
                    <a:pt x="25" y="7"/>
                    <a:pt x="26" y="7"/>
                    <a:pt x="36" y="7"/>
                  </a:cubicBezTo>
                  <a:cubicBezTo>
                    <a:pt x="45" y="7"/>
                    <a:pt x="46" y="7"/>
                    <a:pt x="50" y="7"/>
                  </a:cubicBezTo>
                  <a:cubicBezTo>
                    <a:pt x="54" y="7"/>
                    <a:pt x="56" y="8"/>
                    <a:pt x="57" y="8"/>
                  </a:cubicBezTo>
                  <a:cubicBezTo>
                    <a:pt x="58" y="9"/>
                    <a:pt x="60" y="10"/>
                    <a:pt x="61" y="11"/>
                  </a:cubicBezTo>
                  <a:cubicBezTo>
                    <a:pt x="62" y="12"/>
                    <a:pt x="63" y="13"/>
                    <a:pt x="64" y="15"/>
                  </a:cubicBezTo>
                  <a:cubicBezTo>
                    <a:pt x="64" y="16"/>
                    <a:pt x="65" y="18"/>
                    <a:pt x="65" y="21"/>
                  </a:cubicBezTo>
                  <a:cubicBezTo>
                    <a:pt x="65" y="25"/>
                    <a:pt x="65" y="26"/>
                    <a:pt x="65" y="36"/>
                  </a:cubicBezTo>
                  <a:cubicBezTo>
                    <a:pt x="65" y="45"/>
                    <a:pt x="65" y="47"/>
                    <a:pt x="65" y="50"/>
                  </a:cubicBezTo>
                  <a:moveTo>
                    <a:pt x="71" y="21"/>
                  </a:moveTo>
                  <a:cubicBezTo>
                    <a:pt x="71" y="17"/>
                    <a:pt x="70" y="15"/>
                    <a:pt x="70" y="13"/>
                  </a:cubicBezTo>
                  <a:cubicBezTo>
                    <a:pt x="69" y="10"/>
                    <a:pt x="67" y="8"/>
                    <a:pt x="65" y="6"/>
                  </a:cubicBezTo>
                  <a:cubicBezTo>
                    <a:pt x="63" y="4"/>
                    <a:pt x="61" y="3"/>
                    <a:pt x="59" y="2"/>
                  </a:cubicBezTo>
                  <a:cubicBezTo>
                    <a:pt x="57" y="1"/>
                    <a:pt x="54" y="1"/>
                    <a:pt x="50" y="0"/>
                  </a:cubicBezTo>
                  <a:cubicBezTo>
                    <a:pt x="47" y="0"/>
                    <a:pt x="45" y="0"/>
                    <a:pt x="36" y="0"/>
                  </a:cubicBezTo>
                  <a:cubicBezTo>
                    <a:pt x="26" y="0"/>
                    <a:pt x="25" y="0"/>
                    <a:pt x="21" y="0"/>
                  </a:cubicBezTo>
                  <a:cubicBezTo>
                    <a:pt x="17" y="1"/>
                    <a:pt x="15" y="1"/>
                    <a:pt x="12" y="2"/>
                  </a:cubicBezTo>
                  <a:cubicBezTo>
                    <a:pt x="10" y="3"/>
                    <a:pt x="8" y="4"/>
                    <a:pt x="6" y="6"/>
                  </a:cubicBezTo>
                  <a:cubicBezTo>
                    <a:pt x="4" y="8"/>
                    <a:pt x="3" y="10"/>
                    <a:pt x="2" y="13"/>
                  </a:cubicBezTo>
                  <a:cubicBezTo>
                    <a:pt x="1" y="15"/>
                    <a:pt x="0" y="17"/>
                    <a:pt x="0" y="21"/>
                  </a:cubicBezTo>
                  <a:cubicBezTo>
                    <a:pt x="0" y="25"/>
                    <a:pt x="0" y="26"/>
                    <a:pt x="0" y="36"/>
                  </a:cubicBezTo>
                  <a:cubicBezTo>
                    <a:pt x="0" y="46"/>
                    <a:pt x="0" y="47"/>
                    <a:pt x="0" y="51"/>
                  </a:cubicBezTo>
                  <a:cubicBezTo>
                    <a:pt x="0" y="54"/>
                    <a:pt x="1" y="57"/>
                    <a:pt x="2" y="59"/>
                  </a:cubicBezTo>
                  <a:cubicBezTo>
                    <a:pt x="3" y="62"/>
                    <a:pt x="4" y="64"/>
                    <a:pt x="6" y="66"/>
                  </a:cubicBezTo>
                  <a:cubicBezTo>
                    <a:pt x="8" y="68"/>
                    <a:pt x="10" y="69"/>
                    <a:pt x="12" y="70"/>
                  </a:cubicBezTo>
                  <a:cubicBezTo>
                    <a:pt x="15" y="71"/>
                    <a:pt x="17" y="71"/>
                    <a:pt x="21" y="71"/>
                  </a:cubicBezTo>
                  <a:cubicBezTo>
                    <a:pt x="25" y="72"/>
                    <a:pt x="26" y="72"/>
                    <a:pt x="36" y="72"/>
                  </a:cubicBezTo>
                  <a:cubicBezTo>
                    <a:pt x="45" y="72"/>
                    <a:pt x="47" y="72"/>
                    <a:pt x="50" y="71"/>
                  </a:cubicBezTo>
                  <a:cubicBezTo>
                    <a:pt x="54" y="71"/>
                    <a:pt x="57" y="71"/>
                    <a:pt x="59" y="70"/>
                  </a:cubicBezTo>
                  <a:cubicBezTo>
                    <a:pt x="61" y="69"/>
                    <a:pt x="63" y="68"/>
                    <a:pt x="65" y="66"/>
                  </a:cubicBezTo>
                  <a:cubicBezTo>
                    <a:pt x="67" y="64"/>
                    <a:pt x="69" y="62"/>
                    <a:pt x="70" y="59"/>
                  </a:cubicBezTo>
                  <a:cubicBezTo>
                    <a:pt x="70" y="57"/>
                    <a:pt x="71" y="54"/>
                    <a:pt x="71" y="51"/>
                  </a:cubicBezTo>
                  <a:cubicBezTo>
                    <a:pt x="71" y="47"/>
                    <a:pt x="71" y="46"/>
                    <a:pt x="71" y="36"/>
                  </a:cubicBezTo>
                  <a:cubicBezTo>
                    <a:pt x="71" y="26"/>
                    <a:pt x="71" y="25"/>
                    <a:pt x="71" y="21"/>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2" name="Oval 18">
              <a:extLst>
                <a:ext uri="{FF2B5EF4-FFF2-40B4-BE49-F238E27FC236}">
                  <a16:creationId xmlns:a16="http://schemas.microsoft.com/office/drawing/2014/main" id="{92D84971-03F2-DA27-209E-F28D085B8F7F}"/>
                </a:ext>
              </a:extLst>
            </p:cNvPr>
            <p:cNvSpPr>
              <a:spLocks noChangeArrowheads="1"/>
            </p:cNvSpPr>
            <p:nvPr userDrawn="1"/>
          </p:nvSpPr>
          <p:spPr bwMode="auto">
            <a:xfrm>
              <a:off x="6882" y="3554"/>
              <a:ext cx="18" cy="16"/>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grpSp>
      <p:grpSp>
        <p:nvGrpSpPr>
          <p:cNvPr id="23" name="Group 21">
            <a:extLst>
              <a:ext uri="{FF2B5EF4-FFF2-40B4-BE49-F238E27FC236}">
                <a16:creationId xmlns:a16="http://schemas.microsoft.com/office/drawing/2014/main" id="{83562CBA-E7D0-AAF6-B949-7E5865F44A97}"/>
              </a:ext>
            </a:extLst>
          </p:cNvPr>
          <p:cNvGrpSpPr>
            <a:grpSpLocks noChangeAspect="1"/>
          </p:cNvGrpSpPr>
          <p:nvPr userDrawn="1"/>
        </p:nvGrpSpPr>
        <p:grpSpPr bwMode="auto">
          <a:xfrm>
            <a:off x="9551988" y="4535488"/>
            <a:ext cx="2052637" cy="333375"/>
            <a:chOff x="6017" y="2857"/>
            <a:chExt cx="1293" cy="210"/>
          </a:xfrm>
        </p:grpSpPr>
        <p:sp>
          <p:nvSpPr>
            <p:cNvPr id="25" name="AutoShape 20">
              <a:extLst>
                <a:ext uri="{FF2B5EF4-FFF2-40B4-BE49-F238E27FC236}">
                  <a16:creationId xmlns:a16="http://schemas.microsoft.com/office/drawing/2014/main" id="{7BF1C907-6EB1-3A58-9DF5-A0E363789926}"/>
                </a:ext>
              </a:extLst>
            </p:cNvPr>
            <p:cNvSpPr>
              <a:spLocks noChangeAspect="1" noChangeArrowheads="1" noTextEdit="1"/>
            </p:cNvSpPr>
            <p:nvPr userDrawn="1"/>
          </p:nvSpPr>
          <p:spPr bwMode="auto">
            <a:xfrm>
              <a:off x="6017" y="2857"/>
              <a:ext cx="1293" cy="2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6" name="Freeform 22">
              <a:extLst>
                <a:ext uri="{FF2B5EF4-FFF2-40B4-BE49-F238E27FC236}">
                  <a16:creationId xmlns:a16="http://schemas.microsoft.com/office/drawing/2014/main" id="{B5621F8D-AFC4-3A94-6974-D26C98D3D6B7}"/>
                </a:ext>
              </a:extLst>
            </p:cNvPr>
            <p:cNvSpPr>
              <a:spLocks/>
            </p:cNvSpPr>
            <p:nvPr userDrawn="1"/>
          </p:nvSpPr>
          <p:spPr bwMode="auto">
            <a:xfrm>
              <a:off x="6436" y="2857"/>
              <a:ext cx="50" cy="75"/>
            </a:xfrm>
            <a:custGeom>
              <a:avLst/>
              <a:gdLst>
                <a:gd name="T0" fmla="*/ 38 w 161"/>
                <a:gd name="T1" fmla="*/ 228 h 238"/>
                <a:gd name="T2" fmla="*/ 10 w 161"/>
                <a:gd name="T3" fmla="*/ 202 h 238"/>
                <a:gd name="T4" fmla="*/ 0 w 161"/>
                <a:gd name="T5" fmla="*/ 162 h 238"/>
                <a:gd name="T6" fmla="*/ 0 w 161"/>
                <a:gd name="T7" fmla="*/ 76 h 238"/>
                <a:gd name="T8" fmla="*/ 10 w 161"/>
                <a:gd name="T9" fmla="*/ 36 h 238"/>
                <a:gd name="T10" fmla="*/ 38 w 161"/>
                <a:gd name="T11" fmla="*/ 10 h 238"/>
                <a:gd name="T12" fmla="*/ 81 w 161"/>
                <a:gd name="T13" fmla="*/ 0 h 238"/>
                <a:gd name="T14" fmla="*/ 123 w 161"/>
                <a:gd name="T15" fmla="*/ 9 h 238"/>
                <a:gd name="T16" fmla="*/ 151 w 161"/>
                <a:gd name="T17" fmla="*/ 35 h 238"/>
                <a:gd name="T18" fmla="*/ 161 w 161"/>
                <a:gd name="T19" fmla="*/ 74 h 238"/>
                <a:gd name="T20" fmla="*/ 161 w 161"/>
                <a:gd name="T21" fmla="*/ 74 h 238"/>
                <a:gd name="T22" fmla="*/ 160 w 161"/>
                <a:gd name="T23" fmla="*/ 77 h 238"/>
                <a:gd name="T24" fmla="*/ 158 w 161"/>
                <a:gd name="T25" fmla="*/ 77 h 238"/>
                <a:gd name="T26" fmla="*/ 133 w 161"/>
                <a:gd name="T27" fmla="*/ 79 h 238"/>
                <a:gd name="T28" fmla="*/ 129 w 161"/>
                <a:gd name="T29" fmla="*/ 76 h 238"/>
                <a:gd name="T30" fmla="*/ 129 w 161"/>
                <a:gd name="T31" fmla="*/ 75 h 238"/>
                <a:gd name="T32" fmla="*/ 116 w 161"/>
                <a:gd name="T33" fmla="*/ 41 h 238"/>
                <a:gd name="T34" fmla="*/ 81 w 161"/>
                <a:gd name="T35" fmla="*/ 28 h 238"/>
                <a:gd name="T36" fmla="*/ 45 w 161"/>
                <a:gd name="T37" fmla="*/ 41 h 238"/>
                <a:gd name="T38" fmla="*/ 32 w 161"/>
                <a:gd name="T39" fmla="*/ 75 h 238"/>
                <a:gd name="T40" fmla="*/ 32 w 161"/>
                <a:gd name="T41" fmla="*/ 163 h 238"/>
                <a:gd name="T42" fmla="*/ 45 w 161"/>
                <a:gd name="T43" fmla="*/ 197 h 238"/>
                <a:gd name="T44" fmla="*/ 81 w 161"/>
                <a:gd name="T45" fmla="*/ 210 h 238"/>
                <a:gd name="T46" fmla="*/ 116 w 161"/>
                <a:gd name="T47" fmla="*/ 197 h 238"/>
                <a:gd name="T48" fmla="*/ 129 w 161"/>
                <a:gd name="T49" fmla="*/ 163 h 238"/>
                <a:gd name="T50" fmla="*/ 129 w 161"/>
                <a:gd name="T51" fmla="*/ 162 h 238"/>
                <a:gd name="T52" fmla="*/ 133 w 161"/>
                <a:gd name="T53" fmla="*/ 159 h 238"/>
                <a:gd name="T54" fmla="*/ 158 w 161"/>
                <a:gd name="T55" fmla="*/ 161 h 238"/>
                <a:gd name="T56" fmla="*/ 161 w 161"/>
                <a:gd name="T57" fmla="*/ 164 h 238"/>
                <a:gd name="T58" fmla="*/ 151 w 161"/>
                <a:gd name="T59" fmla="*/ 203 h 238"/>
                <a:gd name="T60" fmla="*/ 123 w 161"/>
                <a:gd name="T61" fmla="*/ 229 h 238"/>
                <a:gd name="T62" fmla="*/ 81 w 161"/>
                <a:gd name="T63" fmla="*/ 238 h 238"/>
                <a:gd name="T64" fmla="*/ 38 w 161"/>
                <a:gd name="T65" fmla="*/ 22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61" h="238">
                  <a:moveTo>
                    <a:pt x="38" y="228"/>
                  </a:moveTo>
                  <a:cubicBezTo>
                    <a:pt x="26" y="222"/>
                    <a:pt x="17" y="213"/>
                    <a:pt x="10" y="202"/>
                  </a:cubicBezTo>
                  <a:cubicBezTo>
                    <a:pt x="3" y="190"/>
                    <a:pt x="0" y="177"/>
                    <a:pt x="0" y="162"/>
                  </a:cubicBezTo>
                  <a:cubicBezTo>
                    <a:pt x="0" y="76"/>
                    <a:pt x="0" y="76"/>
                    <a:pt x="0" y="76"/>
                  </a:cubicBezTo>
                  <a:cubicBezTo>
                    <a:pt x="0" y="61"/>
                    <a:pt x="3" y="48"/>
                    <a:pt x="10" y="36"/>
                  </a:cubicBezTo>
                  <a:cubicBezTo>
                    <a:pt x="17" y="25"/>
                    <a:pt x="26" y="16"/>
                    <a:pt x="38" y="10"/>
                  </a:cubicBezTo>
                  <a:cubicBezTo>
                    <a:pt x="51" y="4"/>
                    <a:pt x="65" y="0"/>
                    <a:pt x="81" y="0"/>
                  </a:cubicBezTo>
                  <a:cubicBezTo>
                    <a:pt x="96" y="0"/>
                    <a:pt x="110" y="3"/>
                    <a:pt x="123" y="9"/>
                  </a:cubicBezTo>
                  <a:cubicBezTo>
                    <a:pt x="135" y="16"/>
                    <a:pt x="144" y="24"/>
                    <a:pt x="151" y="35"/>
                  </a:cubicBezTo>
                  <a:cubicBezTo>
                    <a:pt x="158" y="46"/>
                    <a:pt x="161" y="59"/>
                    <a:pt x="161" y="74"/>
                  </a:cubicBezTo>
                  <a:cubicBezTo>
                    <a:pt x="161" y="74"/>
                    <a:pt x="161" y="74"/>
                    <a:pt x="161" y="74"/>
                  </a:cubicBezTo>
                  <a:cubicBezTo>
                    <a:pt x="161" y="75"/>
                    <a:pt x="161" y="76"/>
                    <a:pt x="160" y="77"/>
                  </a:cubicBezTo>
                  <a:cubicBezTo>
                    <a:pt x="159" y="77"/>
                    <a:pt x="159" y="77"/>
                    <a:pt x="158" y="77"/>
                  </a:cubicBezTo>
                  <a:cubicBezTo>
                    <a:pt x="133" y="79"/>
                    <a:pt x="133" y="79"/>
                    <a:pt x="133" y="79"/>
                  </a:cubicBezTo>
                  <a:cubicBezTo>
                    <a:pt x="130" y="79"/>
                    <a:pt x="129" y="78"/>
                    <a:pt x="129" y="76"/>
                  </a:cubicBezTo>
                  <a:cubicBezTo>
                    <a:pt x="129" y="75"/>
                    <a:pt x="129" y="75"/>
                    <a:pt x="129" y="75"/>
                  </a:cubicBezTo>
                  <a:cubicBezTo>
                    <a:pt x="129" y="61"/>
                    <a:pt x="125" y="49"/>
                    <a:pt x="116" y="41"/>
                  </a:cubicBezTo>
                  <a:cubicBezTo>
                    <a:pt x="107" y="32"/>
                    <a:pt x="95" y="28"/>
                    <a:pt x="81" y="28"/>
                  </a:cubicBezTo>
                  <a:cubicBezTo>
                    <a:pt x="66" y="28"/>
                    <a:pt x="54" y="32"/>
                    <a:pt x="45" y="41"/>
                  </a:cubicBezTo>
                  <a:cubicBezTo>
                    <a:pt x="36" y="49"/>
                    <a:pt x="32" y="61"/>
                    <a:pt x="32" y="75"/>
                  </a:cubicBezTo>
                  <a:cubicBezTo>
                    <a:pt x="32" y="163"/>
                    <a:pt x="32" y="163"/>
                    <a:pt x="32" y="163"/>
                  </a:cubicBezTo>
                  <a:cubicBezTo>
                    <a:pt x="32" y="177"/>
                    <a:pt x="36" y="189"/>
                    <a:pt x="45" y="197"/>
                  </a:cubicBezTo>
                  <a:cubicBezTo>
                    <a:pt x="54" y="206"/>
                    <a:pt x="66" y="210"/>
                    <a:pt x="81" y="210"/>
                  </a:cubicBezTo>
                  <a:cubicBezTo>
                    <a:pt x="95" y="210"/>
                    <a:pt x="107" y="206"/>
                    <a:pt x="116" y="197"/>
                  </a:cubicBezTo>
                  <a:cubicBezTo>
                    <a:pt x="125" y="188"/>
                    <a:pt x="129" y="177"/>
                    <a:pt x="129" y="163"/>
                  </a:cubicBezTo>
                  <a:cubicBezTo>
                    <a:pt x="129" y="162"/>
                    <a:pt x="129" y="162"/>
                    <a:pt x="129" y="162"/>
                  </a:cubicBezTo>
                  <a:cubicBezTo>
                    <a:pt x="129" y="160"/>
                    <a:pt x="130" y="159"/>
                    <a:pt x="133" y="159"/>
                  </a:cubicBezTo>
                  <a:cubicBezTo>
                    <a:pt x="158" y="161"/>
                    <a:pt x="158" y="161"/>
                    <a:pt x="158" y="161"/>
                  </a:cubicBezTo>
                  <a:cubicBezTo>
                    <a:pt x="160" y="161"/>
                    <a:pt x="161" y="162"/>
                    <a:pt x="161" y="164"/>
                  </a:cubicBezTo>
                  <a:cubicBezTo>
                    <a:pt x="161" y="179"/>
                    <a:pt x="158" y="191"/>
                    <a:pt x="151" y="203"/>
                  </a:cubicBezTo>
                  <a:cubicBezTo>
                    <a:pt x="144" y="214"/>
                    <a:pt x="135" y="222"/>
                    <a:pt x="123" y="229"/>
                  </a:cubicBezTo>
                  <a:cubicBezTo>
                    <a:pt x="111" y="235"/>
                    <a:pt x="97" y="238"/>
                    <a:pt x="81" y="238"/>
                  </a:cubicBezTo>
                  <a:cubicBezTo>
                    <a:pt x="65" y="238"/>
                    <a:pt x="51" y="235"/>
                    <a:pt x="38" y="228"/>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7" name="Freeform 23">
              <a:extLst>
                <a:ext uri="{FF2B5EF4-FFF2-40B4-BE49-F238E27FC236}">
                  <a16:creationId xmlns:a16="http://schemas.microsoft.com/office/drawing/2014/main" id="{50C870D4-4602-33C0-7CF6-40006F45F370}"/>
                </a:ext>
              </a:extLst>
            </p:cNvPr>
            <p:cNvSpPr>
              <a:spLocks noEditPoints="1"/>
            </p:cNvSpPr>
            <p:nvPr userDrawn="1"/>
          </p:nvSpPr>
          <p:spPr bwMode="auto">
            <a:xfrm>
              <a:off x="6498" y="2858"/>
              <a:ext cx="50" cy="73"/>
            </a:xfrm>
            <a:custGeom>
              <a:avLst/>
              <a:gdLst>
                <a:gd name="T0" fmla="*/ 128 w 161"/>
                <a:gd name="T1" fmla="*/ 229 h 232"/>
                <a:gd name="T2" fmla="*/ 82 w 161"/>
                <a:gd name="T3" fmla="*/ 130 h 232"/>
                <a:gd name="T4" fmla="*/ 81 w 161"/>
                <a:gd name="T5" fmla="*/ 129 h 232"/>
                <a:gd name="T6" fmla="*/ 33 w 161"/>
                <a:gd name="T7" fmla="*/ 129 h 232"/>
                <a:gd name="T8" fmla="*/ 32 w 161"/>
                <a:gd name="T9" fmla="*/ 131 h 232"/>
                <a:gd name="T10" fmla="*/ 32 w 161"/>
                <a:gd name="T11" fmla="*/ 228 h 232"/>
                <a:gd name="T12" fmla="*/ 29 w 161"/>
                <a:gd name="T13" fmla="*/ 232 h 232"/>
                <a:gd name="T14" fmla="*/ 4 w 161"/>
                <a:gd name="T15" fmla="*/ 232 h 232"/>
                <a:gd name="T16" fmla="*/ 0 w 161"/>
                <a:gd name="T17" fmla="*/ 229 h 232"/>
                <a:gd name="T18" fmla="*/ 0 w 161"/>
                <a:gd name="T19" fmla="*/ 3 h 232"/>
                <a:gd name="T20" fmla="*/ 3 w 161"/>
                <a:gd name="T21" fmla="*/ 0 h 232"/>
                <a:gd name="T22" fmla="*/ 93 w 161"/>
                <a:gd name="T23" fmla="*/ 0 h 232"/>
                <a:gd name="T24" fmla="*/ 127 w 161"/>
                <a:gd name="T25" fmla="*/ 8 h 232"/>
                <a:gd name="T26" fmla="*/ 151 w 161"/>
                <a:gd name="T27" fmla="*/ 31 h 232"/>
                <a:gd name="T28" fmla="*/ 159 w 161"/>
                <a:gd name="T29" fmla="*/ 66 h 232"/>
                <a:gd name="T30" fmla="*/ 147 w 161"/>
                <a:gd name="T31" fmla="*/ 105 h 232"/>
                <a:gd name="T32" fmla="*/ 113 w 161"/>
                <a:gd name="T33" fmla="*/ 127 h 232"/>
                <a:gd name="T34" fmla="*/ 113 w 161"/>
                <a:gd name="T35" fmla="*/ 128 h 232"/>
                <a:gd name="T36" fmla="*/ 161 w 161"/>
                <a:gd name="T37" fmla="*/ 228 h 232"/>
                <a:gd name="T38" fmla="*/ 161 w 161"/>
                <a:gd name="T39" fmla="*/ 229 h 232"/>
                <a:gd name="T40" fmla="*/ 159 w 161"/>
                <a:gd name="T41" fmla="*/ 232 h 232"/>
                <a:gd name="T42" fmla="*/ 132 w 161"/>
                <a:gd name="T43" fmla="*/ 232 h 232"/>
                <a:gd name="T44" fmla="*/ 128 w 161"/>
                <a:gd name="T45" fmla="*/ 229 h 232"/>
                <a:gd name="T46" fmla="*/ 32 w 161"/>
                <a:gd name="T47" fmla="*/ 29 h 232"/>
                <a:gd name="T48" fmla="*/ 32 w 161"/>
                <a:gd name="T49" fmla="*/ 103 h 232"/>
                <a:gd name="T50" fmla="*/ 33 w 161"/>
                <a:gd name="T51" fmla="*/ 104 h 232"/>
                <a:gd name="T52" fmla="*/ 88 w 161"/>
                <a:gd name="T53" fmla="*/ 104 h 232"/>
                <a:gd name="T54" fmla="*/ 117 w 161"/>
                <a:gd name="T55" fmla="*/ 94 h 232"/>
                <a:gd name="T56" fmla="*/ 127 w 161"/>
                <a:gd name="T57" fmla="*/ 66 h 232"/>
                <a:gd name="T58" fmla="*/ 117 w 161"/>
                <a:gd name="T59" fmla="*/ 38 h 232"/>
                <a:gd name="T60" fmla="*/ 88 w 161"/>
                <a:gd name="T61" fmla="*/ 27 h 232"/>
                <a:gd name="T62" fmla="*/ 33 w 161"/>
                <a:gd name="T63" fmla="*/ 27 h 232"/>
                <a:gd name="T64" fmla="*/ 32 w 161"/>
                <a:gd name="T65" fmla="*/ 29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61" h="232">
                  <a:moveTo>
                    <a:pt x="128" y="229"/>
                  </a:moveTo>
                  <a:cubicBezTo>
                    <a:pt x="82" y="130"/>
                    <a:pt x="82" y="130"/>
                    <a:pt x="82" y="130"/>
                  </a:cubicBezTo>
                  <a:cubicBezTo>
                    <a:pt x="82" y="130"/>
                    <a:pt x="81" y="129"/>
                    <a:pt x="81" y="129"/>
                  </a:cubicBezTo>
                  <a:cubicBezTo>
                    <a:pt x="33" y="129"/>
                    <a:pt x="33" y="129"/>
                    <a:pt x="33" y="129"/>
                  </a:cubicBezTo>
                  <a:cubicBezTo>
                    <a:pt x="32" y="129"/>
                    <a:pt x="32" y="130"/>
                    <a:pt x="32" y="131"/>
                  </a:cubicBezTo>
                  <a:cubicBezTo>
                    <a:pt x="32" y="228"/>
                    <a:pt x="32" y="228"/>
                    <a:pt x="32" y="228"/>
                  </a:cubicBezTo>
                  <a:cubicBezTo>
                    <a:pt x="32" y="231"/>
                    <a:pt x="31" y="232"/>
                    <a:pt x="29" y="232"/>
                  </a:cubicBezTo>
                  <a:cubicBezTo>
                    <a:pt x="4" y="232"/>
                    <a:pt x="4" y="232"/>
                    <a:pt x="4" y="232"/>
                  </a:cubicBezTo>
                  <a:cubicBezTo>
                    <a:pt x="1" y="232"/>
                    <a:pt x="0" y="231"/>
                    <a:pt x="0" y="229"/>
                  </a:cubicBezTo>
                  <a:cubicBezTo>
                    <a:pt x="0" y="3"/>
                    <a:pt x="0" y="3"/>
                    <a:pt x="0" y="3"/>
                  </a:cubicBezTo>
                  <a:cubicBezTo>
                    <a:pt x="0" y="1"/>
                    <a:pt x="1" y="0"/>
                    <a:pt x="3" y="0"/>
                  </a:cubicBezTo>
                  <a:cubicBezTo>
                    <a:pt x="93" y="0"/>
                    <a:pt x="93" y="0"/>
                    <a:pt x="93" y="0"/>
                  </a:cubicBezTo>
                  <a:cubicBezTo>
                    <a:pt x="106" y="0"/>
                    <a:pt x="117" y="3"/>
                    <a:pt x="127" y="8"/>
                  </a:cubicBezTo>
                  <a:cubicBezTo>
                    <a:pt x="137" y="14"/>
                    <a:pt x="145" y="21"/>
                    <a:pt x="151" y="31"/>
                  </a:cubicBezTo>
                  <a:cubicBezTo>
                    <a:pt x="156" y="41"/>
                    <a:pt x="159" y="53"/>
                    <a:pt x="159" y="66"/>
                  </a:cubicBezTo>
                  <a:cubicBezTo>
                    <a:pt x="159" y="81"/>
                    <a:pt x="155" y="94"/>
                    <a:pt x="147" y="105"/>
                  </a:cubicBezTo>
                  <a:cubicBezTo>
                    <a:pt x="138" y="116"/>
                    <a:pt x="127" y="123"/>
                    <a:pt x="113" y="127"/>
                  </a:cubicBezTo>
                  <a:cubicBezTo>
                    <a:pt x="113" y="127"/>
                    <a:pt x="112" y="128"/>
                    <a:pt x="113" y="128"/>
                  </a:cubicBezTo>
                  <a:cubicBezTo>
                    <a:pt x="161" y="228"/>
                    <a:pt x="161" y="228"/>
                    <a:pt x="161" y="228"/>
                  </a:cubicBezTo>
                  <a:cubicBezTo>
                    <a:pt x="161" y="228"/>
                    <a:pt x="161" y="229"/>
                    <a:pt x="161" y="229"/>
                  </a:cubicBezTo>
                  <a:cubicBezTo>
                    <a:pt x="161" y="231"/>
                    <a:pt x="160" y="232"/>
                    <a:pt x="159" y="232"/>
                  </a:cubicBezTo>
                  <a:cubicBezTo>
                    <a:pt x="132" y="232"/>
                    <a:pt x="132" y="232"/>
                    <a:pt x="132" y="232"/>
                  </a:cubicBezTo>
                  <a:cubicBezTo>
                    <a:pt x="130" y="232"/>
                    <a:pt x="129" y="231"/>
                    <a:pt x="128" y="229"/>
                  </a:cubicBezTo>
                  <a:moveTo>
                    <a:pt x="32" y="29"/>
                  </a:moveTo>
                  <a:cubicBezTo>
                    <a:pt x="32" y="103"/>
                    <a:pt x="32" y="103"/>
                    <a:pt x="32" y="103"/>
                  </a:cubicBezTo>
                  <a:cubicBezTo>
                    <a:pt x="32" y="104"/>
                    <a:pt x="32" y="104"/>
                    <a:pt x="33" y="104"/>
                  </a:cubicBezTo>
                  <a:cubicBezTo>
                    <a:pt x="88" y="104"/>
                    <a:pt x="88" y="104"/>
                    <a:pt x="88" y="104"/>
                  </a:cubicBezTo>
                  <a:cubicBezTo>
                    <a:pt x="100" y="104"/>
                    <a:pt x="109" y="101"/>
                    <a:pt x="117" y="94"/>
                  </a:cubicBezTo>
                  <a:cubicBezTo>
                    <a:pt x="124" y="87"/>
                    <a:pt x="127" y="78"/>
                    <a:pt x="127" y="66"/>
                  </a:cubicBezTo>
                  <a:cubicBezTo>
                    <a:pt x="127" y="55"/>
                    <a:pt x="124" y="45"/>
                    <a:pt x="117" y="38"/>
                  </a:cubicBezTo>
                  <a:cubicBezTo>
                    <a:pt x="109" y="31"/>
                    <a:pt x="100" y="27"/>
                    <a:pt x="88" y="27"/>
                  </a:cubicBezTo>
                  <a:cubicBezTo>
                    <a:pt x="33" y="27"/>
                    <a:pt x="33" y="27"/>
                    <a:pt x="33" y="27"/>
                  </a:cubicBezTo>
                  <a:cubicBezTo>
                    <a:pt x="32" y="27"/>
                    <a:pt x="32" y="28"/>
                    <a:pt x="32" y="29"/>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8" name="Freeform 24">
              <a:extLst>
                <a:ext uri="{FF2B5EF4-FFF2-40B4-BE49-F238E27FC236}">
                  <a16:creationId xmlns:a16="http://schemas.microsoft.com/office/drawing/2014/main" id="{8AFCC27E-370E-9964-C63C-4E7B6B859C5D}"/>
                </a:ext>
              </a:extLst>
            </p:cNvPr>
            <p:cNvSpPr>
              <a:spLocks/>
            </p:cNvSpPr>
            <p:nvPr userDrawn="1"/>
          </p:nvSpPr>
          <p:spPr bwMode="auto">
            <a:xfrm>
              <a:off x="6560" y="2858"/>
              <a:ext cx="48" cy="73"/>
            </a:xfrm>
            <a:custGeom>
              <a:avLst/>
              <a:gdLst>
                <a:gd name="T0" fmla="*/ 150 w 153"/>
                <a:gd name="T1" fmla="*/ 27 h 232"/>
                <a:gd name="T2" fmla="*/ 33 w 153"/>
                <a:gd name="T3" fmla="*/ 27 h 232"/>
                <a:gd name="T4" fmla="*/ 31 w 153"/>
                <a:gd name="T5" fmla="*/ 29 h 232"/>
                <a:gd name="T6" fmla="*/ 31 w 153"/>
                <a:gd name="T7" fmla="*/ 100 h 232"/>
                <a:gd name="T8" fmla="*/ 33 w 153"/>
                <a:gd name="T9" fmla="*/ 101 h 232"/>
                <a:gd name="T10" fmla="*/ 113 w 153"/>
                <a:gd name="T11" fmla="*/ 101 h 232"/>
                <a:gd name="T12" fmla="*/ 117 w 153"/>
                <a:gd name="T13" fmla="*/ 104 h 232"/>
                <a:gd name="T14" fmla="*/ 117 w 153"/>
                <a:gd name="T15" fmla="*/ 125 h 232"/>
                <a:gd name="T16" fmla="*/ 113 w 153"/>
                <a:gd name="T17" fmla="*/ 129 h 232"/>
                <a:gd name="T18" fmla="*/ 33 w 153"/>
                <a:gd name="T19" fmla="*/ 129 h 232"/>
                <a:gd name="T20" fmla="*/ 31 w 153"/>
                <a:gd name="T21" fmla="*/ 130 h 232"/>
                <a:gd name="T22" fmla="*/ 31 w 153"/>
                <a:gd name="T23" fmla="*/ 203 h 232"/>
                <a:gd name="T24" fmla="*/ 33 w 153"/>
                <a:gd name="T25" fmla="*/ 204 h 232"/>
                <a:gd name="T26" fmla="*/ 150 w 153"/>
                <a:gd name="T27" fmla="*/ 204 h 232"/>
                <a:gd name="T28" fmla="*/ 153 w 153"/>
                <a:gd name="T29" fmla="*/ 207 h 232"/>
                <a:gd name="T30" fmla="*/ 153 w 153"/>
                <a:gd name="T31" fmla="*/ 228 h 232"/>
                <a:gd name="T32" fmla="*/ 150 w 153"/>
                <a:gd name="T33" fmla="*/ 232 h 232"/>
                <a:gd name="T34" fmla="*/ 3 w 153"/>
                <a:gd name="T35" fmla="*/ 232 h 232"/>
                <a:gd name="T36" fmla="*/ 0 w 153"/>
                <a:gd name="T37" fmla="*/ 228 h 232"/>
                <a:gd name="T38" fmla="*/ 0 w 153"/>
                <a:gd name="T39" fmla="*/ 3 h 232"/>
                <a:gd name="T40" fmla="*/ 3 w 153"/>
                <a:gd name="T41" fmla="*/ 0 h 232"/>
                <a:gd name="T42" fmla="*/ 150 w 153"/>
                <a:gd name="T43" fmla="*/ 0 h 232"/>
                <a:gd name="T44" fmla="*/ 153 w 153"/>
                <a:gd name="T45" fmla="*/ 3 h 232"/>
                <a:gd name="T46" fmla="*/ 153 w 153"/>
                <a:gd name="T47" fmla="*/ 24 h 232"/>
                <a:gd name="T48" fmla="*/ 150 w 153"/>
                <a:gd name="T49" fmla="*/ 27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3" h="232">
                  <a:moveTo>
                    <a:pt x="150" y="27"/>
                  </a:moveTo>
                  <a:cubicBezTo>
                    <a:pt x="33" y="27"/>
                    <a:pt x="33" y="27"/>
                    <a:pt x="33" y="27"/>
                  </a:cubicBezTo>
                  <a:cubicBezTo>
                    <a:pt x="32" y="27"/>
                    <a:pt x="31" y="28"/>
                    <a:pt x="31" y="29"/>
                  </a:cubicBezTo>
                  <a:cubicBezTo>
                    <a:pt x="31" y="100"/>
                    <a:pt x="31" y="100"/>
                    <a:pt x="31" y="100"/>
                  </a:cubicBezTo>
                  <a:cubicBezTo>
                    <a:pt x="31" y="101"/>
                    <a:pt x="32" y="101"/>
                    <a:pt x="33" y="101"/>
                  </a:cubicBezTo>
                  <a:cubicBezTo>
                    <a:pt x="113" y="101"/>
                    <a:pt x="113" y="101"/>
                    <a:pt x="113" y="101"/>
                  </a:cubicBezTo>
                  <a:cubicBezTo>
                    <a:pt x="115" y="101"/>
                    <a:pt x="117" y="102"/>
                    <a:pt x="117" y="104"/>
                  </a:cubicBezTo>
                  <a:cubicBezTo>
                    <a:pt x="117" y="125"/>
                    <a:pt x="117" y="125"/>
                    <a:pt x="117" y="125"/>
                  </a:cubicBezTo>
                  <a:cubicBezTo>
                    <a:pt x="117" y="128"/>
                    <a:pt x="115" y="129"/>
                    <a:pt x="113" y="129"/>
                  </a:cubicBezTo>
                  <a:cubicBezTo>
                    <a:pt x="33" y="129"/>
                    <a:pt x="33" y="129"/>
                    <a:pt x="33" y="129"/>
                  </a:cubicBezTo>
                  <a:cubicBezTo>
                    <a:pt x="32" y="129"/>
                    <a:pt x="31" y="129"/>
                    <a:pt x="31" y="130"/>
                  </a:cubicBezTo>
                  <a:cubicBezTo>
                    <a:pt x="31" y="203"/>
                    <a:pt x="31" y="203"/>
                    <a:pt x="31" y="203"/>
                  </a:cubicBezTo>
                  <a:cubicBezTo>
                    <a:pt x="31" y="204"/>
                    <a:pt x="32" y="204"/>
                    <a:pt x="33" y="204"/>
                  </a:cubicBezTo>
                  <a:cubicBezTo>
                    <a:pt x="150" y="204"/>
                    <a:pt x="150" y="204"/>
                    <a:pt x="150" y="204"/>
                  </a:cubicBezTo>
                  <a:cubicBezTo>
                    <a:pt x="152" y="204"/>
                    <a:pt x="153" y="205"/>
                    <a:pt x="153" y="207"/>
                  </a:cubicBezTo>
                  <a:cubicBezTo>
                    <a:pt x="153" y="228"/>
                    <a:pt x="153" y="228"/>
                    <a:pt x="153" y="228"/>
                  </a:cubicBezTo>
                  <a:cubicBezTo>
                    <a:pt x="153" y="231"/>
                    <a:pt x="152" y="232"/>
                    <a:pt x="150" y="232"/>
                  </a:cubicBezTo>
                  <a:cubicBezTo>
                    <a:pt x="3" y="232"/>
                    <a:pt x="3" y="232"/>
                    <a:pt x="3" y="232"/>
                  </a:cubicBezTo>
                  <a:cubicBezTo>
                    <a:pt x="1" y="232"/>
                    <a:pt x="0" y="231"/>
                    <a:pt x="0" y="228"/>
                  </a:cubicBezTo>
                  <a:cubicBezTo>
                    <a:pt x="0" y="3"/>
                    <a:pt x="0" y="3"/>
                    <a:pt x="0" y="3"/>
                  </a:cubicBezTo>
                  <a:cubicBezTo>
                    <a:pt x="0" y="1"/>
                    <a:pt x="1" y="0"/>
                    <a:pt x="3" y="0"/>
                  </a:cubicBezTo>
                  <a:cubicBezTo>
                    <a:pt x="150" y="0"/>
                    <a:pt x="150" y="0"/>
                    <a:pt x="150" y="0"/>
                  </a:cubicBezTo>
                  <a:cubicBezTo>
                    <a:pt x="152" y="0"/>
                    <a:pt x="153" y="1"/>
                    <a:pt x="153" y="3"/>
                  </a:cubicBezTo>
                  <a:cubicBezTo>
                    <a:pt x="153" y="24"/>
                    <a:pt x="153" y="24"/>
                    <a:pt x="153" y="24"/>
                  </a:cubicBezTo>
                  <a:cubicBezTo>
                    <a:pt x="153" y="26"/>
                    <a:pt x="152" y="27"/>
                    <a:pt x="150" y="27"/>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9" name="Freeform 25">
              <a:extLst>
                <a:ext uri="{FF2B5EF4-FFF2-40B4-BE49-F238E27FC236}">
                  <a16:creationId xmlns:a16="http://schemas.microsoft.com/office/drawing/2014/main" id="{8E1F5A9F-00C2-04BA-2695-0824AD54D37E}"/>
                </a:ext>
              </a:extLst>
            </p:cNvPr>
            <p:cNvSpPr>
              <a:spLocks noEditPoints="1"/>
            </p:cNvSpPr>
            <p:nvPr userDrawn="1"/>
          </p:nvSpPr>
          <p:spPr bwMode="auto">
            <a:xfrm>
              <a:off x="6614" y="2858"/>
              <a:ext cx="59" cy="73"/>
            </a:xfrm>
            <a:custGeom>
              <a:avLst/>
              <a:gdLst>
                <a:gd name="T0" fmla="*/ 154 w 188"/>
                <a:gd name="T1" fmla="*/ 229 h 232"/>
                <a:gd name="T2" fmla="*/ 142 w 188"/>
                <a:gd name="T3" fmla="*/ 190 h 232"/>
                <a:gd name="T4" fmla="*/ 141 w 188"/>
                <a:gd name="T5" fmla="*/ 189 h 232"/>
                <a:gd name="T6" fmla="*/ 47 w 188"/>
                <a:gd name="T7" fmla="*/ 189 h 232"/>
                <a:gd name="T8" fmla="*/ 46 w 188"/>
                <a:gd name="T9" fmla="*/ 190 h 232"/>
                <a:gd name="T10" fmla="*/ 34 w 188"/>
                <a:gd name="T11" fmla="*/ 229 h 232"/>
                <a:gd name="T12" fmla="*/ 30 w 188"/>
                <a:gd name="T13" fmla="*/ 232 h 232"/>
                <a:gd name="T14" fmla="*/ 3 w 188"/>
                <a:gd name="T15" fmla="*/ 232 h 232"/>
                <a:gd name="T16" fmla="*/ 1 w 188"/>
                <a:gd name="T17" fmla="*/ 228 h 232"/>
                <a:gd name="T18" fmla="*/ 73 w 188"/>
                <a:gd name="T19" fmla="*/ 2 h 232"/>
                <a:gd name="T20" fmla="*/ 77 w 188"/>
                <a:gd name="T21" fmla="*/ 0 h 232"/>
                <a:gd name="T22" fmla="*/ 110 w 188"/>
                <a:gd name="T23" fmla="*/ 0 h 232"/>
                <a:gd name="T24" fmla="*/ 114 w 188"/>
                <a:gd name="T25" fmla="*/ 2 h 232"/>
                <a:gd name="T26" fmla="*/ 187 w 188"/>
                <a:gd name="T27" fmla="*/ 228 h 232"/>
                <a:gd name="T28" fmla="*/ 188 w 188"/>
                <a:gd name="T29" fmla="*/ 229 h 232"/>
                <a:gd name="T30" fmla="*/ 185 w 188"/>
                <a:gd name="T31" fmla="*/ 232 h 232"/>
                <a:gd name="T32" fmla="*/ 158 w 188"/>
                <a:gd name="T33" fmla="*/ 232 h 232"/>
                <a:gd name="T34" fmla="*/ 154 w 188"/>
                <a:gd name="T35" fmla="*/ 229 h 232"/>
                <a:gd name="T36" fmla="*/ 55 w 188"/>
                <a:gd name="T37" fmla="*/ 164 h 232"/>
                <a:gd name="T38" fmla="*/ 56 w 188"/>
                <a:gd name="T39" fmla="*/ 164 h 232"/>
                <a:gd name="T40" fmla="*/ 132 w 188"/>
                <a:gd name="T41" fmla="*/ 164 h 232"/>
                <a:gd name="T42" fmla="*/ 133 w 188"/>
                <a:gd name="T43" fmla="*/ 163 h 232"/>
                <a:gd name="T44" fmla="*/ 133 w 188"/>
                <a:gd name="T45" fmla="*/ 162 h 232"/>
                <a:gd name="T46" fmla="*/ 95 w 188"/>
                <a:gd name="T47" fmla="*/ 40 h 232"/>
                <a:gd name="T48" fmla="*/ 94 w 188"/>
                <a:gd name="T49" fmla="*/ 39 h 232"/>
                <a:gd name="T50" fmla="*/ 93 w 188"/>
                <a:gd name="T51" fmla="*/ 40 h 232"/>
                <a:gd name="T52" fmla="*/ 55 w 188"/>
                <a:gd name="T53" fmla="*/ 162 h 232"/>
                <a:gd name="T54" fmla="*/ 55 w 188"/>
                <a:gd name="T55" fmla="*/ 164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88" h="232">
                  <a:moveTo>
                    <a:pt x="154" y="229"/>
                  </a:moveTo>
                  <a:cubicBezTo>
                    <a:pt x="142" y="190"/>
                    <a:pt x="142" y="190"/>
                    <a:pt x="142" y="190"/>
                  </a:cubicBezTo>
                  <a:cubicBezTo>
                    <a:pt x="142" y="189"/>
                    <a:pt x="141" y="189"/>
                    <a:pt x="141" y="189"/>
                  </a:cubicBezTo>
                  <a:cubicBezTo>
                    <a:pt x="47" y="189"/>
                    <a:pt x="47" y="189"/>
                    <a:pt x="47" y="189"/>
                  </a:cubicBezTo>
                  <a:cubicBezTo>
                    <a:pt x="47" y="189"/>
                    <a:pt x="46" y="190"/>
                    <a:pt x="46" y="190"/>
                  </a:cubicBezTo>
                  <a:cubicBezTo>
                    <a:pt x="34" y="229"/>
                    <a:pt x="34" y="229"/>
                    <a:pt x="34" y="229"/>
                  </a:cubicBezTo>
                  <a:cubicBezTo>
                    <a:pt x="33" y="231"/>
                    <a:pt x="32" y="232"/>
                    <a:pt x="30" y="232"/>
                  </a:cubicBezTo>
                  <a:cubicBezTo>
                    <a:pt x="3" y="232"/>
                    <a:pt x="3" y="232"/>
                    <a:pt x="3" y="232"/>
                  </a:cubicBezTo>
                  <a:cubicBezTo>
                    <a:pt x="1" y="232"/>
                    <a:pt x="0" y="230"/>
                    <a:pt x="1" y="228"/>
                  </a:cubicBezTo>
                  <a:cubicBezTo>
                    <a:pt x="73" y="2"/>
                    <a:pt x="73" y="2"/>
                    <a:pt x="73" y="2"/>
                  </a:cubicBezTo>
                  <a:cubicBezTo>
                    <a:pt x="74" y="1"/>
                    <a:pt x="75" y="0"/>
                    <a:pt x="77" y="0"/>
                  </a:cubicBezTo>
                  <a:cubicBezTo>
                    <a:pt x="110" y="0"/>
                    <a:pt x="110" y="0"/>
                    <a:pt x="110" y="0"/>
                  </a:cubicBezTo>
                  <a:cubicBezTo>
                    <a:pt x="112" y="0"/>
                    <a:pt x="114" y="1"/>
                    <a:pt x="114" y="2"/>
                  </a:cubicBezTo>
                  <a:cubicBezTo>
                    <a:pt x="187" y="228"/>
                    <a:pt x="187" y="228"/>
                    <a:pt x="187" y="228"/>
                  </a:cubicBezTo>
                  <a:cubicBezTo>
                    <a:pt x="188" y="229"/>
                    <a:pt x="188" y="229"/>
                    <a:pt x="188" y="229"/>
                  </a:cubicBezTo>
                  <a:cubicBezTo>
                    <a:pt x="188" y="231"/>
                    <a:pt x="187" y="232"/>
                    <a:pt x="185" y="232"/>
                  </a:cubicBezTo>
                  <a:cubicBezTo>
                    <a:pt x="158" y="232"/>
                    <a:pt x="158" y="232"/>
                    <a:pt x="158" y="232"/>
                  </a:cubicBezTo>
                  <a:cubicBezTo>
                    <a:pt x="156" y="232"/>
                    <a:pt x="155" y="231"/>
                    <a:pt x="154" y="229"/>
                  </a:cubicBezTo>
                  <a:moveTo>
                    <a:pt x="55" y="164"/>
                  </a:moveTo>
                  <a:cubicBezTo>
                    <a:pt x="55" y="164"/>
                    <a:pt x="55" y="164"/>
                    <a:pt x="56" y="164"/>
                  </a:cubicBezTo>
                  <a:cubicBezTo>
                    <a:pt x="132" y="164"/>
                    <a:pt x="132" y="164"/>
                    <a:pt x="132" y="164"/>
                  </a:cubicBezTo>
                  <a:cubicBezTo>
                    <a:pt x="132" y="164"/>
                    <a:pt x="133" y="164"/>
                    <a:pt x="133" y="163"/>
                  </a:cubicBezTo>
                  <a:cubicBezTo>
                    <a:pt x="134" y="163"/>
                    <a:pt x="134" y="163"/>
                    <a:pt x="133" y="162"/>
                  </a:cubicBezTo>
                  <a:cubicBezTo>
                    <a:pt x="95" y="40"/>
                    <a:pt x="95" y="40"/>
                    <a:pt x="95" y="40"/>
                  </a:cubicBezTo>
                  <a:cubicBezTo>
                    <a:pt x="94" y="39"/>
                    <a:pt x="94" y="39"/>
                    <a:pt x="94" y="39"/>
                  </a:cubicBezTo>
                  <a:cubicBezTo>
                    <a:pt x="93" y="39"/>
                    <a:pt x="93" y="39"/>
                    <a:pt x="93" y="40"/>
                  </a:cubicBezTo>
                  <a:cubicBezTo>
                    <a:pt x="55" y="162"/>
                    <a:pt x="55" y="162"/>
                    <a:pt x="55" y="162"/>
                  </a:cubicBezTo>
                  <a:cubicBezTo>
                    <a:pt x="54" y="163"/>
                    <a:pt x="54" y="163"/>
                    <a:pt x="55" y="164"/>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0" name="Freeform 26">
              <a:extLst>
                <a:ext uri="{FF2B5EF4-FFF2-40B4-BE49-F238E27FC236}">
                  <a16:creationId xmlns:a16="http://schemas.microsoft.com/office/drawing/2014/main" id="{11BC99B0-46C8-747F-1741-95196E9AE712}"/>
                </a:ext>
              </a:extLst>
            </p:cNvPr>
            <p:cNvSpPr>
              <a:spLocks/>
            </p:cNvSpPr>
            <p:nvPr userDrawn="1"/>
          </p:nvSpPr>
          <p:spPr bwMode="auto">
            <a:xfrm>
              <a:off x="6668" y="2858"/>
              <a:ext cx="52" cy="73"/>
            </a:xfrm>
            <a:custGeom>
              <a:avLst/>
              <a:gdLst>
                <a:gd name="T0" fmla="*/ 165 w 165"/>
                <a:gd name="T1" fmla="*/ 3 h 232"/>
                <a:gd name="T2" fmla="*/ 165 w 165"/>
                <a:gd name="T3" fmla="*/ 24 h 232"/>
                <a:gd name="T4" fmla="*/ 161 w 165"/>
                <a:gd name="T5" fmla="*/ 27 h 232"/>
                <a:gd name="T6" fmla="*/ 98 w 165"/>
                <a:gd name="T7" fmla="*/ 27 h 232"/>
                <a:gd name="T8" fmla="*/ 97 w 165"/>
                <a:gd name="T9" fmla="*/ 29 h 232"/>
                <a:gd name="T10" fmla="*/ 97 w 165"/>
                <a:gd name="T11" fmla="*/ 228 h 232"/>
                <a:gd name="T12" fmla="*/ 94 w 165"/>
                <a:gd name="T13" fmla="*/ 231 h 232"/>
                <a:gd name="T14" fmla="*/ 68 w 165"/>
                <a:gd name="T15" fmla="*/ 232 h 232"/>
                <a:gd name="T16" fmla="*/ 65 w 165"/>
                <a:gd name="T17" fmla="*/ 228 h 232"/>
                <a:gd name="T18" fmla="*/ 65 w 165"/>
                <a:gd name="T19" fmla="*/ 29 h 232"/>
                <a:gd name="T20" fmla="*/ 64 w 165"/>
                <a:gd name="T21" fmla="*/ 27 h 232"/>
                <a:gd name="T22" fmla="*/ 3 w 165"/>
                <a:gd name="T23" fmla="*/ 27 h 232"/>
                <a:gd name="T24" fmla="*/ 0 w 165"/>
                <a:gd name="T25" fmla="*/ 24 h 232"/>
                <a:gd name="T26" fmla="*/ 0 w 165"/>
                <a:gd name="T27" fmla="*/ 3 h 232"/>
                <a:gd name="T28" fmla="*/ 3 w 165"/>
                <a:gd name="T29" fmla="*/ 0 h 232"/>
                <a:gd name="T30" fmla="*/ 161 w 165"/>
                <a:gd name="T31" fmla="*/ 0 h 232"/>
                <a:gd name="T32" fmla="*/ 165 w 165"/>
                <a:gd name="T33" fmla="*/ 3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5" h="232">
                  <a:moveTo>
                    <a:pt x="165" y="3"/>
                  </a:moveTo>
                  <a:cubicBezTo>
                    <a:pt x="165" y="24"/>
                    <a:pt x="165" y="24"/>
                    <a:pt x="165" y="24"/>
                  </a:cubicBezTo>
                  <a:cubicBezTo>
                    <a:pt x="165" y="26"/>
                    <a:pt x="164" y="27"/>
                    <a:pt x="161" y="27"/>
                  </a:cubicBezTo>
                  <a:cubicBezTo>
                    <a:pt x="98" y="27"/>
                    <a:pt x="98" y="27"/>
                    <a:pt x="98" y="27"/>
                  </a:cubicBezTo>
                  <a:cubicBezTo>
                    <a:pt x="97" y="27"/>
                    <a:pt x="97" y="28"/>
                    <a:pt x="97" y="29"/>
                  </a:cubicBezTo>
                  <a:cubicBezTo>
                    <a:pt x="97" y="228"/>
                    <a:pt x="97" y="228"/>
                    <a:pt x="97" y="228"/>
                  </a:cubicBezTo>
                  <a:cubicBezTo>
                    <a:pt x="97" y="230"/>
                    <a:pt x="96" y="231"/>
                    <a:pt x="94" y="231"/>
                  </a:cubicBezTo>
                  <a:cubicBezTo>
                    <a:pt x="68" y="232"/>
                    <a:pt x="68" y="232"/>
                    <a:pt x="68" y="232"/>
                  </a:cubicBezTo>
                  <a:cubicBezTo>
                    <a:pt x="66" y="232"/>
                    <a:pt x="65" y="230"/>
                    <a:pt x="65" y="228"/>
                  </a:cubicBezTo>
                  <a:cubicBezTo>
                    <a:pt x="65" y="29"/>
                    <a:pt x="65" y="29"/>
                    <a:pt x="65" y="29"/>
                  </a:cubicBezTo>
                  <a:cubicBezTo>
                    <a:pt x="65" y="28"/>
                    <a:pt x="65" y="27"/>
                    <a:pt x="64" y="27"/>
                  </a:cubicBezTo>
                  <a:cubicBezTo>
                    <a:pt x="3" y="27"/>
                    <a:pt x="3" y="27"/>
                    <a:pt x="3" y="27"/>
                  </a:cubicBezTo>
                  <a:cubicBezTo>
                    <a:pt x="1" y="27"/>
                    <a:pt x="0" y="26"/>
                    <a:pt x="0" y="24"/>
                  </a:cubicBezTo>
                  <a:cubicBezTo>
                    <a:pt x="0" y="3"/>
                    <a:pt x="0" y="3"/>
                    <a:pt x="0" y="3"/>
                  </a:cubicBezTo>
                  <a:cubicBezTo>
                    <a:pt x="0" y="1"/>
                    <a:pt x="1" y="0"/>
                    <a:pt x="3" y="0"/>
                  </a:cubicBezTo>
                  <a:cubicBezTo>
                    <a:pt x="161" y="0"/>
                    <a:pt x="161" y="0"/>
                    <a:pt x="161" y="0"/>
                  </a:cubicBezTo>
                  <a:cubicBezTo>
                    <a:pt x="164" y="0"/>
                    <a:pt x="165" y="1"/>
                    <a:pt x="165" y="3"/>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1" name="Freeform 27">
              <a:extLst>
                <a:ext uri="{FF2B5EF4-FFF2-40B4-BE49-F238E27FC236}">
                  <a16:creationId xmlns:a16="http://schemas.microsoft.com/office/drawing/2014/main" id="{CF628217-5B54-B62E-A925-20AADC1169BA}"/>
                </a:ext>
              </a:extLst>
            </p:cNvPr>
            <p:cNvSpPr>
              <a:spLocks/>
            </p:cNvSpPr>
            <p:nvPr userDrawn="1"/>
          </p:nvSpPr>
          <p:spPr bwMode="auto">
            <a:xfrm>
              <a:off x="6730" y="2858"/>
              <a:ext cx="10" cy="72"/>
            </a:xfrm>
            <a:custGeom>
              <a:avLst/>
              <a:gdLst>
                <a:gd name="T0" fmla="*/ 4 w 32"/>
                <a:gd name="T1" fmla="*/ 0 h 231"/>
                <a:gd name="T2" fmla="*/ 29 w 32"/>
                <a:gd name="T3" fmla="*/ 0 h 231"/>
                <a:gd name="T4" fmla="*/ 32 w 32"/>
                <a:gd name="T5" fmla="*/ 3 h 231"/>
                <a:gd name="T6" fmla="*/ 32 w 32"/>
                <a:gd name="T7" fmla="*/ 228 h 231"/>
                <a:gd name="T8" fmla="*/ 29 w 32"/>
                <a:gd name="T9" fmla="*/ 231 h 231"/>
                <a:gd name="T10" fmla="*/ 4 w 32"/>
                <a:gd name="T11" fmla="*/ 231 h 231"/>
                <a:gd name="T12" fmla="*/ 1 w 32"/>
                <a:gd name="T13" fmla="*/ 228 h 231"/>
                <a:gd name="T14" fmla="*/ 0 w 32"/>
                <a:gd name="T15" fmla="*/ 3 h 231"/>
                <a:gd name="T16" fmla="*/ 4 w 32"/>
                <a:gd name="T17" fmla="*/ 0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231">
                  <a:moveTo>
                    <a:pt x="4" y="0"/>
                  </a:moveTo>
                  <a:cubicBezTo>
                    <a:pt x="29" y="0"/>
                    <a:pt x="29" y="0"/>
                    <a:pt x="29" y="0"/>
                  </a:cubicBezTo>
                  <a:cubicBezTo>
                    <a:pt x="31" y="0"/>
                    <a:pt x="32" y="1"/>
                    <a:pt x="32" y="3"/>
                  </a:cubicBezTo>
                  <a:cubicBezTo>
                    <a:pt x="32" y="228"/>
                    <a:pt x="32" y="228"/>
                    <a:pt x="32" y="228"/>
                  </a:cubicBezTo>
                  <a:cubicBezTo>
                    <a:pt x="32" y="230"/>
                    <a:pt x="31" y="231"/>
                    <a:pt x="29" y="231"/>
                  </a:cubicBezTo>
                  <a:cubicBezTo>
                    <a:pt x="4" y="231"/>
                    <a:pt x="4" y="231"/>
                    <a:pt x="4" y="231"/>
                  </a:cubicBezTo>
                  <a:cubicBezTo>
                    <a:pt x="2" y="231"/>
                    <a:pt x="1" y="230"/>
                    <a:pt x="1" y="228"/>
                  </a:cubicBezTo>
                  <a:cubicBezTo>
                    <a:pt x="0" y="3"/>
                    <a:pt x="0" y="3"/>
                    <a:pt x="0" y="3"/>
                  </a:cubicBezTo>
                  <a:cubicBezTo>
                    <a:pt x="0" y="1"/>
                    <a:pt x="2" y="0"/>
                    <a:pt x="4" y="0"/>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2" name="Freeform 28">
              <a:extLst>
                <a:ext uri="{FF2B5EF4-FFF2-40B4-BE49-F238E27FC236}">
                  <a16:creationId xmlns:a16="http://schemas.microsoft.com/office/drawing/2014/main" id="{FE855B47-FB84-E2C3-4F16-AE6D1CBD9CA9}"/>
                </a:ext>
              </a:extLst>
            </p:cNvPr>
            <p:cNvSpPr>
              <a:spLocks/>
            </p:cNvSpPr>
            <p:nvPr userDrawn="1"/>
          </p:nvSpPr>
          <p:spPr bwMode="auto">
            <a:xfrm>
              <a:off x="6756" y="2858"/>
              <a:ext cx="52" cy="72"/>
            </a:xfrm>
            <a:custGeom>
              <a:avLst/>
              <a:gdLst>
                <a:gd name="T0" fmla="*/ 140 w 168"/>
                <a:gd name="T1" fmla="*/ 0 h 232"/>
                <a:gd name="T2" fmla="*/ 165 w 168"/>
                <a:gd name="T3" fmla="*/ 0 h 232"/>
                <a:gd name="T4" fmla="*/ 168 w 168"/>
                <a:gd name="T5" fmla="*/ 4 h 232"/>
                <a:gd name="T6" fmla="*/ 168 w 168"/>
                <a:gd name="T7" fmla="*/ 229 h 232"/>
                <a:gd name="T8" fmla="*/ 165 w 168"/>
                <a:gd name="T9" fmla="*/ 232 h 232"/>
                <a:gd name="T10" fmla="*/ 141 w 168"/>
                <a:gd name="T11" fmla="*/ 232 h 232"/>
                <a:gd name="T12" fmla="*/ 137 w 168"/>
                <a:gd name="T13" fmla="*/ 230 h 232"/>
                <a:gd name="T14" fmla="*/ 33 w 168"/>
                <a:gd name="T15" fmla="*/ 61 h 232"/>
                <a:gd name="T16" fmla="*/ 32 w 168"/>
                <a:gd name="T17" fmla="*/ 60 h 232"/>
                <a:gd name="T18" fmla="*/ 31 w 168"/>
                <a:gd name="T19" fmla="*/ 61 h 232"/>
                <a:gd name="T20" fmla="*/ 32 w 168"/>
                <a:gd name="T21" fmla="*/ 229 h 232"/>
                <a:gd name="T22" fmla="*/ 29 w 168"/>
                <a:gd name="T23" fmla="*/ 232 h 232"/>
                <a:gd name="T24" fmla="*/ 3 w 168"/>
                <a:gd name="T25" fmla="*/ 232 h 232"/>
                <a:gd name="T26" fmla="*/ 0 w 168"/>
                <a:gd name="T27" fmla="*/ 229 h 232"/>
                <a:gd name="T28" fmla="*/ 0 w 168"/>
                <a:gd name="T29" fmla="*/ 4 h 232"/>
                <a:gd name="T30" fmla="*/ 3 w 168"/>
                <a:gd name="T31" fmla="*/ 1 h 232"/>
                <a:gd name="T32" fmla="*/ 28 w 168"/>
                <a:gd name="T33" fmla="*/ 0 h 232"/>
                <a:gd name="T34" fmla="*/ 32 w 168"/>
                <a:gd name="T35" fmla="*/ 3 h 232"/>
                <a:gd name="T36" fmla="*/ 135 w 168"/>
                <a:gd name="T37" fmla="*/ 172 h 232"/>
                <a:gd name="T38" fmla="*/ 136 w 168"/>
                <a:gd name="T39" fmla="*/ 173 h 232"/>
                <a:gd name="T40" fmla="*/ 137 w 168"/>
                <a:gd name="T41" fmla="*/ 172 h 232"/>
                <a:gd name="T42" fmla="*/ 136 w 168"/>
                <a:gd name="T43" fmla="*/ 4 h 232"/>
                <a:gd name="T44" fmla="*/ 140 w 168"/>
                <a:gd name="T45" fmla="*/ 0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8" h="232">
                  <a:moveTo>
                    <a:pt x="140" y="0"/>
                  </a:moveTo>
                  <a:cubicBezTo>
                    <a:pt x="165" y="0"/>
                    <a:pt x="165" y="0"/>
                    <a:pt x="165" y="0"/>
                  </a:cubicBezTo>
                  <a:cubicBezTo>
                    <a:pt x="167" y="0"/>
                    <a:pt x="168" y="2"/>
                    <a:pt x="168" y="4"/>
                  </a:cubicBezTo>
                  <a:cubicBezTo>
                    <a:pt x="168" y="229"/>
                    <a:pt x="168" y="229"/>
                    <a:pt x="168" y="229"/>
                  </a:cubicBezTo>
                  <a:cubicBezTo>
                    <a:pt x="168" y="231"/>
                    <a:pt x="167" y="232"/>
                    <a:pt x="165" y="232"/>
                  </a:cubicBezTo>
                  <a:cubicBezTo>
                    <a:pt x="141" y="232"/>
                    <a:pt x="141" y="232"/>
                    <a:pt x="141" y="232"/>
                  </a:cubicBezTo>
                  <a:cubicBezTo>
                    <a:pt x="139" y="232"/>
                    <a:pt x="138" y="232"/>
                    <a:pt x="137" y="230"/>
                  </a:cubicBezTo>
                  <a:cubicBezTo>
                    <a:pt x="33" y="61"/>
                    <a:pt x="33" y="61"/>
                    <a:pt x="33" y="61"/>
                  </a:cubicBezTo>
                  <a:cubicBezTo>
                    <a:pt x="33" y="60"/>
                    <a:pt x="32" y="60"/>
                    <a:pt x="32" y="60"/>
                  </a:cubicBezTo>
                  <a:cubicBezTo>
                    <a:pt x="32" y="60"/>
                    <a:pt x="31" y="60"/>
                    <a:pt x="31" y="61"/>
                  </a:cubicBezTo>
                  <a:cubicBezTo>
                    <a:pt x="32" y="229"/>
                    <a:pt x="32" y="229"/>
                    <a:pt x="32" y="229"/>
                  </a:cubicBezTo>
                  <a:cubicBezTo>
                    <a:pt x="32" y="231"/>
                    <a:pt x="31" y="232"/>
                    <a:pt x="29" y="232"/>
                  </a:cubicBezTo>
                  <a:cubicBezTo>
                    <a:pt x="3" y="232"/>
                    <a:pt x="3" y="232"/>
                    <a:pt x="3" y="232"/>
                  </a:cubicBezTo>
                  <a:cubicBezTo>
                    <a:pt x="1" y="232"/>
                    <a:pt x="0" y="231"/>
                    <a:pt x="0" y="229"/>
                  </a:cubicBezTo>
                  <a:cubicBezTo>
                    <a:pt x="0" y="4"/>
                    <a:pt x="0" y="4"/>
                    <a:pt x="0" y="4"/>
                  </a:cubicBezTo>
                  <a:cubicBezTo>
                    <a:pt x="0" y="2"/>
                    <a:pt x="1" y="1"/>
                    <a:pt x="3" y="1"/>
                  </a:cubicBezTo>
                  <a:cubicBezTo>
                    <a:pt x="28" y="0"/>
                    <a:pt x="28" y="0"/>
                    <a:pt x="28" y="0"/>
                  </a:cubicBezTo>
                  <a:cubicBezTo>
                    <a:pt x="29" y="0"/>
                    <a:pt x="31" y="1"/>
                    <a:pt x="32" y="3"/>
                  </a:cubicBezTo>
                  <a:cubicBezTo>
                    <a:pt x="135" y="172"/>
                    <a:pt x="135" y="172"/>
                    <a:pt x="135" y="172"/>
                  </a:cubicBezTo>
                  <a:cubicBezTo>
                    <a:pt x="135" y="173"/>
                    <a:pt x="136" y="173"/>
                    <a:pt x="136" y="173"/>
                  </a:cubicBezTo>
                  <a:cubicBezTo>
                    <a:pt x="137" y="173"/>
                    <a:pt x="137" y="172"/>
                    <a:pt x="137" y="172"/>
                  </a:cubicBezTo>
                  <a:cubicBezTo>
                    <a:pt x="136" y="4"/>
                    <a:pt x="136" y="4"/>
                    <a:pt x="136" y="4"/>
                  </a:cubicBezTo>
                  <a:cubicBezTo>
                    <a:pt x="136" y="2"/>
                    <a:pt x="137" y="0"/>
                    <a:pt x="140" y="0"/>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3" name="Freeform 29">
              <a:extLst>
                <a:ext uri="{FF2B5EF4-FFF2-40B4-BE49-F238E27FC236}">
                  <a16:creationId xmlns:a16="http://schemas.microsoft.com/office/drawing/2014/main" id="{E38CA078-DD66-C257-CA9A-95BE47DB8494}"/>
                </a:ext>
              </a:extLst>
            </p:cNvPr>
            <p:cNvSpPr>
              <a:spLocks/>
            </p:cNvSpPr>
            <p:nvPr userDrawn="1"/>
          </p:nvSpPr>
          <p:spPr bwMode="auto">
            <a:xfrm>
              <a:off x="6822" y="2857"/>
              <a:ext cx="50" cy="74"/>
            </a:xfrm>
            <a:custGeom>
              <a:avLst/>
              <a:gdLst>
                <a:gd name="T0" fmla="*/ 38 w 161"/>
                <a:gd name="T1" fmla="*/ 227 h 237"/>
                <a:gd name="T2" fmla="*/ 10 w 161"/>
                <a:gd name="T3" fmla="*/ 201 h 237"/>
                <a:gd name="T4" fmla="*/ 0 w 161"/>
                <a:gd name="T5" fmla="*/ 161 h 237"/>
                <a:gd name="T6" fmla="*/ 0 w 161"/>
                <a:gd name="T7" fmla="*/ 76 h 237"/>
                <a:gd name="T8" fmla="*/ 10 w 161"/>
                <a:gd name="T9" fmla="*/ 36 h 237"/>
                <a:gd name="T10" fmla="*/ 38 w 161"/>
                <a:gd name="T11" fmla="*/ 9 h 237"/>
                <a:gd name="T12" fmla="*/ 80 w 161"/>
                <a:gd name="T13" fmla="*/ 0 h 237"/>
                <a:gd name="T14" fmla="*/ 122 w 161"/>
                <a:gd name="T15" fmla="*/ 9 h 237"/>
                <a:gd name="T16" fmla="*/ 151 w 161"/>
                <a:gd name="T17" fmla="*/ 35 h 237"/>
                <a:gd name="T18" fmla="*/ 161 w 161"/>
                <a:gd name="T19" fmla="*/ 72 h 237"/>
                <a:gd name="T20" fmla="*/ 161 w 161"/>
                <a:gd name="T21" fmla="*/ 75 h 237"/>
                <a:gd name="T22" fmla="*/ 157 w 161"/>
                <a:gd name="T23" fmla="*/ 78 h 237"/>
                <a:gd name="T24" fmla="*/ 132 w 161"/>
                <a:gd name="T25" fmla="*/ 79 h 237"/>
                <a:gd name="T26" fmla="*/ 129 w 161"/>
                <a:gd name="T27" fmla="*/ 75 h 237"/>
                <a:gd name="T28" fmla="*/ 129 w 161"/>
                <a:gd name="T29" fmla="*/ 72 h 237"/>
                <a:gd name="T30" fmla="*/ 116 w 161"/>
                <a:gd name="T31" fmla="*/ 40 h 237"/>
                <a:gd name="T32" fmla="*/ 80 w 161"/>
                <a:gd name="T33" fmla="*/ 28 h 237"/>
                <a:gd name="T34" fmla="*/ 45 w 161"/>
                <a:gd name="T35" fmla="*/ 40 h 237"/>
                <a:gd name="T36" fmla="*/ 31 w 161"/>
                <a:gd name="T37" fmla="*/ 75 h 237"/>
                <a:gd name="T38" fmla="*/ 31 w 161"/>
                <a:gd name="T39" fmla="*/ 162 h 237"/>
                <a:gd name="T40" fmla="*/ 45 w 161"/>
                <a:gd name="T41" fmla="*/ 196 h 237"/>
                <a:gd name="T42" fmla="*/ 81 w 161"/>
                <a:gd name="T43" fmla="*/ 209 h 237"/>
                <a:gd name="T44" fmla="*/ 116 w 161"/>
                <a:gd name="T45" fmla="*/ 198 h 237"/>
                <a:gd name="T46" fmla="*/ 129 w 161"/>
                <a:gd name="T47" fmla="*/ 166 h 237"/>
                <a:gd name="T48" fmla="*/ 129 w 161"/>
                <a:gd name="T49" fmla="*/ 141 h 237"/>
                <a:gd name="T50" fmla="*/ 127 w 161"/>
                <a:gd name="T51" fmla="*/ 139 h 237"/>
                <a:gd name="T52" fmla="*/ 83 w 161"/>
                <a:gd name="T53" fmla="*/ 139 h 237"/>
                <a:gd name="T54" fmla="*/ 79 w 161"/>
                <a:gd name="T55" fmla="*/ 136 h 237"/>
                <a:gd name="T56" fmla="*/ 79 w 161"/>
                <a:gd name="T57" fmla="*/ 116 h 237"/>
                <a:gd name="T58" fmla="*/ 83 w 161"/>
                <a:gd name="T59" fmla="*/ 112 h 237"/>
                <a:gd name="T60" fmla="*/ 157 w 161"/>
                <a:gd name="T61" fmla="*/ 112 h 237"/>
                <a:gd name="T62" fmla="*/ 161 w 161"/>
                <a:gd name="T63" fmla="*/ 116 h 237"/>
                <a:gd name="T64" fmla="*/ 161 w 161"/>
                <a:gd name="T65" fmla="*/ 158 h 237"/>
                <a:gd name="T66" fmla="*/ 139 w 161"/>
                <a:gd name="T67" fmla="*/ 216 h 237"/>
                <a:gd name="T68" fmla="*/ 81 w 161"/>
                <a:gd name="T69" fmla="*/ 237 h 237"/>
                <a:gd name="T70" fmla="*/ 38 w 161"/>
                <a:gd name="T71" fmla="*/ 227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61" h="237">
                  <a:moveTo>
                    <a:pt x="38" y="227"/>
                  </a:moveTo>
                  <a:cubicBezTo>
                    <a:pt x="26" y="221"/>
                    <a:pt x="17" y="212"/>
                    <a:pt x="10" y="201"/>
                  </a:cubicBezTo>
                  <a:cubicBezTo>
                    <a:pt x="3" y="189"/>
                    <a:pt x="0" y="176"/>
                    <a:pt x="0" y="161"/>
                  </a:cubicBezTo>
                  <a:cubicBezTo>
                    <a:pt x="0" y="76"/>
                    <a:pt x="0" y="76"/>
                    <a:pt x="0" y="76"/>
                  </a:cubicBezTo>
                  <a:cubicBezTo>
                    <a:pt x="0" y="61"/>
                    <a:pt x="3" y="47"/>
                    <a:pt x="10" y="36"/>
                  </a:cubicBezTo>
                  <a:cubicBezTo>
                    <a:pt x="16" y="24"/>
                    <a:pt x="26" y="15"/>
                    <a:pt x="38" y="9"/>
                  </a:cubicBezTo>
                  <a:cubicBezTo>
                    <a:pt x="50" y="3"/>
                    <a:pt x="64" y="0"/>
                    <a:pt x="80" y="0"/>
                  </a:cubicBezTo>
                  <a:cubicBezTo>
                    <a:pt x="96" y="0"/>
                    <a:pt x="110" y="3"/>
                    <a:pt x="122" y="9"/>
                  </a:cubicBezTo>
                  <a:cubicBezTo>
                    <a:pt x="135" y="15"/>
                    <a:pt x="144" y="24"/>
                    <a:pt x="151" y="35"/>
                  </a:cubicBezTo>
                  <a:cubicBezTo>
                    <a:pt x="157" y="46"/>
                    <a:pt x="161" y="58"/>
                    <a:pt x="161" y="72"/>
                  </a:cubicBezTo>
                  <a:cubicBezTo>
                    <a:pt x="161" y="75"/>
                    <a:pt x="161" y="75"/>
                    <a:pt x="161" y="75"/>
                  </a:cubicBezTo>
                  <a:cubicBezTo>
                    <a:pt x="161" y="77"/>
                    <a:pt x="159" y="78"/>
                    <a:pt x="157" y="78"/>
                  </a:cubicBezTo>
                  <a:cubicBezTo>
                    <a:pt x="132" y="79"/>
                    <a:pt x="132" y="79"/>
                    <a:pt x="132" y="79"/>
                  </a:cubicBezTo>
                  <a:cubicBezTo>
                    <a:pt x="130" y="79"/>
                    <a:pt x="129" y="77"/>
                    <a:pt x="129" y="75"/>
                  </a:cubicBezTo>
                  <a:cubicBezTo>
                    <a:pt x="129" y="72"/>
                    <a:pt x="129" y="72"/>
                    <a:pt x="129" y="72"/>
                  </a:cubicBezTo>
                  <a:cubicBezTo>
                    <a:pt x="129" y="59"/>
                    <a:pt x="124" y="48"/>
                    <a:pt x="116" y="40"/>
                  </a:cubicBezTo>
                  <a:cubicBezTo>
                    <a:pt x="107" y="32"/>
                    <a:pt x="95" y="28"/>
                    <a:pt x="80" y="28"/>
                  </a:cubicBezTo>
                  <a:cubicBezTo>
                    <a:pt x="66" y="28"/>
                    <a:pt x="54" y="32"/>
                    <a:pt x="45" y="40"/>
                  </a:cubicBezTo>
                  <a:cubicBezTo>
                    <a:pt x="36" y="49"/>
                    <a:pt x="31" y="61"/>
                    <a:pt x="31" y="75"/>
                  </a:cubicBezTo>
                  <a:cubicBezTo>
                    <a:pt x="31" y="162"/>
                    <a:pt x="31" y="162"/>
                    <a:pt x="31" y="162"/>
                  </a:cubicBezTo>
                  <a:cubicBezTo>
                    <a:pt x="31" y="176"/>
                    <a:pt x="36" y="188"/>
                    <a:pt x="45" y="196"/>
                  </a:cubicBezTo>
                  <a:cubicBezTo>
                    <a:pt x="55" y="205"/>
                    <a:pt x="67" y="209"/>
                    <a:pt x="81" y="209"/>
                  </a:cubicBezTo>
                  <a:cubicBezTo>
                    <a:pt x="96" y="209"/>
                    <a:pt x="108" y="205"/>
                    <a:pt x="116" y="198"/>
                  </a:cubicBezTo>
                  <a:cubicBezTo>
                    <a:pt x="125" y="190"/>
                    <a:pt x="129" y="180"/>
                    <a:pt x="129" y="166"/>
                  </a:cubicBezTo>
                  <a:cubicBezTo>
                    <a:pt x="129" y="141"/>
                    <a:pt x="129" y="141"/>
                    <a:pt x="129" y="141"/>
                  </a:cubicBezTo>
                  <a:cubicBezTo>
                    <a:pt x="129" y="140"/>
                    <a:pt x="128" y="139"/>
                    <a:pt x="127" y="139"/>
                  </a:cubicBezTo>
                  <a:cubicBezTo>
                    <a:pt x="83" y="139"/>
                    <a:pt x="83" y="139"/>
                    <a:pt x="83" y="139"/>
                  </a:cubicBezTo>
                  <a:cubicBezTo>
                    <a:pt x="81" y="139"/>
                    <a:pt x="79" y="138"/>
                    <a:pt x="79" y="136"/>
                  </a:cubicBezTo>
                  <a:cubicBezTo>
                    <a:pt x="79" y="116"/>
                    <a:pt x="79" y="116"/>
                    <a:pt x="79" y="116"/>
                  </a:cubicBezTo>
                  <a:cubicBezTo>
                    <a:pt x="79" y="113"/>
                    <a:pt x="81" y="112"/>
                    <a:pt x="83" y="112"/>
                  </a:cubicBezTo>
                  <a:cubicBezTo>
                    <a:pt x="157" y="112"/>
                    <a:pt x="157" y="112"/>
                    <a:pt x="157" y="112"/>
                  </a:cubicBezTo>
                  <a:cubicBezTo>
                    <a:pt x="160" y="112"/>
                    <a:pt x="161" y="113"/>
                    <a:pt x="161" y="116"/>
                  </a:cubicBezTo>
                  <a:cubicBezTo>
                    <a:pt x="161" y="158"/>
                    <a:pt x="161" y="158"/>
                    <a:pt x="161" y="158"/>
                  </a:cubicBezTo>
                  <a:cubicBezTo>
                    <a:pt x="161" y="183"/>
                    <a:pt x="153" y="203"/>
                    <a:pt x="139" y="216"/>
                  </a:cubicBezTo>
                  <a:cubicBezTo>
                    <a:pt x="125" y="230"/>
                    <a:pt x="105" y="237"/>
                    <a:pt x="81" y="237"/>
                  </a:cubicBezTo>
                  <a:cubicBezTo>
                    <a:pt x="64" y="237"/>
                    <a:pt x="50" y="234"/>
                    <a:pt x="38" y="227"/>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4" name="Freeform 30">
              <a:extLst>
                <a:ext uri="{FF2B5EF4-FFF2-40B4-BE49-F238E27FC236}">
                  <a16:creationId xmlns:a16="http://schemas.microsoft.com/office/drawing/2014/main" id="{FBB36E49-20B4-3C82-01B1-91F3C04628B5}"/>
                </a:ext>
              </a:extLst>
            </p:cNvPr>
            <p:cNvSpPr>
              <a:spLocks/>
            </p:cNvSpPr>
            <p:nvPr userDrawn="1"/>
          </p:nvSpPr>
          <p:spPr bwMode="auto">
            <a:xfrm>
              <a:off x="6899" y="2858"/>
              <a:ext cx="52" cy="72"/>
            </a:xfrm>
            <a:custGeom>
              <a:avLst/>
              <a:gdLst>
                <a:gd name="T0" fmla="*/ 165 w 165"/>
                <a:gd name="T1" fmla="*/ 3 h 232"/>
                <a:gd name="T2" fmla="*/ 165 w 165"/>
                <a:gd name="T3" fmla="*/ 25 h 232"/>
                <a:gd name="T4" fmla="*/ 162 w 165"/>
                <a:gd name="T5" fmla="*/ 28 h 232"/>
                <a:gd name="T6" fmla="*/ 99 w 165"/>
                <a:gd name="T7" fmla="*/ 28 h 232"/>
                <a:gd name="T8" fmla="*/ 97 w 165"/>
                <a:gd name="T9" fmla="*/ 29 h 232"/>
                <a:gd name="T10" fmla="*/ 98 w 165"/>
                <a:gd name="T11" fmla="*/ 229 h 232"/>
                <a:gd name="T12" fmla="*/ 94 w 165"/>
                <a:gd name="T13" fmla="*/ 232 h 232"/>
                <a:gd name="T14" fmla="*/ 69 w 165"/>
                <a:gd name="T15" fmla="*/ 232 h 232"/>
                <a:gd name="T16" fmla="*/ 66 w 165"/>
                <a:gd name="T17" fmla="*/ 229 h 232"/>
                <a:gd name="T18" fmla="*/ 66 w 165"/>
                <a:gd name="T19" fmla="*/ 29 h 232"/>
                <a:gd name="T20" fmla="*/ 64 w 165"/>
                <a:gd name="T21" fmla="*/ 28 h 232"/>
                <a:gd name="T22" fmla="*/ 4 w 165"/>
                <a:gd name="T23" fmla="*/ 28 h 232"/>
                <a:gd name="T24" fmla="*/ 0 w 165"/>
                <a:gd name="T25" fmla="*/ 25 h 232"/>
                <a:gd name="T26" fmla="*/ 0 w 165"/>
                <a:gd name="T27" fmla="*/ 4 h 232"/>
                <a:gd name="T28" fmla="*/ 4 w 165"/>
                <a:gd name="T29" fmla="*/ 0 h 232"/>
                <a:gd name="T30" fmla="*/ 162 w 165"/>
                <a:gd name="T31" fmla="*/ 0 h 232"/>
                <a:gd name="T32" fmla="*/ 165 w 165"/>
                <a:gd name="T33" fmla="*/ 3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5" h="232">
                  <a:moveTo>
                    <a:pt x="165" y="3"/>
                  </a:moveTo>
                  <a:cubicBezTo>
                    <a:pt x="165" y="25"/>
                    <a:pt x="165" y="25"/>
                    <a:pt x="165" y="25"/>
                  </a:cubicBezTo>
                  <a:cubicBezTo>
                    <a:pt x="165" y="27"/>
                    <a:pt x="164" y="28"/>
                    <a:pt x="162" y="28"/>
                  </a:cubicBezTo>
                  <a:cubicBezTo>
                    <a:pt x="99" y="28"/>
                    <a:pt x="99" y="28"/>
                    <a:pt x="99" y="28"/>
                  </a:cubicBezTo>
                  <a:cubicBezTo>
                    <a:pt x="98" y="28"/>
                    <a:pt x="97" y="28"/>
                    <a:pt x="97" y="29"/>
                  </a:cubicBezTo>
                  <a:cubicBezTo>
                    <a:pt x="98" y="229"/>
                    <a:pt x="98" y="229"/>
                    <a:pt x="98" y="229"/>
                  </a:cubicBezTo>
                  <a:cubicBezTo>
                    <a:pt x="98" y="231"/>
                    <a:pt x="96" y="232"/>
                    <a:pt x="94" y="232"/>
                  </a:cubicBezTo>
                  <a:cubicBezTo>
                    <a:pt x="69" y="232"/>
                    <a:pt x="69" y="232"/>
                    <a:pt x="69" y="232"/>
                  </a:cubicBezTo>
                  <a:cubicBezTo>
                    <a:pt x="67" y="232"/>
                    <a:pt x="66" y="231"/>
                    <a:pt x="66" y="229"/>
                  </a:cubicBezTo>
                  <a:cubicBezTo>
                    <a:pt x="66" y="29"/>
                    <a:pt x="66" y="29"/>
                    <a:pt x="66" y="29"/>
                  </a:cubicBezTo>
                  <a:cubicBezTo>
                    <a:pt x="66" y="28"/>
                    <a:pt x="65" y="28"/>
                    <a:pt x="64" y="28"/>
                  </a:cubicBezTo>
                  <a:cubicBezTo>
                    <a:pt x="4" y="28"/>
                    <a:pt x="4" y="28"/>
                    <a:pt x="4" y="28"/>
                  </a:cubicBezTo>
                  <a:cubicBezTo>
                    <a:pt x="1" y="28"/>
                    <a:pt x="0" y="27"/>
                    <a:pt x="0" y="25"/>
                  </a:cubicBezTo>
                  <a:cubicBezTo>
                    <a:pt x="0" y="4"/>
                    <a:pt x="0" y="4"/>
                    <a:pt x="0" y="4"/>
                  </a:cubicBezTo>
                  <a:cubicBezTo>
                    <a:pt x="0" y="1"/>
                    <a:pt x="1" y="0"/>
                    <a:pt x="4" y="0"/>
                  </a:cubicBezTo>
                  <a:cubicBezTo>
                    <a:pt x="162" y="0"/>
                    <a:pt x="162" y="0"/>
                    <a:pt x="162" y="0"/>
                  </a:cubicBezTo>
                  <a:cubicBezTo>
                    <a:pt x="164" y="0"/>
                    <a:pt x="165" y="1"/>
                    <a:pt x="165" y="3"/>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5" name="Freeform 31">
              <a:extLst>
                <a:ext uri="{FF2B5EF4-FFF2-40B4-BE49-F238E27FC236}">
                  <a16:creationId xmlns:a16="http://schemas.microsoft.com/office/drawing/2014/main" id="{975C98D2-7F76-D184-D23E-214EDC025FE9}"/>
                </a:ext>
              </a:extLst>
            </p:cNvPr>
            <p:cNvSpPr>
              <a:spLocks noEditPoints="1"/>
            </p:cNvSpPr>
            <p:nvPr userDrawn="1"/>
          </p:nvSpPr>
          <p:spPr bwMode="auto">
            <a:xfrm>
              <a:off x="6961" y="2858"/>
              <a:ext cx="50" cy="72"/>
            </a:xfrm>
            <a:custGeom>
              <a:avLst/>
              <a:gdLst>
                <a:gd name="T0" fmla="*/ 128 w 161"/>
                <a:gd name="T1" fmla="*/ 230 h 232"/>
                <a:gd name="T2" fmla="*/ 82 w 161"/>
                <a:gd name="T3" fmla="*/ 131 h 232"/>
                <a:gd name="T4" fmla="*/ 81 w 161"/>
                <a:gd name="T5" fmla="*/ 130 h 232"/>
                <a:gd name="T6" fmla="*/ 33 w 161"/>
                <a:gd name="T7" fmla="*/ 130 h 232"/>
                <a:gd name="T8" fmla="*/ 32 w 161"/>
                <a:gd name="T9" fmla="*/ 131 h 232"/>
                <a:gd name="T10" fmla="*/ 32 w 161"/>
                <a:gd name="T11" fmla="*/ 229 h 232"/>
                <a:gd name="T12" fmla="*/ 29 w 161"/>
                <a:gd name="T13" fmla="*/ 232 h 232"/>
                <a:gd name="T14" fmla="*/ 4 w 161"/>
                <a:gd name="T15" fmla="*/ 232 h 232"/>
                <a:gd name="T16" fmla="*/ 0 w 161"/>
                <a:gd name="T17" fmla="*/ 229 h 232"/>
                <a:gd name="T18" fmla="*/ 0 w 161"/>
                <a:gd name="T19" fmla="*/ 3 h 232"/>
                <a:gd name="T20" fmla="*/ 3 w 161"/>
                <a:gd name="T21" fmla="*/ 0 h 232"/>
                <a:gd name="T22" fmla="*/ 93 w 161"/>
                <a:gd name="T23" fmla="*/ 0 h 232"/>
                <a:gd name="T24" fmla="*/ 127 w 161"/>
                <a:gd name="T25" fmla="*/ 8 h 232"/>
                <a:gd name="T26" fmla="*/ 150 w 161"/>
                <a:gd name="T27" fmla="*/ 32 h 232"/>
                <a:gd name="T28" fmla="*/ 159 w 161"/>
                <a:gd name="T29" fmla="*/ 66 h 232"/>
                <a:gd name="T30" fmla="*/ 147 w 161"/>
                <a:gd name="T31" fmla="*/ 105 h 232"/>
                <a:gd name="T32" fmla="*/ 113 w 161"/>
                <a:gd name="T33" fmla="*/ 127 h 232"/>
                <a:gd name="T34" fmla="*/ 113 w 161"/>
                <a:gd name="T35" fmla="*/ 129 h 232"/>
                <a:gd name="T36" fmla="*/ 161 w 161"/>
                <a:gd name="T37" fmla="*/ 228 h 232"/>
                <a:gd name="T38" fmla="*/ 161 w 161"/>
                <a:gd name="T39" fmla="*/ 230 h 232"/>
                <a:gd name="T40" fmla="*/ 159 w 161"/>
                <a:gd name="T41" fmla="*/ 232 h 232"/>
                <a:gd name="T42" fmla="*/ 132 w 161"/>
                <a:gd name="T43" fmla="*/ 232 h 232"/>
                <a:gd name="T44" fmla="*/ 128 w 161"/>
                <a:gd name="T45" fmla="*/ 230 h 232"/>
                <a:gd name="T46" fmla="*/ 32 w 161"/>
                <a:gd name="T47" fmla="*/ 29 h 232"/>
                <a:gd name="T48" fmla="*/ 32 w 161"/>
                <a:gd name="T49" fmla="*/ 103 h 232"/>
                <a:gd name="T50" fmla="*/ 33 w 161"/>
                <a:gd name="T51" fmla="*/ 104 h 232"/>
                <a:gd name="T52" fmla="*/ 88 w 161"/>
                <a:gd name="T53" fmla="*/ 104 h 232"/>
                <a:gd name="T54" fmla="*/ 117 w 161"/>
                <a:gd name="T55" fmla="*/ 94 h 232"/>
                <a:gd name="T56" fmla="*/ 127 w 161"/>
                <a:gd name="T57" fmla="*/ 66 h 232"/>
                <a:gd name="T58" fmla="*/ 117 w 161"/>
                <a:gd name="T59" fmla="*/ 38 h 232"/>
                <a:gd name="T60" fmla="*/ 88 w 161"/>
                <a:gd name="T61" fmla="*/ 28 h 232"/>
                <a:gd name="T62" fmla="*/ 33 w 161"/>
                <a:gd name="T63" fmla="*/ 28 h 232"/>
                <a:gd name="T64" fmla="*/ 32 w 161"/>
                <a:gd name="T65" fmla="*/ 29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61" h="232">
                  <a:moveTo>
                    <a:pt x="128" y="230"/>
                  </a:moveTo>
                  <a:cubicBezTo>
                    <a:pt x="82" y="131"/>
                    <a:pt x="82" y="131"/>
                    <a:pt x="82" y="131"/>
                  </a:cubicBezTo>
                  <a:cubicBezTo>
                    <a:pt x="82" y="130"/>
                    <a:pt x="81" y="130"/>
                    <a:pt x="81" y="130"/>
                  </a:cubicBezTo>
                  <a:cubicBezTo>
                    <a:pt x="33" y="130"/>
                    <a:pt x="33" y="130"/>
                    <a:pt x="33" y="130"/>
                  </a:cubicBezTo>
                  <a:cubicBezTo>
                    <a:pt x="32" y="130"/>
                    <a:pt x="32" y="130"/>
                    <a:pt x="32" y="131"/>
                  </a:cubicBezTo>
                  <a:cubicBezTo>
                    <a:pt x="32" y="229"/>
                    <a:pt x="32" y="229"/>
                    <a:pt x="32" y="229"/>
                  </a:cubicBezTo>
                  <a:cubicBezTo>
                    <a:pt x="32" y="231"/>
                    <a:pt x="31" y="232"/>
                    <a:pt x="29" y="232"/>
                  </a:cubicBezTo>
                  <a:cubicBezTo>
                    <a:pt x="4" y="232"/>
                    <a:pt x="4" y="232"/>
                    <a:pt x="4" y="232"/>
                  </a:cubicBezTo>
                  <a:cubicBezTo>
                    <a:pt x="1" y="232"/>
                    <a:pt x="0" y="231"/>
                    <a:pt x="0" y="229"/>
                  </a:cubicBezTo>
                  <a:cubicBezTo>
                    <a:pt x="0" y="3"/>
                    <a:pt x="0" y="3"/>
                    <a:pt x="0" y="3"/>
                  </a:cubicBezTo>
                  <a:cubicBezTo>
                    <a:pt x="0" y="1"/>
                    <a:pt x="1" y="0"/>
                    <a:pt x="3" y="0"/>
                  </a:cubicBezTo>
                  <a:cubicBezTo>
                    <a:pt x="93" y="0"/>
                    <a:pt x="93" y="0"/>
                    <a:pt x="93" y="0"/>
                  </a:cubicBezTo>
                  <a:cubicBezTo>
                    <a:pt x="106" y="0"/>
                    <a:pt x="117" y="3"/>
                    <a:pt x="127" y="8"/>
                  </a:cubicBezTo>
                  <a:cubicBezTo>
                    <a:pt x="137" y="14"/>
                    <a:pt x="145" y="22"/>
                    <a:pt x="150" y="32"/>
                  </a:cubicBezTo>
                  <a:cubicBezTo>
                    <a:pt x="156" y="41"/>
                    <a:pt x="159" y="53"/>
                    <a:pt x="159" y="66"/>
                  </a:cubicBezTo>
                  <a:cubicBezTo>
                    <a:pt x="159" y="81"/>
                    <a:pt x="155" y="94"/>
                    <a:pt x="147" y="105"/>
                  </a:cubicBezTo>
                  <a:cubicBezTo>
                    <a:pt x="138" y="116"/>
                    <a:pt x="127" y="123"/>
                    <a:pt x="113" y="127"/>
                  </a:cubicBezTo>
                  <a:cubicBezTo>
                    <a:pt x="113" y="127"/>
                    <a:pt x="112" y="128"/>
                    <a:pt x="113" y="129"/>
                  </a:cubicBezTo>
                  <a:cubicBezTo>
                    <a:pt x="161" y="228"/>
                    <a:pt x="161" y="228"/>
                    <a:pt x="161" y="228"/>
                  </a:cubicBezTo>
                  <a:cubicBezTo>
                    <a:pt x="161" y="228"/>
                    <a:pt x="161" y="229"/>
                    <a:pt x="161" y="230"/>
                  </a:cubicBezTo>
                  <a:cubicBezTo>
                    <a:pt x="161" y="231"/>
                    <a:pt x="160" y="232"/>
                    <a:pt x="159" y="232"/>
                  </a:cubicBezTo>
                  <a:cubicBezTo>
                    <a:pt x="132" y="232"/>
                    <a:pt x="132" y="232"/>
                    <a:pt x="132" y="232"/>
                  </a:cubicBezTo>
                  <a:cubicBezTo>
                    <a:pt x="130" y="232"/>
                    <a:pt x="129" y="231"/>
                    <a:pt x="128" y="230"/>
                  </a:cubicBezTo>
                  <a:moveTo>
                    <a:pt x="32" y="29"/>
                  </a:moveTo>
                  <a:cubicBezTo>
                    <a:pt x="32" y="103"/>
                    <a:pt x="32" y="103"/>
                    <a:pt x="32" y="103"/>
                  </a:cubicBezTo>
                  <a:cubicBezTo>
                    <a:pt x="32" y="104"/>
                    <a:pt x="32" y="104"/>
                    <a:pt x="33" y="104"/>
                  </a:cubicBezTo>
                  <a:cubicBezTo>
                    <a:pt x="88" y="104"/>
                    <a:pt x="88" y="104"/>
                    <a:pt x="88" y="104"/>
                  </a:cubicBezTo>
                  <a:cubicBezTo>
                    <a:pt x="100" y="104"/>
                    <a:pt x="109" y="101"/>
                    <a:pt x="117" y="94"/>
                  </a:cubicBezTo>
                  <a:cubicBezTo>
                    <a:pt x="124" y="87"/>
                    <a:pt x="127" y="78"/>
                    <a:pt x="127" y="66"/>
                  </a:cubicBezTo>
                  <a:cubicBezTo>
                    <a:pt x="127" y="55"/>
                    <a:pt x="124" y="46"/>
                    <a:pt x="117" y="38"/>
                  </a:cubicBezTo>
                  <a:cubicBezTo>
                    <a:pt x="109" y="31"/>
                    <a:pt x="100" y="28"/>
                    <a:pt x="88" y="28"/>
                  </a:cubicBezTo>
                  <a:cubicBezTo>
                    <a:pt x="33" y="28"/>
                    <a:pt x="33" y="28"/>
                    <a:pt x="33" y="28"/>
                  </a:cubicBezTo>
                  <a:cubicBezTo>
                    <a:pt x="32" y="28"/>
                    <a:pt x="32" y="28"/>
                    <a:pt x="32" y="29"/>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6" name="Freeform 32">
              <a:extLst>
                <a:ext uri="{FF2B5EF4-FFF2-40B4-BE49-F238E27FC236}">
                  <a16:creationId xmlns:a16="http://schemas.microsoft.com/office/drawing/2014/main" id="{7BFE05CB-8851-7824-2856-3C56817EB697}"/>
                </a:ext>
              </a:extLst>
            </p:cNvPr>
            <p:cNvSpPr>
              <a:spLocks/>
            </p:cNvSpPr>
            <p:nvPr userDrawn="1"/>
          </p:nvSpPr>
          <p:spPr bwMode="auto">
            <a:xfrm>
              <a:off x="7022" y="2858"/>
              <a:ext cx="51" cy="73"/>
            </a:xfrm>
            <a:custGeom>
              <a:avLst/>
              <a:gdLst>
                <a:gd name="T0" fmla="*/ 39 w 163"/>
                <a:gd name="T1" fmla="*/ 225 h 235"/>
                <a:gd name="T2" fmla="*/ 10 w 163"/>
                <a:gd name="T3" fmla="*/ 198 h 235"/>
                <a:gd name="T4" fmla="*/ 0 w 163"/>
                <a:gd name="T5" fmla="*/ 158 h 235"/>
                <a:gd name="T6" fmla="*/ 0 w 163"/>
                <a:gd name="T7" fmla="*/ 3 h 235"/>
                <a:gd name="T8" fmla="*/ 3 w 163"/>
                <a:gd name="T9" fmla="*/ 0 h 235"/>
                <a:gd name="T10" fmla="*/ 28 w 163"/>
                <a:gd name="T11" fmla="*/ 0 h 235"/>
                <a:gd name="T12" fmla="*/ 32 w 163"/>
                <a:gd name="T13" fmla="*/ 3 h 235"/>
                <a:gd name="T14" fmla="*/ 32 w 163"/>
                <a:gd name="T15" fmla="*/ 159 h 235"/>
                <a:gd name="T16" fmla="*/ 45 w 163"/>
                <a:gd name="T17" fmla="*/ 194 h 235"/>
                <a:gd name="T18" fmla="*/ 81 w 163"/>
                <a:gd name="T19" fmla="*/ 207 h 235"/>
                <a:gd name="T20" fmla="*/ 117 w 163"/>
                <a:gd name="T21" fmla="*/ 194 h 235"/>
                <a:gd name="T22" fmla="*/ 131 w 163"/>
                <a:gd name="T23" fmla="*/ 159 h 235"/>
                <a:gd name="T24" fmla="*/ 131 w 163"/>
                <a:gd name="T25" fmla="*/ 3 h 235"/>
                <a:gd name="T26" fmla="*/ 134 w 163"/>
                <a:gd name="T27" fmla="*/ 0 h 235"/>
                <a:gd name="T28" fmla="*/ 159 w 163"/>
                <a:gd name="T29" fmla="*/ 0 h 235"/>
                <a:gd name="T30" fmla="*/ 162 w 163"/>
                <a:gd name="T31" fmla="*/ 3 h 235"/>
                <a:gd name="T32" fmla="*/ 163 w 163"/>
                <a:gd name="T33" fmla="*/ 158 h 235"/>
                <a:gd name="T34" fmla="*/ 152 w 163"/>
                <a:gd name="T35" fmla="*/ 198 h 235"/>
                <a:gd name="T36" fmla="*/ 124 w 163"/>
                <a:gd name="T37" fmla="*/ 225 h 235"/>
                <a:gd name="T38" fmla="*/ 81 w 163"/>
                <a:gd name="T39" fmla="*/ 235 h 235"/>
                <a:gd name="T40" fmla="*/ 39 w 163"/>
                <a:gd name="T41" fmla="*/ 225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3" h="235">
                  <a:moveTo>
                    <a:pt x="39" y="225"/>
                  </a:moveTo>
                  <a:cubicBezTo>
                    <a:pt x="26" y="219"/>
                    <a:pt x="17" y="210"/>
                    <a:pt x="10" y="198"/>
                  </a:cubicBezTo>
                  <a:cubicBezTo>
                    <a:pt x="3" y="187"/>
                    <a:pt x="0" y="173"/>
                    <a:pt x="0" y="158"/>
                  </a:cubicBezTo>
                  <a:cubicBezTo>
                    <a:pt x="0" y="3"/>
                    <a:pt x="0" y="3"/>
                    <a:pt x="0" y="3"/>
                  </a:cubicBezTo>
                  <a:cubicBezTo>
                    <a:pt x="0" y="1"/>
                    <a:pt x="1" y="0"/>
                    <a:pt x="3" y="0"/>
                  </a:cubicBezTo>
                  <a:cubicBezTo>
                    <a:pt x="28" y="0"/>
                    <a:pt x="28" y="0"/>
                    <a:pt x="28" y="0"/>
                  </a:cubicBezTo>
                  <a:cubicBezTo>
                    <a:pt x="31" y="0"/>
                    <a:pt x="32" y="1"/>
                    <a:pt x="32" y="3"/>
                  </a:cubicBezTo>
                  <a:cubicBezTo>
                    <a:pt x="32" y="159"/>
                    <a:pt x="32" y="159"/>
                    <a:pt x="32" y="159"/>
                  </a:cubicBezTo>
                  <a:cubicBezTo>
                    <a:pt x="32" y="173"/>
                    <a:pt x="36" y="185"/>
                    <a:pt x="45" y="194"/>
                  </a:cubicBezTo>
                  <a:cubicBezTo>
                    <a:pt x="54" y="203"/>
                    <a:pt x="66" y="207"/>
                    <a:pt x="81" y="207"/>
                  </a:cubicBezTo>
                  <a:cubicBezTo>
                    <a:pt x="96" y="207"/>
                    <a:pt x="108" y="203"/>
                    <a:pt x="117" y="194"/>
                  </a:cubicBezTo>
                  <a:cubicBezTo>
                    <a:pt x="126" y="185"/>
                    <a:pt x="131" y="173"/>
                    <a:pt x="131" y="159"/>
                  </a:cubicBezTo>
                  <a:cubicBezTo>
                    <a:pt x="131" y="3"/>
                    <a:pt x="131" y="3"/>
                    <a:pt x="131" y="3"/>
                  </a:cubicBezTo>
                  <a:cubicBezTo>
                    <a:pt x="131" y="1"/>
                    <a:pt x="132" y="0"/>
                    <a:pt x="134" y="0"/>
                  </a:cubicBezTo>
                  <a:cubicBezTo>
                    <a:pt x="159" y="0"/>
                    <a:pt x="159" y="0"/>
                    <a:pt x="159" y="0"/>
                  </a:cubicBezTo>
                  <a:cubicBezTo>
                    <a:pt x="161" y="0"/>
                    <a:pt x="162" y="1"/>
                    <a:pt x="162" y="3"/>
                  </a:cubicBezTo>
                  <a:cubicBezTo>
                    <a:pt x="163" y="158"/>
                    <a:pt x="163" y="158"/>
                    <a:pt x="163" y="158"/>
                  </a:cubicBezTo>
                  <a:cubicBezTo>
                    <a:pt x="163" y="173"/>
                    <a:pt x="159" y="187"/>
                    <a:pt x="152" y="198"/>
                  </a:cubicBezTo>
                  <a:cubicBezTo>
                    <a:pt x="146" y="210"/>
                    <a:pt x="136" y="219"/>
                    <a:pt x="124" y="225"/>
                  </a:cubicBezTo>
                  <a:cubicBezTo>
                    <a:pt x="111" y="231"/>
                    <a:pt x="97" y="235"/>
                    <a:pt x="81" y="235"/>
                  </a:cubicBezTo>
                  <a:cubicBezTo>
                    <a:pt x="65" y="235"/>
                    <a:pt x="51" y="231"/>
                    <a:pt x="39" y="225"/>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7" name="Freeform 33">
              <a:extLst>
                <a:ext uri="{FF2B5EF4-FFF2-40B4-BE49-F238E27FC236}">
                  <a16:creationId xmlns:a16="http://schemas.microsoft.com/office/drawing/2014/main" id="{179E5FE0-551E-5BE4-1D83-0CB17D96C79D}"/>
                </a:ext>
              </a:extLst>
            </p:cNvPr>
            <p:cNvSpPr>
              <a:spLocks/>
            </p:cNvSpPr>
            <p:nvPr userDrawn="1"/>
          </p:nvSpPr>
          <p:spPr bwMode="auto">
            <a:xfrm>
              <a:off x="7084" y="2857"/>
              <a:ext cx="51" cy="74"/>
            </a:xfrm>
            <a:custGeom>
              <a:avLst/>
              <a:gdLst>
                <a:gd name="T0" fmla="*/ 39 w 164"/>
                <a:gd name="T1" fmla="*/ 230 h 237"/>
                <a:gd name="T2" fmla="*/ 10 w 164"/>
                <a:gd name="T3" fmla="*/ 207 h 237"/>
                <a:gd name="T4" fmla="*/ 0 w 164"/>
                <a:gd name="T5" fmla="*/ 173 h 237"/>
                <a:gd name="T6" fmla="*/ 0 w 164"/>
                <a:gd name="T7" fmla="*/ 163 h 237"/>
                <a:gd name="T8" fmla="*/ 4 w 164"/>
                <a:gd name="T9" fmla="*/ 160 h 237"/>
                <a:gd name="T10" fmla="*/ 28 w 164"/>
                <a:gd name="T11" fmla="*/ 160 h 237"/>
                <a:gd name="T12" fmla="*/ 31 w 164"/>
                <a:gd name="T13" fmla="*/ 163 h 237"/>
                <a:gd name="T14" fmla="*/ 31 w 164"/>
                <a:gd name="T15" fmla="*/ 171 h 237"/>
                <a:gd name="T16" fmla="*/ 46 w 164"/>
                <a:gd name="T17" fmla="*/ 199 h 237"/>
                <a:gd name="T18" fmla="*/ 86 w 164"/>
                <a:gd name="T19" fmla="*/ 210 h 237"/>
                <a:gd name="T20" fmla="*/ 120 w 164"/>
                <a:gd name="T21" fmla="*/ 200 h 237"/>
                <a:gd name="T22" fmla="*/ 132 w 164"/>
                <a:gd name="T23" fmla="*/ 175 h 237"/>
                <a:gd name="T24" fmla="*/ 126 w 164"/>
                <a:gd name="T25" fmla="*/ 158 h 237"/>
                <a:gd name="T26" fmla="*/ 109 w 164"/>
                <a:gd name="T27" fmla="*/ 144 h 237"/>
                <a:gd name="T28" fmla="*/ 75 w 164"/>
                <a:gd name="T29" fmla="*/ 129 h 237"/>
                <a:gd name="T30" fmla="*/ 37 w 164"/>
                <a:gd name="T31" fmla="*/ 113 h 237"/>
                <a:gd name="T32" fmla="*/ 14 w 164"/>
                <a:gd name="T33" fmla="*/ 93 h 237"/>
                <a:gd name="T34" fmla="*/ 4 w 164"/>
                <a:gd name="T35" fmla="*/ 61 h 237"/>
                <a:gd name="T36" fmla="*/ 25 w 164"/>
                <a:gd name="T37" fmla="*/ 17 h 237"/>
                <a:gd name="T38" fmla="*/ 80 w 164"/>
                <a:gd name="T39" fmla="*/ 0 h 237"/>
                <a:gd name="T40" fmla="*/ 123 w 164"/>
                <a:gd name="T41" fmla="*/ 9 h 237"/>
                <a:gd name="T42" fmla="*/ 152 w 164"/>
                <a:gd name="T43" fmla="*/ 32 h 237"/>
                <a:gd name="T44" fmla="*/ 162 w 164"/>
                <a:gd name="T45" fmla="*/ 66 h 237"/>
                <a:gd name="T46" fmla="*/ 162 w 164"/>
                <a:gd name="T47" fmla="*/ 73 h 237"/>
                <a:gd name="T48" fmla="*/ 158 w 164"/>
                <a:gd name="T49" fmla="*/ 76 h 237"/>
                <a:gd name="T50" fmla="*/ 133 w 164"/>
                <a:gd name="T51" fmla="*/ 76 h 237"/>
                <a:gd name="T52" fmla="*/ 130 w 164"/>
                <a:gd name="T53" fmla="*/ 73 h 237"/>
                <a:gd name="T54" fmla="*/ 130 w 164"/>
                <a:gd name="T55" fmla="*/ 68 h 237"/>
                <a:gd name="T56" fmla="*/ 116 w 164"/>
                <a:gd name="T57" fmla="*/ 39 h 237"/>
                <a:gd name="T58" fmla="*/ 78 w 164"/>
                <a:gd name="T59" fmla="*/ 28 h 237"/>
                <a:gd name="T60" fmla="*/ 47 w 164"/>
                <a:gd name="T61" fmla="*/ 36 h 237"/>
                <a:gd name="T62" fmla="*/ 35 w 164"/>
                <a:gd name="T63" fmla="*/ 61 h 237"/>
                <a:gd name="T64" fmla="*/ 41 w 164"/>
                <a:gd name="T65" fmla="*/ 78 h 237"/>
                <a:gd name="T66" fmla="*/ 58 w 164"/>
                <a:gd name="T67" fmla="*/ 91 h 237"/>
                <a:gd name="T68" fmla="*/ 92 w 164"/>
                <a:gd name="T69" fmla="*/ 105 h 237"/>
                <a:gd name="T70" fmla="*/ 130 w 164"/>
                <a:gd name="T71" fmla="*/ 122 h 237"/>
                <a:gd name="T72" fmla="*/ 154 w 164"/>
                <a:gd name="T73" fmla="*/ 142 h 237"/>
                <a:gd name="T74" fmla="*/ 164 w 164"/>
                <a:gd name="T75" fmla="*/ 174 h 237"/>
                <a:gd name="T76" fmla="*/ 142 w 164"/>
                <a:gd name="T77" fmla="*/ 220 h 237"/>
                <a:gd name="T78" fmla="*/ 84 w 164"/>
                <a:gd name="T79" fmla="*/ 237 h 237"/>
                <a:gd name="T80" fmla="*/ 39 w 164"/>
                <a:gd name="T81" fmla="*/ 230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64" h="237">
                  <a:moveTo>
                    <a:pt x="39" y="230"/>
                  </a:moveTo>
                  <a:cubicBezTo>
                    <a:pt x="27" y="224"/>
                    <a:pt x="17" y="217"/>
                    <a:pt x="10" y="207"/>
                  </a:cubicBezTo>
                  <a:cubicBezTo>
                    <a:pt x="4" y="197"/>
                    <a:pt x="0" y="186"/>
                    <a:pt x="0" y="173"/>
                  </a:cubicBezTo>
                  <a:cubicBezTo>
                    <a:pt x="0" y="163"/>
                    <a:pt x="0" y="163"/>
                    <a:pt x="0" y="163"/>
                  </a:cubicBezTo>
                  <a:cubicBezTo>
                    <a:pt x="0" y="161"/>
                    <a:pt x="1" y="160"/>
                    <a:pt x="4" y="160"/>
                  </a:cubicBezTo>
                  <a:cubicBezTo>
                    <a:pt x="28" y="160"/>
                    <a:pt x="28" y="160"/>
                    <a:pt x="28" y="160"/>
                  </a:cubicBezTo>
                  <a:cubicBezTo>
                    <a:pt x="30" y="160"/>
                    <a:pt x="31" y="161"/>
                    <a:pt x="31" y="163"/>
                  </a:cubicBezTo>
                  <a:cubicBezTo>
                    <a:pt x="31" y="171"/>
                    <a:pt x="31" y="171"/>
                    <a:pt x="31" y="171"/>
                  </a:cubicBezTo>
                  <a:cubicBezTo>
                    <a:pt x="31" y="182"/>
                    <a:pt x="36" y="192"/>
                    <a:pt x="46" y="199"/>
                  </a:cubicBezTo>
                  <a:cubicBezTo>
                    <a:pt x="55" y="206"/>
                    <a:pt x="69" y="210"/>
                    <a:pt x="86" y="210"/>
                  </a:cubicBezTo>
                  <a:cubicBezTo>
                    <a:pt x="101" y="210"/>
                    <a:pt x="113" y="207"/>
                    <a:pt x="120" y="200"/>
                  </a:cubicBezTo>
                  <a:cubicBezTo>
                    <a:pt x="128" y="194"/>
                    <a:pt x="132" y="186"/>
                    <a:pt x="132" y="175"/>
                  </a:cubicBezTo>
                  <a:cubicBezTo>
                    <a:pt x="132" y="168"/>
                    <a:pt x="130" y="162"/>
                    <a:pt x="126" y="158"/>
                  </a:cubicBezTo>
                  <a:cubicBezTo>
                    <a:pt x="122" y="153"/>
                    <a:pt x="116" y="148"/>
                    <a:pt x="109" y="144"/>
                  </a:cubicBezTo>
                  <a:cubicBezTo>
                    <a:pt x="101" y="140"/>
                    <a:pt x="90" y="135"/>
                    <a:pt x="75" y="129"/>
                  </a:cubicBezTo>
                  <a:cubicBezTo>
                    <a:pt x="59" y="123"/>
                    <a:pt x="46" y="118"/>
                    <a:pt x="37" y="113"/>
                  </a:cubicBezTo>
                  <a:cubicBezTo>
                    <a:pt x="28" y="107"/>
                    <a:pt x="20" y="101"/>
                    <a:pt x="14" y="93"/>
                  </a:cubicBezTo>
                  <a:cubicBezTo>
                    <a:pt x="7" y="84"/>
                    <a:pt x="4" y="74"/>
                    <a:pt x="4" y="61"/>
                  </a:cubicBezTo>
                  <a:cubicBezTo>
                    <a:pt x="4" y="42"/>
                    <a:pt x="11" y="27"/>
                    <a:pt x="25" y="17"/>
                  </a:cubicBezTo>
                  <a:cubicBezTo>
                    <a:pt x="38" y="6"/>
                    <a:pt x="57" y="0"/>
                    <a:pt x="80" y="0"/>
                  </a:cubicBezTo>
                  <a:cubicBezTo>
                    <a:pt x="96" y="0"/>
                    <a:pt x="110" y="3"/>
                    <a:pt x="123" y="9"/>
                  </a:cubicBezTo>
                  <a:cubicBezTo>
                    <a:pt x="135" y="14"/>
                    <a:pt x="145" y="22"/>
                    <a:pt x="152" y="32"/>
                  </a:cubicBezTo>
                  <a:cubicBezTo>
                    <a:pt x="158" y="42"/>
                    <a:pt x="162" y="53"/>
                    <a:pt x="162" y="66"/>
                  </a:cubicBezTo>
                  <a:cubicBezTo>
                    <a:pt x="162" y="73"/>
                    <a:pt x="162" y="73"/>
                    <a:pt x="162" y="73"/>
                  </a:cubicBezTo>
                  <a:cubicBezTo>
                    <a:pt x="162" y="75"/>
                    <a:pt x="161" y="76"/>
                    <a:pt x="158" y="76"/>
                  </a:cubicBezTo>
                  <a:cubicBezTo>
                    <a:pt x="133" y="76"/>
                    <a:pt x="133" y="76"/>
                    <a:pt x="133" y="76"/>
                  </a:cubicBezTo>
                  <a:cubicBezTo>
                    <a:pt x="131" y="76"/>
                    <a:pt x="130" y="75"/>
                    <a:pt x="130" y="73"/>
                  </a:cubicBezTo>
                  <a:cubicBezTo>
                    <a:pt x="130" y="68"/>
                    <a:pt x="130" y="68"/>
                    <a:pt x="130" y="68"/>
                  </a:cubicBezTo>
                  <a:cubicBezTo>
                    <a:pt x="130" y="56"/>
                    <a:pt x="126" y="47"/>
                    <a:pt x="116" y="39"/>
                  </a:cubicBezTo>
                  <a:cubicBezTo>
                    <a:pt x="107" y="32"/>
                    <a:pt x="95" y="28"/>
                    <a:pt x="78" y="28"/>
                  </a:cubicBezTo>
                  <a:cubicBezTo>
                    <a:pt x="65" y="28"/>
                    <a:pt x="54" y="31"/>
                    <a:pt x="47" y="36"/>
                  </a:cubicBezTo>
                  <a:cubicBezTo>
                    <a:pt x="39" y="42"/>
                    <a:pt x="35" y="50"/>
                    <a:pt x="35" y="61"/>
                  </a:cubicBezTo>
                  <a:cubicBezTo>
                    <a:pt x="35" y="68"/>
                    <a:pt x="37" y="74"/>
                    <a:pt x="41" y="78"/>
                  </a:cubicBezTo>
                  <a:cubicBezTo>
                    <a:pt x="45" y="83"/>
                    <a:pt x="50" y="87"/>
                    <a:pt x="58" y="91"/>
                  </a:cubicBezTo>
                  <a:cubicBezTo>
                    <a:pt x="65" y="95"/>
                    <a:pt x="77" y="99"/>
                    <a:pt x="92" y="105"/>
                  </a:cubicBezTo>
                  <a:cubicBezTo>
                    <a:pt x="107" y="111"/>
                    <a:pt x="120" y="117"/>
                    <a:pt x="130" y="122"/>
                  </a:cubicBezTo>
                  <a:cubicBezTo>
                    <a:pt x="140" y="127"/>
                    <a:pt x="148" y="134"/>
                    <a:pt x="154" y="142"/>
                  </a:cubicBezTo>
                  <a:cubicBezTo>
                    <a:pt x="160" y="151"/>
                    <a:pt x="164" y="162"/>
                    <a:pt x="164" y="174"/>
                  </a:cubicBezTo>
                  <a:cubicBezTo>
                    <a:pt x="164" y="194"/>
                    <a:pt x="157" y="209"/>
                    <a:pt x="142" y="220"/>
                  </a:cubicBezTo>
                  <a:cubicBezTo>
                    <a:pt x="128" y="232"/>
                    <a:pt x="108" y="237"/>
                    <a:pt x="84" y="237"/>
                  </a:cubicBezTo>
                  <a:cubicBezTo>
                    <a:pt x="67" y="237"/>
                    <a:pt x="52" y="235"/>
                    <a:pt x="39" y="230"/>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8" name="Freeform 34">
              <a:extLst>
                <a:ext uri="{FF2B5EF4-FFF2-40B4-BE49-F238E27FC236}">
                  <a16:creationId xmlns:a16="http://schemas.microsoft.com/office/drawing/2014/main" id="{93287D2D-1446-89FF-E880-3B32066E64B4}"/>
                </a:ext>
              </a:extLst>
            </p:cNvPr>
            <p:cNvSpPr>
              <a:spLocks/>
            </p:cNvSpPr>
            <p:nvPr userDrawn="1"/>
          </p:nvSpPr>
          <p:spPr bwMode="auto">
            <a:xfrm>
              <a:off x="7139" y="2858"/>
              <a:ext cx="51" cy="72"/>
            </a:xfrm>
            <a:custGeom>
              <a:avLst/>
              <a:gdLst>
                <a:gd name="T0" fmla="*/ 165 w 165"/>
                <a:gd name="T1" fmla="*/ 3 h 232"/>
                <a:gd name="T2" fmla="*/ 165 w 165"/>
                <a:gd name="T3" fmla="*/ 24 h 232"/>
                <a:gd name="T4" fmla="*/ 161 w 165"/>
                <a:gd name="T5" fmla="*/ 28 h 232"/>
                <a:gd name="T6" fmla="*/ 98 w 165"/>
                <a:gd name="T7" fmla="*/ 28 h 232"/>
                <a:gd name="T8" fmla="*/ 97 w 165"/>
                <a:gd name="T9" fmla="*/ 29 h 232"/>
                <a:gd name="T10" fmla="*/ 97 w 165"/>
                <a:gd name="T11" fmla="*/ 228 h 232"/>
                <a:gd name="T12" fmla="*/ 94 w 165"/>
                <a:gd name="T13" fmla="*/ 232 h 232"/>
                <a:gd name="T14" fmla="*/ 69 w 165"/>
                <a:gd name="T15" fmla="*/ 232 h 232"/>
                <a:gd name="T16" fmla="*/ 65 w 165"/>
                <a:gd name="T17" fmla="*/ 228 h 232"/>
                <a:gd name="T18" fmla="*/ 65 w 165"/>
                <a:gd name="T19" fmla="*/ 29 h 232"/>
                <a:gd name="T20" fmla="*/ 64 w 165"/>
                <a:gd name="T21" fmla="*/ 28 h 232"/>
                <a:gd name="T22" fmla="*/ 3 w 165"/>
                <a:gd name="T23" fmla="*/ 28 h 232"/>
                <a:gd name="T24" fmla="*/ 0 w 165"/>
                <a:gd name="T25" fmla="*/ 24 h 232"/>
                <a:gd name="T26" fmla="*/ 0 w 165"/>
                <a:gd name="T27" fmla="*/ 3 h 232"/>
                <a:gd name="T28" fmla="*/ 3 w 165"/>
                <a:gd name="T29" fmla="*/ 0 h 232"/>
                <a:gd name="T30" fmla="*/ 161 w 165"/>
                <a:gd name="T31" fmla="*/ 0 h 232"/>
                <a:gd name="T32" fmla="*/ 165 w 165"/>
                <a:gd name="T33" fmla="*/ 3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5" h="232">
                  <a:moveTo>
                    <a:pt x="165" y="3"/>
                  </a:moveTo>
                  <a:cubicBezTo>
                    <a:pt x="165" y="24"/>
                    <a:pt x="165" y="24"/>
                    <a:pt x="165" y="24"/>
                  </a:cubicBezTo>
                  <a:cubicBezTo>
                    <a:pt x="165" y="26"/>
                    <a:pt x="164" y="28"/>
                    <a:pt x="161" y="28"/>
                  </a:cubicBezTo>
                  <a:cubicBezTo>
                    <a:pt x="98" y="28"/>
                    <a:pt x="98" y="28"/>
                    <a:pt x="98" y="28"/>
                  </a:cubicBezTo>
                  <a:cubicBezTo>
                    <a:pt x="97" y="28"/>
                    <a:pt x="97" y="28"/>
                    <a:pt x="97" y="29"/>
                  </a:cubicBezTo>
                  <a:cubicBezTo>
                    <a:pt x="97" y="228"/>
                    <a:pt x="97" y="228"/>
                    <a:pt x="97" y="228"/>
                  </a:cubicBezTo>
                  <a:cubicBezTo>
                    <a:pt x="97" y="231"/>
                    <a:pt x="96" y="232"/>
                    <a:pt x="94" y="232"/>
                  </a:cubicBezTo>
                  <a:cubicBezTo>
                    <a:pt x="69" y="232"/>
                    <a:pt x="69" y="232"/>
                    <a:pt x="69" y="232"/>
                  </a:cubicBezTo>
                  <a:cubicBezTo>
                    <a:pt x="66" y="232"/>
                    <a:pt x="65" y="231"/>
                    <a:pt x="65" y="228"/>
                  </a:cubicBezTo>
                  <a:cubicBezTo>
                    <a:pt x="65" y="29"/>
                    <a:pt x="65" y="29"/>
                    <a:pt x="65" y="29"/>
                  </a:cubicBezTo>
                  <a:cubicBezTo>
                    <a:pt x="65" y="28"/>
                    <a:pt x="65" y="28"/>
                    <a:pt x="64" y="28"/>
                  </a:cubicBezTo>
                  <a:cubicBezTo>
                    <a:pt x="3" y="28"/>
                    <a:pt x="3" y="28"/>
                    <a:pt x="3" y="28"/>
                  </a:cubicBezTo>
                  <a:cubicBezTo>
                    <a:pt x="1" y="28"/>
                    <a:pt x="0" y="27"/>
                    <a:pt x="0" y="24"/>
                  </a:cubicBezTo>
                  <a:cubicBezTo>
                    <a:pt x="0" y="3"/>
                    <a:pt x="0" y="3"/>
                    <a:pt x="0" y="3"/>
                  </a:cubicBezTo>
                  <a:cubicBezTo>
                    <a:pt x="0" y="1"/>
                    <a:pt x="1" y="0"/>
                    <a:pt x="3" y="0"/>
                  </a:cubicBezTo>
                  <a:cubicBezTo>
                    <a:pt x="161" y="0"/>
                    <a:pt x="161" y="0"/>
                    <a:pt x="161" y="0"/>
                  </a:cubicBezTo>
                  <a:cubicBezTo>
                    <a:pt x="164" y="0"/>
                    <a:pt x="165" y="1"/>
                    <a:pt x="165" y="3"/>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9" name="Freeform 35">
              <a:extLst>
                <a:ext uri="{FF2B5EF4-FFF2-40B4-BE49-F238E27FC236}">
                  <a16:creationId xmlns:a16="http://schemas.microsoft.com/office/drawing/2014/main" id="{6E5C81C3-E0C4-36E5-CDA6-B72F49B409BE}"/>
                </a:ext>
              </a:extLst>
            </p:cNvPr>
            <p:cNvSpPr>
              <a:spLocks/>
            </p:cNvSpPr>
            <p:nvPr userDrawn="1"/>
          </p:nvSpPr>
          <p:spPr bwMode="auto">
            <a:xfrm>
              <a:off x="7201" y="2858"/>
              <a:ext cx="47" cy="72"/>
            </a:xfrm>
            <a:custGeom>
              <a:avLst/>
              <a:gdLst>
                <a:gd name="T0" fmla="*/ 150 w 153"/>
                <a:gd name="T1" fmla="*/ 27 h 232"/>
                <a:gd name="T2" fmla="*/ 33 w 153"/>
                <a:gd name="T3" fmla="*/ 27 h 232"/>
                <a:gd name="T4" fmla="*/ 31 w 153"/>
                <a:gd name="T5" fmla="*/ 29 h 232"/>
                <a:gd name="T6" fmla="*/ 31 w 153"/>
                <a:gd name="T7" fmla="*/ 100 h 232"/>
                <a:gd name="T8" fmla="*/ 33 w 153"/>
                <a:gd name="T9" fmla="*/ 101 h 232"/>
                <a:gd name="T10" fmla="*/ 113 w 153"/>
                <a:gd name="T11" fmla="*/ 101 h 232"/>
                <a:gd name="T12" fmla="*/ 117 w 153"/>
                <a:gd name="T13" fmla="*/ 104 h 232"/>
                <a:gd name="T14" fmla="*/ 117 w 153"/>
                <a:gd name="T15" fmla="*/ 125 h 232"/>
                <a:gd name="T16" fmla="*/ 113 w 153"/>
                <a:gd name="T17" fmla="*/ 129 h 232"/>
                <a:gd name="T18" fmla="*/ 33 w 153"/>
                <a:gd name="T19" fmla="*/ 129 h 232"/>
                <a:gd name="T20" fmla="*/ 31 w 153"/>
                <a:gd name="T21" fmla="*/ 130 h 232"/>
                <a:gd name="T22" fmla="*/ 32 w 153"/>
                <a:gd name="T23" fmla="*/ 203 h 232"/>
                <a:gd name="T24" fmla="*/ 33 w 153"/>
                <a:gd name="T25" fmla="*/ 204 h 232"/>
                <a:gd name="T26" fmla="*/ 150 w 153"/>
                <a:gd name="T27" fmla="*/ 204 h 232"/>
                <a:gd name="T28" fmla="*/ 153 w 153"/>
                <a:gd name="T29" fmla="*/ 207 h 232"/>
                <a:gd name="T30" fmla="*/ 153 w 153"/>
                <a:gd name="T31" fmla="*/ 228 h 232"/>
                <a:gd name="T32" fmla="*/ 150 w 153"/>
                <a:gd name="T33" fmla="*/ 232 h 232"/>
                <a:gd name="T34" fmla="*/ 3 w 153"/>
                <a:gd name="T35" fmla="*/ 232 h 232"/>
                <a:gd name="T36" fmla="*/ 0 w 153"/>
                <a:gd name="T37" fmla="*/ 228 h 232"/>
                <a:gd name="T38" fmla="*/ 0 w 153"/>
                <a:gd name="T39" fmla="*/ 3 h 232"/>
                <a:gd name="T40" fmla="*/ 3 w 153"/>
                <a:gd name="T41" fmla="*/ 0 h 232"/>
                <a:gd name="T42" fmla="*/ 150 w 153"/>
                <a:gd name="T43" fmla="*/ 0 h 232"/>
                <a:gd name="T44" fmla="*/ 153 w 153"/>
                <a:gd name="T45" fmla="*/ 3 h 232"/>
                <a:gd name="T46" fmla="*/ 153 w 153"/>
                <a:gd name="T47" fmla="*/ 24 h 232"/>
                <a:gd name="T48" fmla="*/ 150 w 153"/>
                <a:gd name="T49" fmla="*/ 27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3" h="232">
                  <a:moveTo>
                    <a:pt x="150" y="27"/>
                  </a:moveTo>
                  <a:cubicBezTo>
                    <a:pt x="33" y="27"/>
                    <a:pt x="33" y="27"/>
                    <a:pt x="33" y="27"/>
                  </a:cubicBezTo>
                  <a:cubicBezTo>
                    <a:pt x="32" y="27"/>
                    <a:pt x="31" y="28"/>
                    <a:pt x="31" y="29"/>
                  </a:cubicBezTo>
                  <a:cubicBezTo>
                    <a:pt x="31" y="100"/>
                    <a:pt x="31" y="100"/>
                    <a:pt x="31" y="100"/>
                  </a:cubicBezTo>
                  <a:cubicBezTo>
                    <a:pt x="31" y="101"/>
                    <a:pt x="32" y="101"/>
                    <a:pt x="33" y="101"/>
                  </a:cubicBezTo>
                  <a:cubicBezTo>
                    <a:pt x="113" y="101"/>
                    <a:pt x="113" y="101"/>
                    <a:pt x="113" y="101"/>
                  </a:cubicBezTo>
                  <a:cubicBezTo>
                    <a:pt x="115" y="101"/>
                    <a:pt x="117" y="102"/>
                    <a:pt x="117" y="104"/>
                  </a:cubicBezTo>
                  <a:cubicBezTo>
                    <a:pt x="117" y="125"/>
                    <a:pt x="117" y="125"/>
                    <a:pt x="117" y="125"/>
                  </a:cubicBezTo>
                  <a:cubicBezTo>
                    <a:pt x="117" y="127"/>
                    <a:pt x="115" y="129"/>
                    <a:pt x="113" y="129"/>
                  </a:cubicBezTo>
                  <a:cubicBezTo>
                    <a:pt x="33" y="129"/>
                    <a:pt x="33" y="129"/>
                    <a:pt x="33" y="129"/>
                  </a:cubicBezTo>
                  <a:cubicBezTo>
                    <a:pt x="32" y="129"/>
                    <a:pt x="31" y="129"/>
                    <a:pt x="31" y="130"/>
                  </a:cubicBezTo>
                  <a:cubicBezTo>
                    <a:pt x="32" y="203"/>
                    <a:pt x="32" y="203"/>
                    <a:pt x="32" y="203"/>
                  </a:cubicBezTo>
                  <a:cubicBezTo>
                    <a:pt x="32" y="204"/>
                    <a:pt x="32" y="204"/>
                    <a:pt x="33" y="204"/>
                  </a:cubicBezTo>
                  <a:cubicBezTo>
                    <a:pt x="150" y="204"/>
                    <a:pt x="150" y="204"/>
                    <a:pt x="150" y="204"/>
                  </a:cubicBezTo>
                  <a:cubicBezTo>
                    <a:pt x="152" y="204"/>
                    <a:pt x="153" y="205"/>
                    <a:pt x="153" y="207"/>
                  </a:cubicBezTo>
                  <a:cubicBezTo>
                    <a:pt x="153" y="228"/>
                    <a:pt x="153" y="228"/>
                    <a:pt x="153" y="228"/>
                  </a:cubicBezTo>
                  <a:cubicBezTo>
                    <a:pt x="153" y="230"/>
                    <a:pt x="152" y="232"/>
                    <a:pt x="150" y="232"/>
                  </a:cubicBezTo>
                  <a:cubicBezTo>
                    <a:pt x="3" y="232"/>
                    <a:pt x="3" y="232"/>
                    <a:pt x="3" y="232"/>
                  </a:cubicBezTo>
                  <a:cubicBezTo>
                    <a:pt x="1" y="232"/>
                    <a:pt x="0" y="231"/>
                    <a:pt x="0" y="228"/>
                  </a:cubicBezTo>
                  <a:cubicBezTo>
                    <a:pt x="0" y="3"/>
                    <a:pt x="0" y="3"/>
                    <a:pt x="0" y="3"/>
                  </a:cubicBezTo>
                  <a:cubicBezTo>
                    <a:pt x="0" y="1"/>
                    <a:pt x="1" y="0"/>
                    <a:pt x="3" y="0"/>
                  </a:cubicBezTo>
                  <a:cubicBezTo>
                    <a:pt x="150" y="0"/>
                    <a:pt x="150" y="0"/>
                    <a:pt x="150" y="0"/>
                  </a:cubicBezTo>
                  <a:cubicBezTo>
                    <a:pt x="152" y="0"/>
                    <a:pt x="153" y="1"/>
                    <a:pt x="153" y="3"/>
                  </a:cubicBezTo>
                  <a:cubicBezTo>
                    <a:pt x="153" y="24"/>
                    <a:pt x="153" y="24"/>
                    <a:pt x="153" y="24"/>
                  </a:cubicBezTo>
                  <a:cubicBezTo>
                    <a:pt x="153" y="26"/>
                    <a:pt x="152" y="27"/>
                    <a:pt x="150" y="27"/>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0" name="Freeform 36">
              <a:extLst>
                <a:ext uri="{FF2B5EF4-FFF2-40B4-BE49-F238E27FC236}">
                  <a16:creationId xmlns:a16="http://schemas.microsoft.com/office/drawing/2014/main" id="{2A25612F-CFD8-1B3E-4506-ED4CAF3D84DB}"/>
                </a:ext>
              </a:extLst>
            </p:cNvPr>
            <p:cNvSpPr>
              <a:spLocks noEditPoints="1"/>
            </p:cNvSpPr>
            <p:nvPr userDrawn="1"/>
          </p:nvSpPr>
          <p:spPr bwMode="auto">
            <a:xfrm>
              <a:off x="7260" y="2858"/>
              <a:ext cx="50" cy="72"/>
            </a:xfrm>
            <a:custGeom>
              <a:avLst/>
              <a:gdLst>
                <a:gd name="T0" fmla="*/ 4 w 159"/>
                <a:gd name="T1" fmla="*/ 0 h 232"/>
                <a:gd name="T2" fmla="*/ 84 w 159"/>
                <a:gd name="T3" fmla="*/ 0 h 232"/>
                <a:gd name="T4" fmla="*/ 139 w 159"/>
                <a:gd name="T5" fmla="*/ 18 h 232"/>
                <a:gd name="T6" fmla="*/ 159 w 159"/>
                <a:gd name="T7" fmla="*/ 66 h 232"/>
                <a:gd name="T8" fmla="*/ 159 w 159"/>
                <a:gd name="T9" fmla="*/ 165 h 232"/>
                <a:gd name="T10" fmla="*/ 139 w 159"/>
                <a:gd name="T11" fmla="*/ 213 h 232"/>
                <a:gd name="T12" fmla="*/ 84 w 159"/>
                <a:gd name="T13" fmla="*/ 231 h 232"/>
                <a:gd name="T14" fmla="*/ 4 w 159"/>
                <a:gd name="T15" fmla="*/ 232 h 232"/>
                <a:gd name="T16" fmla="*/ 1 w 159"/>
                <a:gd name="T17" fmla="*/ 228 h 232"/>
                <a:gd name="T18" fmla="*/ 0 w 159"/>
                <a:gd name="T19" fmla="*/ 3 h 232"/>
                <a:gd name="T20" fmla="*/ 4 w 159"/>
                <a:gd name="T21" fmla="*/ 0 h 232"/>
                <a:gd name="T22" fmla="*/ 116 w 159"/>
                <a:gd name="T23" fmla="*/ 192 h 232"/>
                <a:gd name="T24" fmla="*/ 128 w 159"/>
                <a:gd name="T25" fmla="*/ 161 h 232"/>
                <a:gd name="T26" fmla="*/ 128 w 159"/>
                <a:gd name="T27" fmla="*/ 70 h 232"/>
                <a:gd name="T28" fmla="*/ 116 w 159"/>
                <a:gd name="T29" fmla="*/ 39 h 232"/>
                <a:gd name="T30" fmla="*/ 85 w 159"/>
                <a:gd name="T31" fmla="*/ 27 h 232"/>
                <a:gd name="T32" fmla="*/ 34 w 159"/>
                <a:gd name="T33" fmla="*/ 27 h 232"/>
                <a:gd name="T34" fmla="*/ 32 w 159"/>
                <a:gd name="T35" fmla="*/ 28 h 232"/>
                <a:gd name="T36" fmla="*/ 32 w 159"/>
                <a:gd name="T37" fmla="*/ 203 h 232"/>
                <a:gd name="T38" fmla="*/ 34 w 159"/>
                <a:gd name="T39" fmla="*/ 204 h 232"/>
                <a:gd name="T40" fmla="*/ 85 w 159"/>
                <a:gd name="T41" fmla="*/ 204 h 232"/>
                <a:gd name="T42" fmla="*/ 116 w 159"/>
                <a:gd name="T43" fmla="*/ 192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59" h="232">
                  <a:moveTo>
                    <a:pt x="4" y="0"/>
                  </a:moveTo>
                  <a:cubicBezTo>
                    <a:pt x="84" y="0"/>
                    <a:pt x="84" y="0"/>
                    <a:pt x="84" y="0"/>
                  </a:cubicBezTo>
                  <a:cubicBezTo>
                    <a:pt x="106" y="0"/>
                    <a:pt x="125" y="6"/>
                    <a:pt x="139" y="18"/>
                  </a:cubicBezTo>
                  <a:cubicBezTo>
                    <a:pt x="152" y="30"/>
                    <a:pt x="159" y="46"/>
                    <a:pt x="159" y="66"/>
                  </a:cubicBezTo>
                  <a:cubicBezTo>
                    <a:pt x="159" y="165"/>
                    <a:pt x="159" y="165"/>
                    <a:pt x="159" y="165"/>
                  </a:cubicBezTo>
                  <a:cubicBezTo>
                    <a:pt x="159" y="185"/>
                    <a:pt x="153" y="201"/>
                    <a:pt x="139" y="213"/>
                  </a:cubicBezTo>
                  <a:cubicBezTo>
                    <a:pt x="125" y="225"/>
                    <a:pt x="107" y="231"/>
                    <a:pt x="84" y="231"/>
                  </a:cubicBezTo>
                  <a:cubicBezTo>
                    <a:pt x="4" y="232"/>
                    <a:pt x="4" y="232"/>
                    <a:pt x="4" y="232"/>
                  </a:cubicBezTo>
                  <a:cubicBezTo>
                    <a:pt x="2" y="232"/>
                    <a:pt x="1" y="230"/>
                    <a:pt x="1" y="228"/>
                  </a:cubicBezTo>
                  <a:cubicBezTo>
                    <a:pt x="0" y="3"/>
                    <a:pt x="0" y="3"/>
                    <a:pt x="0" y="3"/>
                  </a:cubicBezTo>
                  <a:cubicBezTo>
                    <a:pt x="0" y="1"/>
                    <a:pt x="1" y="0"/>
                    <a:pt x="4" y="0"/>
                  </a:cubicBezTo>
                  <a:moveTo>
                    <a:pt x="116" y="192"/>
                  </a:moveTo>
                  <a:cubicBezTo>
                    <a:pt x="123" y="184"/>
                    <a:pt x="127" y="174"/>
                    <a:pt x="128" y="161"/>
                  </a:cubicBezTo>
                  <a:cubicBezTo>
                    <a:pt x="128" y="70"/>
                    <a:pt x="128" y="70"/>
                    <a:pt x="128" y="70"/>
                  </a:cubicBezTo>
                  <a:cubicBezTo>
                    <a:pt x="128" y="57"/>
                    <a:pt x="124" y="47"/>
                    <a:pt x="116" y="39"/>
                  </a:cubicBezTo>
                  <a:cubicBezTo>
                    <a:pt x="108" y="31"/>
                    <a:pt x="98" y="27"/>
                    <a:pt x="85" y="27"/>
                  </a:cubicBezTo>
                  <a:cubicBezTo>
                    <a:pt x="34" y="27"/>
                    <a:pt x="34" y="27"/>
                    <a:pt x="34" y="27"/>
                  </a:cubicBezTo>
                  <a:cubicBezTo>
                    <a:pt x="33" y="27"/>
                    <a:pt x="32" y="28"/>
                    <a:pt x="32" y="28"/>
                  </a:cubicBezTo>
                  <a:cubicBezTo>
                    <a:pt x="32" y="203"/>
                    <a:pt x="32" y="203"/>
                    <a:pt x="32" y="203"/>
                  </a:cubicBezTo>
                  <a:cubicBezTo>
                    <a:pt x="32" y="204"/>
                    <a:pt x="33" y="204"/>
                    <a:pt x="34" y="204"/>
                  </a:cubicBezTo>
                  <a:cubicBezTo>
                    <a:pt x="85" y="204"/>
                    <a:pt x="85" y="204"/>
                    <a:pt x="85" y="204"/>
                  </a:cubicBezTo>
                  <a:cubicBezTo>
                    <a:pt x="98" y="204"/>
                    <a:pt x="108" y="200"/>
                    <a:pt x="116" y="192"/>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1" name="Freeform 37">
              <a:extLst>
                <a:ext uri="{FF2B5EF4-FFF2-40B4-BE49-F238E27FC236}">
                  <a16:creationId xmlns:a16="http://schemas.microsoft.com/office/drawing/2014/main" id="{4E756BFA-DAF0-6975-8769-C2C134A6F687}"/>
                </a:ext>
              </a:extLst>
            </p:cNvPr>
            <p:cNvSpPr>
              <a:spLocks/>
            </p:cNvSpPr>
            <p:nvPr userDrawn="1"/>
          </p:nvSpPr>
          <p:spPr bwMode="auto">
            <a:xfrm>
              <a:off x="6436" y="2961"/>
              <a:ext cx="50" cy="74"/>
            </a:xfrm>
            <a:custGeom>
              <a:avLst/>
              <a:gdLst>
                <a:gd name="T0" fmla="*/ 39 w 161"/>
                <a:gd name="T1" fmla="*/ 228 h 237"/>
                <a:gd name="T2" fmla="*/ 10 w 161"/>
                <a:gd name="T3" fmla="*/ 201 h 237"/>
                <a:gd name="T4" fmla="*/ 0 w 161"/>
                <a:gd name="T5" fmla="*/ 161 h 237"/>
                <a:gd name="T6" fmla="*/ 0 w 161"/>
                <a:gd name="T7" fmla="*/ 75 h 237"/>
                <a:gd name="T8" fmla="*/ 10 w 161"/>
                <a:gd name="T9" fmla="*/ 36 h 237"/>
                <a:gd name="T10" fmla="*/ 38 w 161"/>
                <a:gd name="T11" fmla="*/ 9 h 237"/>
                <a:gd name="T12" fmla="*/ 81 w 161"/>
                <a:gd name="T13" fmla="*/ 0 h 237"/>
                <a:gd name="T14" fmla="*/ 123 w 161"/>
                <a:gd name="T15" fmla="*/ 9 h 237"/>
                <a:gd name="T16" fmla="*/ 151 w 161"/>
                <a:gd name="T17" fmla="*/ 34 h 237"/>
                <a:gd name="T18" fmla="*/ 161 w 161"/>
                <a:gd name="T19" fmla="*/ 73 h 237"/>
                <a:gd name="T20" fmla="*/ 161 w 161"/>
                <a:gd name="T21" fmla="*/ 73 h 237"/>
                <a:gd name="T22" fmla="*/ 160 w 161"/>
                <a:gd name="T23" fmla="*/ 76 h 237"/>
                <a:gd name="T24" fmla="*/ 158 w 161"/>
                <a:gd name="T25" fmla="*/ 77 h 237"/>
                <a:gd name="T26" fmla="*/ 133 w 161"/>
                <a:gd name="T27" fmla="*/ 78 h 237"/>
                <a:gd name="T28" fmla="*/ 129 w 161"/>
                <a:gd name="T29" fmla="*/ 75 h 237"/>
                <a:gd name="T30" fmla="*/ 129 w 161"/>
                <a:gd name="T31" fmla="*/ 74 h 237"/>
                <a:gd name="T32" fmla="*/ 116 w 161"/>
                <a:gd name="T33" fmla="*/ 40 h 237"/>
                <a:gd name="T34" fmla="*/ 81 w 161"/>
                <a:gd name="T35" fmla="*/ 27 h 237"/>
                <a:gd name="T36" fmla="*/ 45 w 161"/>
                <a:gd name="T37" fmla="*/ 40 h 237"/>
                <a:gd name="T38" fmla="*/ 32 w 161"/>
                <a:gd name="T39" fmla="*/ 74 h 237"/>
                <a:gd name="T40" fmla="*/ 32 w 161"/>
                <a:gd name="T41" fmla="*/ 162 h 237"/>
                <a:gd name="T42" fmla="*/ 45 w 161"/>
                <a:gd name="T43" fmla="*/ 196 h 237"/>
                <a:gd name="T44" fmla="*/ 81 w 161"/>
                <a:gd name="T45" fmla="*/ 209 h 237"/>
                <a:gd name="T46" fmla="*/ 116 w 161"/>
                <a:gd name="T47" fmla="*/ 196 h 237"/>
                <a:gd name="T48" fmla="*/ 129 w 161"/>
                <a:gd name="T49" fmla="*/ 162 h 237"/>
                <a:gd name="T50" fmla="*/ 129 w 161"/>
                <a:gd name="T51" fmla="*/ 162 h 237"/>
                <a:gd name="T52" fmla="*/ 133 w 161"/>
                <a:gd name="T53" fmla="*/ 159 h 237"/>
                <a:gd name="T54" fmla="*/ 158 w 161"/>
                <a:gd name="T55" fmla="*/ 160 h 237"/>
                <a:gd name="T56" fmla="*/ 161 w 161"/>
                <a:gd name="T57" fmla="*/ 163 h 237"/>
                <a:gd name="T58" fmla="*/ 151 w 161"/>
                <a:gd name="T59" fmla="*/ 202 h 237"/>
                <a:gd name="T60" fmla="*/ 123 w 161"/>
                <a:gd name="T61" fmla="*/ 228 h 237"/>
                <a:gd name="T62" fmla="*/ 81 w 161"/>
                <a:gd name="T63" fmla="*/ 237 h 237"/>
                <a:gd name="T64" fmla="*/ 39 w 161"/>
                <a:gd name="T65" fmla="*/ 228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61" h="237">
                  <a:moveTo>
                    <a:pt x="39" y="228"/>
                  </a:moveTo>
                  <a:cubicBezTo>
                    <a:pt x="26" y="221"/>
                    <a:pt x="17" y="212"/>
                    <a:pt x="10" y="201"/>
                  </a:cubicBezTo>
                  <a:cubicBezTo>
                    <a:pt x="3" y="189"/>
                    <a:pt x="0" y="176"/>
                    <a:pt x="0" y="161"/>
                  </a:cubicBezTo>
                  <a:cubicBezTo>
                    <a:pt x="0" y="75"/>
                    <a:pt x="0" y="75"/>
                    <a:pt x="0" y="75"/>
                  </a:cubicBezTo>
                  <a:cubicBezTo>
                    <a:pt x="0" y="60"/>
                    <a:pt x="3" y="47"/>
                    <a:pt x="10" y="36"/>
                  </a:cubicBezTo>
                  <a:cubicBezTo>
                    <a:pt x="17" y="24"/>
                    <a:pt x="26" y="15"/>
                    <a:pt x="38" y="9"/>
                  </a:cubicBezTo>
                  <a:cubicBezTo>
                    <a:pt x="51" y="3"/>
                    <a:pt x="65" y="0"/>
                    <a:pt x="81" y="0"/>
                  </a:cubicBezTo>
                  <a:cubicBezTo>
                    <a:pt x="97" y="0"/>
                    <a:pt x="111" y="3"/>
                    <a:pt x="123" y="9"/>
                  </a:cubicBezTo>
                  <a:cubicBezTo>
                    <a:pt x="135" y="15"/>
                    <a:pt x="144" y="23"/>
                    <a:pt x="151" y="34"/>
                  </a:cubicBezTo>
                  <a:cubicBezTo>
                    <a:pt x="158" y="45"/>
                    <a:pt x="161" y="58"/>
                    <a:pt x="161" y="73"/>
                  </a:cubicBezTo>
                  <a:cubicBezTo>
                    <a:pt x="161" y="73"/>
                    <a:pt x="161" y="73"/>
                    <a:pt x="161" y="73"/>
                  </a:cubicBezTo>
                  <a:cubicBezTo>
                    <a:pt x="161" y="74"/>
                    <a:pt x="161" y="75"/>
                    <a:pt x="160" y="76"/>
                  </a:cubicBezTo>
                  <a:cubicBezTo>
                    <a:pt x="160" y="76"/>
                    <a:pt x="159" y="77"/>
                    <a:pt x="158" y="77"/>
                  </a:cubicBezTo>
                  <a:cubicBezTo>
                    <a:pt x="133" y="78"/>
                    <a:pt x="133" y="78"/>
                    <a:pt x="133" y="78"/>
                  </a:cubicBezTo>
                  <a:cubicBezTo>
                    <a:pt x="131" y="78"/>
                    <a:pt x="129" y="77"/>
                    <a:pt x="129" y="75"/>
                  </a:cubicBezTo>
                  <a:cubicBezTo>
                    <a:pt x="129" y="74"/>
                    <a:pt x="129" y="74"/>
                    <a:pt x="129" y="74"/>
                  </a:cubicBezTo>
                  <a:cubicBezTo>
                    <a:pt x="129" y="60"/>
                    <a:pt x="125" y="49"/>
                    <a:pt x="116" y="40"/>
                  </a:cubicBezTo>
                  <a:cubicBezTo>
                    <a:pt x="107" y="31"/>
                    <a:pt x="96" y="27"/>
                    <a:pt x="81" y="27"/>
                  </a:cubicBezTo>
                  <a:cubicBezTo>
                    <a:pt x="66" y="27"/>
                    <a:pt x="54" y="31"/>
                    <a:pt x="45" y="40"/>
                  </a:cubicBezTo>
                  <a:cubicBezTo>
                    <a:pt x="36" y="49"/>
                    <a:pt x="32" y="60"/>
                    <a:pt x="32" y="74"/>
                  </a:cubicBezTo>
                  <a:cubicBezTo>
                    <a:pt x="32" y="162"/>
                    <a:pt x="32" y="162"/>
                    <a:pt x="32" y="162"/>
                  </a:cubicBezTo>
                  <a:cubicBezTo>
                    <a:pt x="32" y="176"/>
                    <a:pt x="36" y="188"/>
                    <a:pt x="45" y="196"/>
                  </a:cubicBezTo>
                  <a:cubicBezTo>
                    <a:pt x="54" y="205"/>
                    <a:pt x="66" y="209"/>
                    <a:pt x="81" y="209"/>
                  </a:cubicBezTo>
                  <a:cubicBezTo>
                    <a:pt x="96" y="209"/>
                    <a:pt x="107" y="205"/>
                    <a:pt x="116" y="196"/>
                  </a:cubicBezTo>
                  <a:cubicBezTo>
                    <a:pt x="125" y="188"/>
                    <a:pt x="129" y="176"/>
                    <a:pt x="129" y="162"/>
                  </a:cubicBezTo>
                  <a:cubicBezTo>
                    <a:pt x="129" y="162"/>
                    <a:pt x="129" y="162"/>
                    <a:pt x="129" y="162"/>
                  </a:cubicBezTo>
                  <a:cubicBezTo>
                    <a:pt x="129" y="160"/>
                    <a:pt x="131" y="159"/>
                    <a:pt x="133" y="159"/>
                  </a:cubicBezTo>
                  <a:cubicBezTo>
                    <a:pt x="158" y="160"/>
                    <a:pt x="158" y="160"/>
                    <a:pt x="158" y="160"/>
                  </a:cubicBezTo>
                  <a:cubicBezTo>
                    <a:pt x="160" y="160"/>
                    <a:pt x="161" y="161"/>
                    <a:pt x="161" y="163"/>
                  </a:cubicBezTo>
                  <a:cubicBezTo>
                    <a:pt x="161" y="178"/>
                    <a:pt x="158" y="191"/>
                    <a:pt x="151" y="202"/>
                  </a:cubicBezTo>
                  <a:cubicBezTo>
                    <a:pt x="144" y="213"/>
                    <a:pt x="135" y="222"/>
                    <a:pt x="123" y="228"/>
                  </a:cubicBezTo>
                  <a:cubicBezTo>
                    <a:pt x="111" y="234"/>
                    <a:pt x="97" y="237"/>
                    <a:pt x="81" y="237"/>
                  </a:cubicBezTo>
                  <a:cubicBezTo>
                    <a:pt x="65" y="237"/>
                    <a:pt x="51" y="234"/>
                    <a:pt x="39" y="228"/>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2" name="Freeform 38">
              <a:extLst>
                <a:ext uri="{FF2B5EF4-FFF2-40B4-BE49-F238E27FC236}">
                  <a16:creationId xmlns:a16="http://schemas.microsoft.com/office/drawing/2014/main" id="{B9FA3B03-E2E8-20D1-7C50-80BFC8188751}"/>
                </a:ext>
              </a:extLst>
            </p:cNvPr>
            <p:cNvSpPr>
              <a:spLocks noEditPoints="1"/>
            </p:cNvSpPr>
            <p:nvPr userDrawn="1"/>
          </p:nvSpPr>
          <p:spPr bwMode="auto">
            <a:xfrm>
              <a:off x="6495" y="2961"/>
              <a:ext cx="51" cy="74"/>
            </a:xfrm>
            <a:custGeom>
              <a:avLst/>
              <a:gdLst>
                <a:gd name="T0" fmla="*/ 39 w 164"/>
                <a:gd name="T1" fmla="*/ 227 h 237"/>
                <a:gd name="T2" fmla="*/ 10 w 164"/>
                <a:gd name="T3" fmla="*/ 199 h 237"/>
                <a:gd name="T4" fmla="*/ 0 w 164"/>
                <a:gd name="T5" fmla="*/ 158 h 237"/>
                <a:gd name="T6" fmla="*/ 0 w 164"/>
                <a:gd name="T7" fmla="*/ 79 h 237"/>
                <a:gd name="T8" fmla="*/ 10 w 164"/>
                <a:gd name="T9" fmla="*/ 37 h 237"/>
                <a:gd name="T10" fmla="*/ 39 w 164"/>
                <a:gd name="T11" fmla="*/ 9 h 237"/>
                <a:gd name="T12" fmla="*/ 81 w 164"/>
                <a:gd name="T13" fmla="*/ 0 h 237"/>
                <a:gd name="T14" fmla="*/ 125 w 164"/>
                <a:gd name="T15" fmla="*/ 9 h 237"/>
                <a:gd name="T16" fmla="*/ 154 w 164"/>
                <a:gd name="T17" fmla="*/ 37 h 237"/>
                <a:gd name="T18" fmla="*/ 164 w 164"/>
                <a:gd name="T19" fmla="*/ 79 h 237"/>
                <a:gd name="T20" fmla="*/ 164 w 164"/>
                <a:gd name="T21" fmla="*/ 157 h 237"/>
                <a:gd name="T22" fmla="*/ 154 w 164"/>
                <a:gd name="T23" fmla="*/ 199 h 237"/>
                <a:gd name="T24" fmla="*/ 125 w 164"/>
                <a:gd name="T25" fmla="*/ 227 h 237"/>
                <a:gd name="T26" fmla="*/ 82 w 164"/>
                <a:gd name="T27" fmla="*/ 237 h 237"/>
                <a:gd name="T28" fmla="*/ 39 w 164"/>
                <a:gd name="T29" fmla="*/ 227 h 237"/>
                <a:gd name="T30" fmla="*/ 118 w 164"/>
                <a:gd name="T31" fmla="*/ 196 h 237"/>
                <a:gd name="T32" fmla="*/ 132 w 164"/>
                <a:gd name="T33" fmla="*/ 159 h 237"/>
                <a:gd name="T34" fmla="*/ 132 w 164"/>
                <a:gd name="T35" fmla="*/ 78 h 237"/>
                <a:gd name="T36" fmla="*/ 118 w 164"/>
                <a:gd name="T37" fmla="*/ 41 h 237"/>
                <a:gd name="T38" fmla="*/ 82 w 164"/>
                <a:gd name="T39" fmla="*/ 27 h 237"/>
                <a:gd name="T40" fmla="*/ 45 w 164"/>
                <a:gd name="T41" fmla="*/ 41 h 237"/>
                <a:gd name="T42" fmla="*/ 32 w 164"/>
                <a:gd name="T43" fmla="*/ 78 h 237"/>
                <a:gd name="T44" fmla="*/ 32 w 164"/>
                <a:gd name="T45" fmla="*/ 159 h 237"/>
                <a:gd name="T46" fmla="*/ 45 w 164"/>
                <a:gd name="T47" fmla="*/ 196 h 237"/>
                <a:gd name="T48" fmla="*/ 82 w 164"/>
                <a:gd name="T49" fmla="*/ 210 h 237"/>
                <a:gd name="T50" fmla="*/ 118 w 164"/>
                <a:gd name="T51" fmla="*/ 196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64" h="237">
                  <a:moveTo>
                    <a:pt x="39" y="227"/>
                  </a:moveTo>
                  <a:cubicBezTo>
                    <a:pt x="27" y="220"/>
                    <a:pt x="17" y="211"/>
                    <a:pt x="10" y="199"/>
                  </a:cubicBezTo>
                  <a:cubicBezTo>
                    <a:pt x="3" y="187"/>
                    <a:pt x="0" y="173"/>
                    <a:pt x="0" y="158"/>
                  </a:cubicBezTo>
                  <a:cubicBezTo>
                    <a:pt x="0" y="79"/>
                    <a:pt x="0" y="79"/>
                    <a:pt x="0" y="79"/>
                  </a:cubicBezTo>
                  <a:cubicBezTo>
                    <a:pt x="0" y="63"/>
                    <a:pt x="3" y="49"/>
                    <a:pt x="10" y="37"/>
                  </a:cubicBezTo>
                  <a:cubicBezTo>
                    <a:pt x="17" y="25"/>
                    <a:pt x="26" y="16"/>
                    <a:pt x="39" y="9"/>
                  </a:cubicBezTo>
                  <a:cubicBezTo>
                    <a:pt x="51" y="3"/>
                    <a:pt x="65" y="0"/>
                    <a:pt x="81" y="0"/>
                  </a:cubicBezTo>
                  <a:cubicBezTo>
                    <a:pt x="98" y="0"/>
                    <a:pt x="112" y="3"/>
                    <a:pt x="125" y="9"/>
                  </a:cubicBezTo>
                  <a:cubicBezTo>
                    <a:pt x="137" y="16"/>
                    <a:pt x="147" y="25"/>
                    <a:pt x="154" y="37"/>
                  </a:cubicBezTo>
                  <a:cubicBezTo>
                    <a:pt x="161" y="49"/>
                    <a:pt x="164" y="63"/>
                    <a:pt x="164" y="79"/>
                  </a:cubicBezTo>
                  <a:cubicBezTo>
                    <a:pt x="164" y="157"/>
                    <a:pt x="164" y="157"/>
                    <a:pt x="164" y="157"/>
                  </a:cubicBezTo>
                  <a:cubicBezTo>
                    <a:pt x="164" y="173"/>
                    <a:pt x="161" y="187"/>
                    <a:pt x="154" y="199"/>
                  </a:cubicBezTo>
                  <a:cubicBezTo>
                    <a:pt x="147" y="211"/>
                    <a:pt x="137" y="220"/>
                    <a:pt x="125" y="227"/>
                  </a:cubicBezTo>
                  <a:cubicBezTo>
                    <a:pt x="112" y="234"/>
                    <a:pt x="98" y="237"/>
                    <a:pt x="82" y="237"/>
                  </a:cubicBezTo>
                  <a:cubicBezTo>
                    <a:pt x="66" y="237"/>
                    <a:pt x="51" y="234"/>
                    <a:pt x="39" y="227"/>
                  </a:cubicBezTo>
                  <a:moveTo>
                    <a:pt x="118" y="196"/>
                  </a:moveTo>
                  <a:cubicBezTo>
                    <a:pt x="128" y="186"/>
                    <a:pt x="132" y="174"/>
                    <a:pt x="132" y="159"/>
                  </a:cubicBezTo>
                  <a:cubicBezTo>
                    <a:pt x="132" y="78"/>
                    <a:pt x="132" y="78"/>
                    <a:pt x="132" y="78"/>
                  </a:cubicBezTo>
                  <a:cubicBezTo>
                    <a:pt x="132" y="63"/>
                    <a:pt x="128" y="50"/>
                    <a:pt x="118" y="41"/>
                  </a:cubicBezTo>
                  <a:cubicBezTo>
                    <a:pt x="109" y="32"/>
                    <a:pt x="97" y="27"/>
                    <a:pt x="82" y="27"/>
                  </a:cubicBezTo>
                  <a:cubicBezTo>
                    <a:pt x="67" y="27"/>
                    <a:pt x="54" y="32"/>
                    <a:pt x="45" y="41"/>
                  </a:cubicBezTo>
                  <a:cubicBezTo>
                    <a:pt x="36" y="51"/>
                    <a:pt x="32" y="63"/>
                    <a:pt x="32" y="78"/>
                  </a:cubicBezTo>
                  <a:cubicBezTo>
                    <a:pt x="32" y="159"/>
                    <a:pt x="32" y="159"/>
                    <a:pt x="32" y="159"/>
                  </a:cubicBezTo>
                  <a:cubicBezTo>
                    <a:pt x="32" y="174"/>
                    <a:pt x="36" y="186"/>
                    <a:pt x="45" y="196"/>
                  </a:cubicBezTo>
                  <a:cubicBezTo>
                    <a:pt x="55" y="205"/>
                    <a:pt x="67" y="210"/>
                    <a:pt x="82" y="210"/>
                  </a:cubicBezTo>
                  <a:cubicBezTo>
                    <a:pt x="97" y="210"/>
                    <a:pt x="109" y="205"/>
                    <a:pt x="118" y="196"/>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3" name="Freeform 39">
              <a:extLst>
                <a:ext uri="{FF2B5EF4-FFF2-40B4-BE49-F238E27FC236}">
                  <a16:creationId xmlns:a16="http://schemas.microsoft.com/office/drawing/2014/main" id="{247F0603-C5DF-D44C-2B2C-6B5826F1C00F}"/>
                </a:ext>
              </a:extLst>
            </p:cNvPr>
            <p:cNvSpPr>
              <a:spLocks/>
            </p:cNvSpPr>
            <p:nvPr userDrawn="1"/>
          </p:nvSpPr>
          <p:spPr bwMode="auto">
            <a:xfrm>
              <a:off x="6559" y="2962"/>
              <a:ext cx="57" cy="72"/>
            </a:xfrm>
            <a:custGeom>
              <a:avLst/>
              <a:gdLst>
                <a:gd name="T0" fmla="*/ 154 w 183"/>
                <a:gd name="T1" fmla="*/ 0 h 232"/>
                <a:gd name="T2" fmla="*/ 180 w 183"/>
                <a:gd name="T3" fmla="*/ 0 h 232"/>
                <a:gd name="T4" fmla="*/ 183 w 183"/>
                <a:gd name="T5" fmla="*/ 3 h 232"/>
                <a:gd name="T6" fmla="*/ 183 w 183"/>
                <a:gd name="T7" fmla="*/ 229 h 232"/>
                <a:gd name="T8" fmla="*/ 180 w 183"/>
                <a:gd name="T9" fmla="*/ 232 h 232"/>
                <a:gd name="T10" fmla="*/ 155 w 183"/>
                <a:gd name="T11" fmla="*/ 232 h 232"/>
                <a:gd name="T12" fmla="*/ 151 w 183"/>
                <a:gd name="T13" fmla="*/ 229 h 232"/>
                <a:gd name="T14" fmla="*/ 151 w 183"/>
                <a:gd name="T15" fmla="*/ 59 h 232"/>
                <a:gd name="T16" fmla="*/ 150 w 183"/>
                <a:gd name="T17" fmla="*/ 58 h 232"/>
                <a:gd name="T18" fmla="*/ 149 w 183"/>
                <a:gd name="T19" fmla="*/ 58 h 232"/>
                <a:gd name="T20" fmla="*/ 102 w 183"/>
                <a:gd name="T21" fmla="*/ 131 h 232"/>
                <a:gd name="T22" fmla="*/ 98 w 183"/>
                <a:gd name="T23" fmla="*/ 133 h 232"/>
                <a:gd name="T24" fmla="*/ 86 w 183"/>
                <a:gd name="T25" fmla="*/ 133 h 232"/>
                <a:gd name="T26" fmla="*/ 82 w 183"/>
                <a:gd name="T27" fmla="*/ 131 h 232"/>
                <a:gd name="T28" fmla="*/ 34 w 183"/>
                <a:gd name="T29" fmla="*/ 59 h 232"/>
                <a:gd name="T30" fmla="*/ 33 w 183"/>
                <a:gd name="T31" fmla="*/ 58 h 232"/>
                <a:gd name="T32" fmla="*/ 32 w 183"/>
                <a:gd name="T33" fmla="*/ 60 h 232"/>
                <a:gd name="T34" fmla="*/ 32 w 183"/>
                <a:gd name="T35" fmla="*/ 229 h 232"/>
                <a:gd name="T36" fmla="*/ 29 w 183"/>
                <a:gd name="T37" fmla="*/ 232 h 232"/>
                <a:gd name="T38" fmla="*/ 4 w 183"/>
                <a:gd name="T39" fmla="*/ 232 h 232"/>
                <a:gd name="T40" fmla="*/ 1 w 183"/>
                <a:gd name="T41" fmla="*/ 229 h 232"/>
                <a:gd name="T42" fmla="*/ 0 w 183"/>
                <a:gd name="T43" fmla="*/ 3 h 232"/>
                <a:gd name="T44" fmla="*/ 4 w 183"/>
                <a:gd name="T45" fmla="*/ 0 h 232"/>
                <a:gd name="T46" fmla="*/ 29 w 183"/>
                <a:gd name="T47" fmla="*/ 0 h 232"/>
                <a:gd name="T48" fmla="*/ 33 w 183"/>
                <a:gd name="T49" fmla="*/ 2 h 232"/>
                <a:gd name="T50" fmla="*/ 91 w 183"/>
                <a:gd name="T51" fmla="*/ 89 h 232"/>
                <a:gd name="T52" fmla="*/ 92 w 183"/>
                <a:gd name="T53" fmla="*/ 89 h 232"/>
                <a:gd name="T54" fmla="*/ 93 w 183"/>
                <a:gd name="T55" fmla="*/ 89 h 232"/>
                <a:gd name="T56" fmla="*/ 150 w 183"/>
                <a:gd name="T57" fmla="*/ 2 h 232"/>
                <a:gd name="T58" fmla="*/ 154 w 183"/>
                <a:gd name="T59" fmla="*/ 0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83" h="232">
                  <a:moveTo>
                    <a:pt x="154" y="0"/>
                  </a:moveTo>
                  <a:cubicBezTo>
                    <a:pt x="180" y="0"/>
                    <a:pt x="180" y="0"/>
                    <a:pt x="180" y="0"/>
                  </a:cubicBezTo>
                  <a:cubicBezTo>
                    <a:pt x="182" y="0"/>
                    <a:pt x="183" y="1"/>
                    <a:pt x="183" y="3"/>
                  </a:cubicBezTo>
                  <a:cubicBezTo>
                    <a:pt x="183" y="229"/>
                    <a:pt x="183" y="229"/>
                    <a:pt x="183" y="229"/>
                  </a:cubicBezTo>
                  <a:cubicBezTo>
                    <a:pt x="183" y="231"/>
                    <a:pt x="182" y="232"/>
                    <a:pt x="180" y="232"/>
                  </a:cubicBezTo>
                  <a:cubicBezTo>
                    <a:pt x="155" y="232"/>
                    <a:pt x="155" y="232"/>
                    <a:pt x="155" y="232"/>
                  </a:cubicBezTo>
                  <a:cubicBezTo>
                    <a:pt x="152" y="232"/>
                    <a:pt x="151" y="231"/>
                    <a:pt x="151" y="229"/>
                  </a:cubicBezTo>
                  <a:cubicBezTo>
                    <a:pt x="151" y="59"/>
                    <a:pt x="151" y="59"/>
                    <a:pt x="151" y="59"/>
                  </a:cubicBezTo>
                  <a:cubicBezTo>
                    <a:pt x="151" y="58"/>
                    <a:pt x="151" y="58"/>
                    <a:pt x="150" y="58"/>
                  </a:cubicBezTo>
                  <a:cubicBezTo>
                    <a:pt x="150" y="57"/>
                    <a:pt x="150" y="58"/>
                    <a:pt x="149" y="58"/>
                  </a:cubicBezTo>
                  <a:cubicBezTo>
                    <a:pt x="102" y="131"/>
                    <a:pt x="102" y="131"/>
                    <a:pt x="102" y="131"/>
                  </a:cubicBezTo>
                  <a:cubicBezTo>
                    <a:pt x="101" y="132"/>
                    <a:pt x="100" y="133"/>
                    <a:pt x="98" y="133"/>
                  </a:cubicBezTo>
                  <a:cubicBezTo>
                    <a:pt x="86" y="133"/>
                    <a:pt x="86" y="133"/>
                    <a:pt x="86" y="133"/>
                  </a:cubicBezTo>
                  <a:cubicBezTo>
                    <a:pt x="84" y="133"/>
                    <a:pt x="83" y="132"/>
                    <a:pt x="82" y="131"/>
                  </a:cubicBezTo>
                  <a:cubicBezTo>
                    <a:pt x="34" y="59"/>
                    <a:pt x="34" y="59"/>
                    <a:pt x="34" y="59"/>
                  </a:cubicBezTo>
                  <a:cubicBezTo>
                    <a:pt x="34" y="58"/>
                    <a:pt x="33" y="58"/>
                    <a:pt x="33" y="58"/>
                  </a:cubicBezTo>
                  <a:cubicBezTo>
                    <a:pt x="32" y="59"/>
                    <a:pt x="32" y="59"/>
                    <a:pt x="32" y="60"/>
                  </a:cubicBezTo>
                  <a:cubicBezTo>
                    <a:pt x="32" y="229"/>
                    <a:pt x="32" y="229"/>
                    <a:pt x="32" y="229"/>
                  </a:cubicBezTo>
                  <a:cubicBezTo>
                    <a:pt x="32" y="231"/>
                    <a:pt x="31" y="232"/>
                    <a:pt x="29" y="232"/>
                  </a:cubicBezTo>
                  <a:cubicBezTo>
                    <a:pt x="4" y="232"/>
                    <a:pt x="4" y="232"/>
                    <a:pt x="4" y="232"/>
                  </a:cubicBezTo>
                  <a:cubicBezTo>
                    <a:pt x="2" y="232"/>
                    <a:pt x="1" y="231"/>
                    <a:pt x="1" y="229"/>
                  </a:cubicBezTo>
                  <a:cubicBezTo>
                    <a:pt x="0" y="3"/>
                    <a:pt x="0" y="3"/>
                    <a:pt x="0" y="3"/>
                  </a:cubicBezTo>
                  <a:cubicBezTo>
                    <a:pt x="0" y="1"/>
                    <a:pt x="1" y="0"/>
                    <a:pt x="4" y="0"/>
                  </a:cubicBezTo>
                  <a:cubicBezTo>
                    <a:pt x="29" y="0"/>
                    <a:pt x="29" y="0"/>
                    <a:pt x="29" y="0"/>
                  </a:cubicBezTo>
                  <a:cubicBezTo>
                    <a:pt x="31" y="0"/>
                    <a:pt x="32" y="1"/>
                    <a:pt x="33" y="2"/>
                  </a:cubicBezTo>
                  <a:cubicBezTo>
                    <a:pt x="91" y="89"/>
                    <a:pt x="91" y="89"/>
                    <a:pt x="91" y="89"/>
                  </a:cubicBezTo>
                  <a:cubicBezTo>
                    <a:pt x="91" y="89"/>
                    <a:pt x="91" y="89"/>
                    <a:pt x="92" y="89"/>
                  </a:cubicBezTo>
                  <a:cubicBezTo>
                    <a:pt x="92" y="89"/>
                    <a:pt x="93" y="89"/>
                    <a:pt x="93" y="89"/>
                  </a:cubicBezTo>
                  <a:cubicBezTo>
                    <a:pt x="150" y="2"/>
                    <a:pt x="150" y="2"/>
                    <a:pt x="150" y="2"/>
                  </a:cubicBezTo>
                  <a:cubicBezTo>
                    <a:pt x="152" y="1"/>
                    <a:pt x="153" y="0"/>
                    <a:pt x="154" y="0"/>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4" name="Freeform 40">
              <a:extLst>
                <a:ext uri="{FF2B5EF4-FFF2-40B4-BE49-F238E27FC236}">
                  <a16:creationId xmlns:a16="http://schemas.microsoft.com/office/drawing/2014/main" id="{4DD54842-B682-5B95-087D-A5877DBBF32A}"/>
                </a:ext>
              </a:extLst>
            </p:cNvPr>
            <p:cNvSpPr>
              <a:spLocks noEditPoints="1"/>
            </p:cNvSpPr>
            <p:nvPr userDrawn="1"/>
          </p:nvSpPr>
          <p:spPr bwMode="auto">
            <a:xfrm>
              <a:off x="6632" y="2962"/>
              <a:ext cx="51" cy="72"/>
            </a:xfrm>
            <a:custGeom>
              <a:avLst/>
              <a:gdLst>
                <a:gd name="T0" fmla="*/ 129 w 161"/>
                <a:gd name="T1" fmla="*/ 8 h 232"/>
                <a:gd name="T2" fmla="*/ 152 w 161"/>
                <a:gd name="T3" fmla="*/ 32 h 232"/>
                <a:gd name="T4" fmla="*/ 161 w 161"/>
                <a:gd name="T5" fmla="*/ 67 h 232"/>
                <a:gd name="T6" fmla="*/ 152 w 161"/>
                <a:gd name="T7" fmla="*/ 102 h 232"/>
                <a:gd name="T8" fmla="*/ 128 w 161"/>
                <a:gd name="T9" fmla="*/ 125 h 232"/>
                <a:gd name="T10" fmla="*/ 92 w 161"/>
                <a:gd name="T11" fmla="*/ 133 h 232"/>
                <a:gd name="T12" fmla="*/ 33 w 161"/>
                <a:gd name="T13" fmla="*/ 133 h 232"/>
                <a:gd name="T14" fmla="*/ 32 w 161"/>
                <a:gd name="T15" fmla="*/ 134 h 232"/>
                <a:gd name="T16" fmla="*/ 32 w 161"/>
                <a:gd name="T17" fmla="*/ 229 h 232"/>
                <a:gd name="T18" fmla="*/ 29 w 161"/>
                <a:gd name="T19" fmla="*/ 232 h 232"/>
                <a:gd name="T20" fmla="*/ 4 w 161"/>
                <a:gd name="T21" fmla="*/ 232 h 232"/>
                <a:gd name="T22" fmla="*/ 0 w 161"/>
                <a:gd name="T23" fmla="*/ 229 h 232"/>
                <a:gd name="T24" fmla="*/ 0 w 161"/>
                <a:gd name="T25" fmla="*/ 3 h 232"/>
                <a:gd name="T26" fmla="*/ 4 w 161"/>
                <a:gd name="T27" fmla="*/ 0 h 232"/>
                <a:gd name="T28" fmla="*/ 93 w 161"/>
                <a:gd name="T29" fmla="*/ 0 h 232"/>
                <a:gd name="T30" fmla="*/ 129 w 161"/>
                <a:gd name="T31" fmla="*/ 8 h 232"/>
                <a:gd name="T32" fmla="*/ 118 w 161"/>
                <a:gd name="T33" fmla="*/ 96 h 232"/>
                <a:gd name="T34" fmla="*/ 129 w 161"/>
                <a:gd name="T35" fmla="*/ 67 h 232"/>
                <a:gd name="T36" fmla="*/ 118 w 161"/>
                <a:gd name="T37" fmla="*/ 38 h 232"/>
                <a:gd name="T38" fmla="*/ 89 w 161"/>
                <a:gd name="T39" fmla="*/ 27 h 232"/>
                <a:gd name="T40" fmla="*/ 33 w 161"/>
                <a:gd name="T41" fmla="*/ 27 h 232"/>
                <a:gd name="T42" fmla="*/ 32 w 161"/>
                <a:gd name="T43" fmla="*/ 28 h 232"/>
                <a:gd name="T44" fmla="*/ 32 w 161"/>
                <a:gd name="T45" fmla="*/ 106 h 232"/>
                <a:gd name="T46" fmla="*/ 33 w 161"/>
                <a:gd name="T47" fmla="*/ 107 h 232"/>
                <a:gd name="T48" fmla="*/ 89 w 161"/>
                <a:gd name="T49" fmla="*/ 107 h 232"/>
                <a:gd name="T50" fmla="*/ 118 w 161"/>
                <a:gd name="T51" fmla="*/ 96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61" h="232">
                  <a:moveTo>
                    <a:pt x="129" y="8"/>
                  </a:moveTo>
                  <a:cubicBezTo>
                    <a:pt x="139" y="14"/>
                    <a:pt x="147" y="22"/>
                    <a:pt x="152" y="32"/>
                  </a:cubicBezTo>
                  <a:cubicBezTo>
                    <a:pt x="158" y="42"/>
                    <a:pt x="161" y="54"/>
                    <a:pt x="161" y="67"/>
                  </a:cubicBezTo>
                  <a:cubicBezTo>
                    <a:pt x="161" y="80"/>
                    <a:pt x="158" y="92"/>
                    <a:pt x="152" y="102"/>
                  </a:cubicBezTo>
                  <a:cubicBezTo>
                    <a:pt x="147" y="112"/>
                    <a:pt x="138" y="119"/>
                    <a:pt x="128" y="125"/>
                  </a:cubicBezTo>
                  <a:cubicBezTo>
                    <a:pt x="118" y="130"/>
                    <a:pt x="105" y="133"/>
                    <a:pt x="92" y="133"/>
                  </a:cubicBezTo>
                  <a:cubicBezTo>
                    <a:pt x="33" y="133"/>
                    <a:pt x="33" y="133"/>
                    <a:pt x="33" y="133"/>
                  </a:cubicBezTo>
                  <a:cubicBezTo>
                    <a:pt x="33" y="133"/>
                    <a:pt x="32" y="134"/>
                    <a:pt x="32" y="134"/>
                  </a:cubicBezTo>
                  <a:cubicBezTo>
                    <a:pt x="32" y="229"/>
                    <a:pt x="32" y="229"/>
                    <a:pt x="32" y="229"/>
                  </a:cubicBezTo>
                  <a:cubicBezTo>
                    <a:pt x="32" y="231"/>
                    <a:pt x="31" y="232"/>
                    <a:pt x="29" y="232"/>
                  </a:cubicBezTo>
                  <a:cubicBezTo>
                    <a:pt x="4" y="232"/>
                    <a:pt x="4" y="232"/>
                    <a:pt x="4" y="232"/>
                  </a:cubicBezTo>
                  <a:cubicBezTo>
                    <a:pt x="1" y="232"/>
                    <a:pt x="0" y="231"/>
                    <a:pt x="0" y="229"/>
                  </a:cubicBezTo>
                  <a:cubicBezTo>
                    <a:pt x="0" y="3"/>
                    <a:pt x="0" y="3"/>
                    <a:pt x="0" y="3"/>
                  </a:cubicBezTo>
                  <a:cubicBezTo>
                    <a:pt x="0" y="1"/>
                    <a:pt x="1" y="0"/>
                    <a:pt x="4" y="0"/>
                  </a:cubicBezTo>
                  <a:cubicBezTo>
                    <a:pt x="93" y="0"/>
                    <a:pt x="93" y="0"/>
                    <a:pt x="93" y="0"/>
                  </a:cubicBezTo>
                  <a:cubicBezTo>
                    <a:pt x="106" y="0"/>
                    <a:pt x="118" y="2"/>
                    <a:pt x="129" y="8"/>
                  </a:cubicBezTo>
                  <a:moveTo>
                    <a:pt x="118" y="96"/>
                  </a:moveTo>
                  <a:cubicBezTo>
                    <a:pt x="125" y="89"/>
                    <a:pt x="129" y="79"/>
                    <a:pt x="129" y="67"/>
                  </a:cubicBezTo>
                  <a:cubicBezTo>
                    <a:pt x="129" y="55"/>
                    <a:pt x="125" y="46"/>
                    <a:pt x="118" y="38"/>
                  </a:cubicBezTo>
                  <a:cubicBezTo>
                    <a:pt x="111" y="31"/>
                    <a:pt x="101" y="27"/>
                    <a:pt x="89" y="27"/>
                  </a:cubicBezTo>
                  <a:cubicBezTo>
                    <a:pt x="33" y="27"/>
                    <a:pt x="33" y="27"/>
                    <a:pt x="33" y="27"/>
                  </a:cubicBezTo>
                  <a:cubicBezTo>
                    <a:pt x="32" y="27"/>
                    <a:pt x="32" y="28"/>
                    <a:pt x="32" y="28"/>
                  </a:cubicBezTo>
                  <a:cubicBezTo>
                    <a:pt x="32" y="106"/>
                    <a:pt x="32" y="106"/>
                    <a:pt x="32" y="106"/>
                  </a:cubicBezTo>
                  <a:cubicBezTo>
                    <a:pt x="32" y="107"/>
                    <a:pt x="33" y="107"/>
                    <a:pt x="33" y="107"/>
                  </a:cubicBezTo>
                  <a:cubicBezTo>
                    <a:pt x="89" y="107"/>
                    <a:pt x="89" y="107"/>
                    <a:pt x="89" y="107"/>
                  </a:cubicBezTo>
                  <a:cubicBezTo>
                    <a:pt x="101" y="107"/>
                    <a:pt x="111" y="104"/>
                    <a:pt x="118" y="96"/>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5" name="Freeform 41">
              <a:extLst>
                <a:ext uri="{FF2B5EF4-FFF2-40B4-BE49-F238E27FC236}">
                  <a16:creationId xmlns:a16="http://schemas.microsoft.com/office/drawing/2014/main" id="{EEE92E12-E08A-6852-F71B-E880A9BED63D}"/>
                </a:ext>
              </a:extLst>
            </p:cNvPr>
            <p:cNvSpPr>
              <a:spLocks noEditPoints="1"/>
            </p:cNvSpPr>
            <p:nvPr userDrawn="1"/>
          </p:nvSpPr>
          <p:spPr bwMode="auto">
            <a:xfrm>
              <a:off x="6681" y="2962"/>
              <a:ext cx="59" cy="72"/>
            </a:xfrm>
            <a:custGeom>
              <a:avLst/>
              <a:gdLst>
                <a:gd name="T0" fmla="*/ 154 w 188"/>
                <a:gd name="T1" fmla="*/ 229 h 232"/>
                <a:gd name="T2" fmla="*/ 142 w 188"/>
                <a:gd name="T3" fmla="*/ 190 h 232"/>
                <a:gd name="T4" fmla="*/ 140 w 188"/>
                <a:gd name="T5" fmla="*/ 189 h 232"/>
                <a:gd name="T6" fmla="*/ 47 w 188"/>
                <a:gd name="T7" fmla="*/ 189 h 232"/>
                <a:gd name="T8" fmla="*/ 46 w 188"/>
                <a:gd name="T9" fmla="*/ 190 h 232"/>
                <a:gd name="T10" fmla="*/ 34 w 188"/>
                <a:gd name="T11" fmla="*/ 229 h 232"/>
                <a:gd name="T12" fmla="*/ 30 w 188"/>
                <a:gd name="T13" fmla="*/ 232 h 232"/>
                <a:gd name="T14" fmla="*/ 3 w 188"/>
                <a:gd name="T15" fmla="*/ 232 h 232"/>
                <a:gd name="T16" fmla="*/ 0 w 188"/>
                <a:gd name="T17" fmla="*/ 228 h 232"/>
                <a:gd name="T18" fmla="*/ 73 w 188"/>
                <a:gd name="T19" fmla="*/ 2 h 232"/>
                <a:gd name="T20" fmla="*/ 77 w 188"/>
                <a:gd name="T21" fmla="*/ 0 h 232"/>
                <a:gd name="T22" fmla="*/ 110 w 188"/>
                <a:gd name="T23" fmla="*/ 0 h 232"/>
                <a:gd name="T24" fmla="*/ 114 w 188"/>
                <a:gd name="T25" fmla="*/ 2 h 232"/>
                <a:gd name="T26" fmla="*/ 187 w 188"/>
                <a:gd name="T27" fmla="*/ 228 h 232"/>
                <a:gd name="T28" fmla="*/ 188 w 188"/>
                <a:gd name="T29" fmla="*/ 229 h 232"/>
                <a:gd name="T30" fmla="*/ 185 w 188"/>
                <a:gd name="T31" fmla="*/ 232 h 232"/>
                <a:gd name="T32" fmla="*/ 158 w 188"/>
                <a:gd name="T33" fmla="*/ 232 h 232"/>
                <a:gd name="T34" fmla="*/ 154 w 188"/>
                <a:gd name="T35" fmla="*/ 229 h 232"/>
                <a:gd name="T36" fmla="*/ 55 w 188"/>
                <a:gd name="T37" fmla="*/ 164 h 232"/>
                <a:gd name="T38" fmla="*/ 56 w 188"/>
                <a:gd name="T39" fmla="*/ 164 h 232"/>
                <a:gd name="T40" fmla="*/ 132 w 188"/>
                <a:gd name="T41" fmla="*/ 164 h 232"/>
                <a:gd name="T42" fmla="*/ 133 w 188"/>
                <a:gd name="T43" fmla="*/ 164 h 232"/>
                <a:gd name="T44" fmla="*/ 133 w 188"/>
                <a:gd name="T45" fmla="*/ 162 h 232"/>
                <a:gd name="T46" fmla="*/ 94 w 188"/>
                <a:gd name="T47" fmla="*/ 40 h 232"/>
                <a:gd name="T48" fmla="*/ 93 w 188"/>
                <a:gd name="T49" fmla="*/ 39 h 232"/>
                <a:gd name="T50" fmla="*/ 92 w 188"/>
                <a:gd name="T51" fmla="*/ 40 h 232"/>
                <a:gd name="T52" fmla="*/ 54 w 188"/>
                <a:gd name="T53" fmla="*/ 163 h 232"/>
                <a:gd name="T54" fmla="*/ 55 w 188"/>
                <a:gd name="T55" fmla="*/ 164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88" h="232">
                  <a:moveTo>
                    <a:pt x="154" y="229"/>
                  </a:moveTo>
                  <a:cubicBezTo>
                    <a:pt x="142" y="190"/>
                    <a:pt x="142" y="190"/>
                    <a:pt x="142" y="190"/>
                  </a:cubicBezTo>
                  <a:cubicBezTo>
                    <a:pt x="142" y="190"/>
                    <a:pt x="141" y="189"/>
                    <a:pt x="140" y="189"/>
                  </a:cubicBezTo>
                  <a:cubicBezTo>
                    <a:pt x="47" y="189"/>
                    <a:pt x="47" y="189"/>
                    <a:pt x="47" y="189"/>
                  </a:cubicBezTo>
                  <a:cubicBezTo>
                    <a:pt x="46" y="189"/>
                    <a:pt x="46" y="190"/>
                    <a:pt x="46" y="190"/>
                  </a:cubicBezTo>
                  <a:cubicBezTo>
                    <a:pt x="34" y="229"/>
                    <a:pt x="34" y="229"/>
                    <a:pt x="34" y="229"/>
                  </a:cubicBezTo>
                  <a:cubicBezTo>
                    <a:pt x="33" y="231"/>
                    <a:pt x="32" y="232"/>
                    <a:pt x="30" y="232"/>
                  </a:cubicBezTo>
                  <a:cubicBezTo>
                    <a:pt x="3" y="232"/>
                    <a:pt x="3" y="232"/>
                    <a:pt x="3" y="232"/>
                  </a:cubicBezTo>
                  <a:cubicBezTo>
                    <a:pt x="1" y="232"/>
                    <a:pt x="0" y="231"/>
                    <a:pt x="0" y="228"/>
                  </a:cubicBezTo>
                  <a:cubicBezTo>
                    <a:pt x="73" y="2"/>
                    <a:pt x="73" y="2"/>
                    <a:pt x="73" y="2"/>
                  </a:cubicBezTo>
                  <a:cubicBezTo>
                    <a:pt x="73" y="1"/>
                    <a:pt x="75" y="0"/>
                    <a:pt x="77" y="0"/>
                  </a:cubicBezTo>
                  <a:cubicBezTo>
                    <a:pt x="110" y="0"/>
                    <a:pt x="110" y="0"/>
                    <a:pt x="110" y="0"/>
                  </a:cubicBezTo>
                  <a:cubicBezTo>
                    <a:pt x="112" y="0"/>
                    <a:pt x="114" y="1"/>
                    <a:pt x="114" y="2"/>
                  </a:cubicBezTo>
                  <a:cubicBezTo>
                    <a:pt x="187" y="228"/>
                    <a:pt x="187" y="228"/>
                    <a:pt x="187" y="228"/>
                  </a:cubicBezTo>
                  <a:cubicBezTo>
                    <a:pt x="188" y="229"/>
                    <a:pt x="188" y="229"/>
                    <a:pt x="188" y="229"/>
                  </a:cubicBezTo>
                  <a:cubicBezTo>
                    <a:pt x="188" y="231"/>
                    <a:pt x="187" y="232"/>
                    <a:pt x="185" y="232"/>
                  </a:cubicBezTo>
                  <a:cubicBezTo>
                    <a:pt x="158" y="232"/>
                    <a:pt x="158" y="232"/>
                    <a:pt x="158" y="232"/>
                  </a:cubicBezTo>
                  <a:cubicBezTo>
                    <a:pt x="156" y="232"/>
                    <a:pt x="154" y="231"/>
                    <a:pt x="154" y="229"/>
                  </a:cubicBezTo>
                  <a:moveTo>
                    <a:pt x="55" y="164"/>
                  </a:moveTo>
                  <a:cubicBezTo>
                    <a:pt x="55" y="164"/>
                    <a:pt x="55" y="164"/>
                    <a:pt x="56" y="164"/>
                  </a:cubicBezTo>
                  <a:cubicBezTo>
                    <a:pt x="132" y="164"/>
                    <a:pt x="132" y="164"/>
                    <a:pt x="132" y="164"/>
                  </a:cubicBezTo>
                  <a:cubicBezTo>
                    <a:pt x="132" y="164"/>
                    <a:pt x="133" y="164"/>
                    <a:pt x="133" y="164"/>
                  </a:cubicBezTo>
                  <a:cubicBezTo>
                    <a:pt x="133" y="163"/>
                    <a:pt x="133" y="163"/>
                    <a:pt x="133" y="162"/>
                  </a:cubicBezTo>
                  <a:cubicBezTo>
                    <a:pt x="94" y="40"/>
                    <a:pt x="94" y="40"/>
                    <a:pt x="94" y="40"/>
                  </a:cubicBezTo>
                  <a:cubicBezTo>
                    <a:pt x="94" y="39"/>
                    <a:pt x="94" y="39"/>
                    <a:pt x="93" y="39"/>
                  </a:cubicBezTo>
                  <a:cubicBezTo>
                    <a:pt x="93" y="39"/>
                    <a:pt x="93" y="39"/>
                    <a:pt x="92" y="40"/>
                  </a:cubicBezTo>
                  <a:cubicBezTo>
                    <a:pt x="54" y="163"/>
                    <a:pt x="54" y="163"/>
                    <a:pt x="54" y="163"/>
                  </a:cubicBezTo>
                  <a:cubicBezTo>
                    <a:pt x="54" y="163"/>
                    <a:pt x="54" y="163"/>
                    <a:pt x="55" y="164"/>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6" name="Freeform 42">
              <a:extLst>
                <a:ext uri="{FF2B5EF4-FFF2-40B4-BE49-F238E27FC236}">
                  <a16:creationId xmlns:a16="http://schemas.microsoft.com/office/drawing/2014/main" id="{BD798BE9-5121-8D36-A814-3298205AA4BE}"/>
                </a:ext>
              </a:extLst>
            </p:cNvPr>
            <p:cNvSpPr>
              <a:spLocks/>
            </p:cNvSpPr>
            <p:nvPr userDrawn="1"/>
          </p:nvSpPr>
          <p:spPr bwMode="auto">
            <a:xfrm>
              <a:off x="6750" y="2962"/>
              <a:ext cx="52" cy="72"/>
            </a:xfrm>
            <a:custGeom>
              <a:avLst/>
              <a:gdLst>
                <a:gd name="T0" fmla="*/ 140 w 168"/>
                <a:gd name="T1" fmla="*/ 0 h 232"/>
                <a:gd name="T2" fmla="*/ 165 w 168"/>
                <a:gd name="T3" fmla="*/ 0 h 232"/>
                <a:gd name="T4" fmla="*/ 168 w 168"/>
                <a:gd name="T5" fmla="*/ 3 h 232"/>
                <a:gd name="T6" fmla="*/ 168 w 168"/>
                <a:gd name="T7" fmla="*/ 228 h 232"/>
                <a:gd name="T8" fmla="*/ 165 w 168"/>
                <a:gd name="T9" fmla="*/ 232 h 232"/>
                <a:gd name="T10" fmla="*/ 141 w 168"/>
                <a:gd name="T11" fmla="*/ 232 h 232"/>
                <a:gd name="T12" fmla="*/ 137 w 168"/>
                <a:gd name="T13" fmla="*/ 229 h 232"/>
                <a:gd name="T14" fmla="*/ 33 w 168"/>
                <a:gd name="T15" fmla="*/ 60 h 232"/>
                <a:gd name="T16" fmla="*/ 32 w 168"/>
                <a:gd name="T17" fmla="*/ 59 h 232"/>
                <a:gd name="T18" fmla="*/ 31 w 168"/>
                <a:gd name="T19" fmla="*/ 60 h 232"/>
                <a:gd name="T20" fmla="*/ 32 w 168"/>
                <a:gd name="T21" fmla="*/ 228 h 232"/>
                <a:gd name="T22" fmla="*/ 28 w 168"/>
                <a:gd name="T23" fmla="*/ 232 h 232"/>
                <a:gd name="T24" fmla="*/ 3 w 168"/>
                <a:gd name="T25" fmla="*/ 232 h 232"/>
                <a:gd name="T26" fmla="*/ 0 w 168"/>
                <a:gd name="T27" fmla="*/ 228 h 232"/>
                <a:gd name="T28" fmla="*/ 0 w 168"/>
                <a:gd name="T29" fmla="*/ 3 h 232"/>
                <a:gd name="T30" fmla="*/ 3 w 168"/>
                <a:gd name="T31" fmla="*/ 0 h 232"/>
                <a:gd name="T32" fmla="*/ 28 w 168"/>
                <a:gd name="T33" fmla="*/ 0 h 232"/>
                <a:gd name="T34" fmla="*/ 32 w 168"/>
                <a:gd name="T35" fmla="*/ 2 h 232"/>
                <a:gd name="T36" fmla="*/ 135 w 168"/>
                <a:gd name="T37" fmla="*/ 171 h 232"/>
                <a:gd name="T38" fmla="*/ 136 w 168"/>
                <a:gd name="T39" fmla="*/ 172 h 232"/>
                <a:gd name="T40" fmla="*/ 137 w 168"/>
                <a:gd name="T41" fmla="*/ 171 h 232"/>
                <a:gd name="T42" fmla="*/ 136 w 168"/>
                <a:gd name="T43" fmla="*/ 3 h 232"/>
                <a:gd name="T44" fmla="*/ 140 w 168"/>
                <a:gd name="T45" fmla="*/ 0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8" h="232">
                  <a:moveTo>
                    <a:pt x="140" y="0"/>
                  </a:moveTo>
                  <a:cubicBezTo>
                    <a:pt x="165" y="0"/>
                    <a:pt x="165" y="0"/>
                    <a:pt x="165" y="0"/>
                  </a:cubicBezTo>
                  <a:cubicBezTo>
                    <a:pt x="167" y="0"/>
                    <a:pt x="168" y="1"/>
                    <a:pt x="168" y="3"/>
                  </a:cubicBezTo>
                  <a:cubicBezTo>
                    <a:pt x="168" y="228"/>
                    <a:pt x="168" y="228"/>
                    <a:pt x="168" y="228"/>
                  </a:cubicBezTo>
                  <a:cubicBezTo>
                    <a:pt x="168" y="230"/>
                    <a:pt x="167" y="232"/>
                    <a:pt x="165" y="232"/>
                  </a:cubicBezTo>
                  <a:cubicBezTo>
                    <a:pt x="141" y="232"/>
                    <a:pt x="141" y="232"/>
                    <a:pt x="141" y="232"/>
                  </a:cubicBezTo>
                  <a:cubicBezTo>
                    <a:pt x="139" y="232"/>
                    <a:pt x="138" y="231"/>
                    <a:pt x="137" y="229"/>
                  </a:cubicBezTo>
                  <a:cubicBezTo>
                    <a:pt x="33" y="60"/>
                    <a:pt x="33" y="60"/>
                    <a:pt x="33" y="60"/>
                  </a:cubicBezTo>
                  <a:cubicBezTo>
                    <a:pt x="33" y="59"/>
                    <a:pt x="32" y="59"/>
                    <a:pt x="32" y="59"/>
                  </a:cubicBezTo>
                  <a:cubicBezTo>
                    <a:pt x="32" y="59"/>
                    <a:pt x="31" y="60"/>
                    <a:pt x="31" y="60"/>
                  </a:cubicBezTo>
                  <a:cubicBezTo>
                    <a:pt x="32" y="228"/>
                    <a:pt x="32" y="228"/>
                    <a:pt x="32" y="228"/>
                  </a:cubicBezTo>
                  <a:cubicBezTo>
                    <a:pt x="32" y="231"/>
                    <a:pt x="31" y="232"/>
                    <a:pt x="28" y="232"/>
                  </a:cubicBezTo>
                  <a:cubicBezTo>
                    <a:pt x="3" y="232"/>
                    <a:pt x="3" y="232"/>
                    <a:pt x="3" y="232"/>
                  </a:cubicBezTo>
                  <a:cubicBezTo>
                    <a:pt x="1" y="232"/>
                    <a:pt x="0" y="231"/>
                    <a:pt x="0" y="228"/>
                  </a:cubicBezTo>
                  <a:cubicBezTo>
                    <a:pt x="0" y="3"/>
                    <a:pt x="0" y="3"/>
                    <a:pt x="0" y="3"/>
                  </a:cubicBezTo>
                  <a:cubicBezTo>
                    <a:pt x="0" y="1"/>
                    <a:pt x="1" y="0"/>
                    <a:pt x="3" y="0"/>
                  </a:cubicBezTo>
                  <a:cubicBezTo>
                    <a:pt x="28" y="0"/>
                    <a:pt x="28" y="0"/>
                    <a:pt x="28" y="0"/>
                  </a:cubicBezTo>
                  <a:cubicBezTo>
                    <a:pt x="29" y="0"/>
                    <a:pt x="31" y="1"/>
                    <a:pt x="32" y="2"/>
                  </a:cubicBezTo>
                  <a:cubicBezTo>
                    <a:pt x="135" y="171"/>
                    <a:pt x="135" y="171"/>
                    <a:pt x="135" y="171"/>
                  </a:cubicBezTo>
                  <a:cubicBezTo>
                    <a:pt x="135" y="172"/>
                    <a:pt x="136" y="172"/>
                    <a:pt x="136" y="172"/>
                  </a:cubicBezTo>
                  <a:cubicBezTo>
                    <a:pt x="137" y="172"/>
                    <a:pt x="137" y="172"/>
                    <a:pt x="137" y="171"/>
                  </a:cubicBezTo>
                  <a:cubicBezTo>
                    <a:pt x="136" y="3"/>
                    <a:pt x="136" y="3"/>
                    <a:pt x="136" y="3"/>
                  </a:cubicBezTo>
                  <a:cubicBezTo>
                    <a:pt x="136" y="1"/>
                    <a:pt x="137" y="0"/>
                    <a:pt x="140" y="0"/>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7" name="Freeform 43">
              <a:extLst>
                <a:ext uri="{FF2B5EF4-FFF2-40B4-BE49-F238E27FC236}">
                  <a16:creationId xmlns:a16="http://schemas.microsoft.com/office/drawing/2014/main" id="{5182F0DE-8402-F2A0-5B2C-301902E03E0C}"/>
                </a:ext>
              </a:extLst>
            </p:cNvPr>
            <p:cNvSpPr>
              <a:spLocks/>
            </p:cNvSpPr>
            <p:nvPr userDrawn="1"/>
          </p:nvSpPr>
          <p:spPr bwMode="auto">
            <a:xfrm>
              <a:off x="6819" y="2962"/>
              <a:ext cx="9" cy="72"/>
            </a:xfrm>
            <a:custGeom>
              <a:avLst/>
              <a:gdLst>
                <a:gd name="T0" fmla="*/ 3 w 32"/>
                <a:gd name="T1" fmla="*/ 0 h 232"/>
                <a:gd name="T2" fmla="*/ 29 w 32"/>
                <a:gd name="T3" fmla="*/ 0 h 232"/>
                <a:gd name="T4" fmla="*/ 32 w 32"/>
                <a:gd name="T5" fmla="*/ 3 h 232"/>
                <a:gd name="T6" fmla="*/ 32 w 32"/>
                <a:gd name="T7" fmla="*/ 228 h 232"/>
                <a:gd name="T8" fmla="*/ 29 w 32"/>
                <a:gd name="T9" fmla="*/ 232 h 232"/>
                <a:gd name="T10" fmla="*/ 4 w 32"/>
                <a:gd name="T11" fmla="*/ 232 h 232"/>
                <a:gd name="T12" fmla="*/ 0 w 32"/>
                <a:gd name="T13" fmla="*/ 228 h 232"/>
                <a:gd name="T14" fmla="*/ 0 w 32"/>
                <a:gd name="T15" fmla="*/ 3 h 232"/>
                <a:gd name="T16" fmla="*/ 3 w 32"/>
                <a:gd name="T17" fmla="*/ 0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232">
                  <a:moveTo>
                    <a:pt x="3" y="0"/>
                  </a:moveTo>
                  <a:cubicBezTo>
                    <a:pt x="29" y="0"/>
                    <a:pt x="29" y="0"/>
                    <a:pt x="29" y="0"/>
                  </a:cubicBezTo>
                  <a:cubicBezTo>
                    <a:pt x="31" y="0"/>
                    <a:pt x="32" y="1"/>
                    <a:pt x="32" y="3"/>
                  </a:cubicBezTo>
                  <a:cubicBezTo>
                    <a:pt x="32" y="228"/>
                    <a:pt x="32" y="228"/>
                    <a:pt x="32" y="228"/>
                  </a:cubicBezTo>
                  <a:cubicBezTo>
                    <a:pt x="32" y="230"/>
                    <a:pt x="31" y="232"/>
                    <a:pt x="29" y="232"/>
                  </a:cubicBezTo>
                  <a:cubicBezTo>
                    <a:pt x="4" y="232"/>
                    <a:pt x="4" y="232"/>
                    <a:pt x="4" y="232"/>
                  </a:cubicBezTo>
                  <a:cubicBezTo>
                    <a:pt x="1" y="232"/>
                    <a:pt x="0" y="230"/>
                    <a:pt x="0" y="228"/>
                  </a:cubicBezTo>
                  <a:cubicBezTo>
                    <a:pt x="0" y="3"/>
                    <a:pt x="0" y="3"/>
                    <a:pt x="0" y="3"/>
                  </a:cubicBezTo>
                  <a:cubicBezTo>
                    <a:pt x="0" y="1"/>
                    <a:pt x="1" y="0"/>
                    <a:pt x="3" y="0"/>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8" name="Freeform 44">
              <a:extLst>
                <a:ext uri="{FF2B5EF4-FFF2-40B4-BE49-F238E27FC236}">
                  <a16:creationId xmlns:a16="http://schemas.microsoft.com/office/drawing/2014/main" id="{BF7D5ECE-7DA4-C460-A8BF-9B538E9A5EFD}"/>
                </a:ext>
              </a:extLst>
            </p:cNvPr>
            <p:cNvSpPr>
              <a:spLocks/>
            </p:cNvSpPr>
            <p:nvPr userDrawn="1"/>
          </p:nvSpPr>
          <p:spPr bwMode="auto">
            <a:xfrm>
              <a:off x="6845" y="2962"/>
              <a:ext cx="48" cy="72"/>
            </a:xfrm>
            <a:custGeom>
              <a:avLst/>
              <a:gdLst>
                <a:gd name="T0" fmla="*/ 150 w 154"/>
                <a:gd name="T1" fmla="*/ 27 h 231"/>
                <a:gd name="T2" fmla="*/ 33 w 154"/>
                <a:gd name="T3" fmla="*/ 27 h 231"/>
                <a:gd name="T4" fmla="*/ 32 w 154"/>
                <a:gd name="T5" fmla="*/ 28 h 231"/>
                <a:gd name="T6" fmla="*/ 32 w 154"/>
                <a:gd name="T7" fmla="*/ 100 h 231"/>
                <a:gd name="T8" fmla="*/ 33 w 154"/>
                <a:gd name="T9" fmla="*/ 101 h 231"/>
                <a:gd name="T10" fmla="*/ 114 w 154"/>
                <a:gd name="T11" fmla="*/ 101 h 231"/>
                <a:gd name="T12" fmla="*/ 117 w 154"/>
                <a:gd name="T13" fmla="*/ 104 h 231"/>
                <a:gd name="T14" fmla="*/ 117 w 154"/>
                <a:gd name="T15" fmla="*/ 125 h 231"/>
                <a:gd name="T16" fmla="*/ 114 w 154"/>
                <a:gd name="T17" fmla="*/ 128 h 231"/>
                <a:gd name="T18" fmla="*/ 33 w 154"/>
                <a:gd name="T19" fmla="*/ 128 h 231"/>
                <a:gd name="T20" fmla="*/ 32 w 154"/>
                <a:gd name="T21" fmla="*/ 130 h 231"/>
                <a:gd name="T22" fmla="*/ 32 w 154"/>
                <a:gd name="T23" fmla="*/ 203 h 231"/>
                <a:gd name="T24" fmla="*/ 33 w 154"/>
                <a:gd name="T25" fmla="*/ 204 h 231"/>
                <a:gd name="T26" fmla="*/ 150 w 154"/>
                <a:gd name="T27" fmla="*/ 204 h 231"/>
                <a:gd name="T28" fmla="*/ 154 w 154"/>
                <a:gd name="T29" fmla="*/ 207 h 231"/>
                <a:gd name="T30" fmla="*/ 154 w 154"/>
                <a:gd name="T31" fmla="*/ 228 h 231"/>
                <a:gd name="T32" fmla="*/ 150 w 154"/>
                <a:gd name="T33" fmla="*/ 231 h 231"/>
                <a:gd name="T34" fmla="*/ 3 w 154"/>
                <a:gd name="T35" fmla="*/ 231 h 231"/>
                <a:gd name="T36" fmla="*/ 0 w 154"/>
                <a:gd name="T37" fmla="*/ 228 h 231"/>
                <a:gd name="T38" fmla="*/ 0 w 154"/>
                <a:gd name="T39" fmla="*/ 3 h 231"/>
                <a:gd name="T40" fmla="*/ 3 w 154"/>
                <a:gd name="T41" fmla="*/ 0 h 231"/>
                <a:gd name="T42" fmla="*/ 150 w 154"/>
                <a:gd name="T43" fmla="*/ 0 h 231"/>
                <a:gd name="T44" fmla="*/ 154 w 154"/>
                <a:gd name="T45" fmla="*/ 3 h 231"/>
                <a:gd name="T46" fmla="*/ 154 w 154"/>
                <a:gd name="T47" fmla="*/ 24 h 231"/>
                <a:gd name="T48" fmla="*/ 150 w 154"/>
                <a:gd name="T49" fmla="*/ 27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231">
                  <a:moveTo>
                    <a:pt x="150" y="27"/>
                  </a:moveTo>
                  <a:cubicBezTo>
                    <a:pt x="33" y="27"/>
                    <a:pt x="33" y="27"/>
                    <a:pt x="33" y="27"/>
                  </a:cubicBezTo>
                  <a:cubicBezTo>
                    <a:pt x="32" y="27"/>
                    <a:pt x="32" y="28"/>
                    <a:pt x="32" y="28"/>
                  </a:cubicBezTo>
                  <a:cubicBezTo>
                    <a:pt x="32" y="100"/>
                    <a:pt x="32" y="100"/>
                    <a:pt x="32" y="100"/>
                  </a:cubicBezTo>
                  <a:cubicBezTo>
                    <a:pt x="32" y="101"/>
                    <a:pt x="32" y="101"/>
                    <a:pt x="33" y="101"/>
                  </a:cubicBezTo>
                  <a:cubicBezTo>
                    <a:pt x="114" y="101"/>
                    <a:pt x="114" y="101"/>
                    <a:pt x="114" y="101"/>
                  </a:cubicBezTo>
                  <a:cubicBezTo>
                    <a:pt x="116" y="101"/>
                    <a:pt x="117" y="102"/>
                    <a:pt x="117" y="104"/>
                  </a:cubicBezTo>
                  <a:cubicBezTo>
                    <a:pt x="117" y="125"/>
                    <a:pt x="117" y="125"/>
                    <a:pt x="117" y="125"/>
                  </a:cubicBezTo>
                  <a:cubicBezTo>
                    <a:pt x="117" y="127"/>
                    <a:pt x="116" y="128"/>
                    <a:pt x="114" y="128"/>
                  </a:cubicBezTo>
                  <a:cubicBezTo>
                    <a:pt x="33" y="128"/>
                    <a:pt x="33" y="128"/>
                    <a:pt x="33" y="128"/>
                  </a:cubicBezTo>
                  <a:cubicBezTo>
                    <a:pt x="32" y="128"/>
                    <a:pt x="32" y="129"/>
                    <a:pt x="32" y="130"/>
                  </a:cubicBezTo>
                  <a:cubicBezTo>
                    <a:pt x="32" y="203"/>
                    <a:pt x="32" y="203"/>
                    <a:pt x="32" y="203"/>
                  </a:cubicBezTo>
                  <a:cubicBezTo>
                    <a:pt x="32" y="204"/>
                    <a:pt x="32" y="204"/>
                    <a:pt x="33" y="204"/>
                  </a:cubicBezTo>
                  <a:cubicBezTo>
                    <a:pt x="150" y="204"/>
                    <a:pt x="150" y="204"/>
                    <a:pt x="150" y="204"/>
                  </a:cubicBezTo>
                  <a:cubicBezTo>
                    <a:pt x="153" y="204"/>
                    <a:pt x="154" y="205"/>
                    <a:pt x="154" y="207"/>
                  </a:cubicBezTo>
                  <a:cubicBezTo>
                    <a:pt x="154" y="228"/>
                    <a:pt x="154" y="228"/>
                    <a:pt x="154" y="228"/>
                  </a:cubicBezTo>
                  <a:cubicBezTo>
                    <a:pt x="154" y="230"/>
                    <a:pt x="153" y="231"/>
                    <a:pt x="150" y="231"/>
                  </a:cubicBezTo>
                  <a:cubicBezTo>
                    <a:pt x="3" y="231"/>
                    <a:pt x="3" y="231"/>
                    <a:pt x="3" y="231"/>
                  </a:cubicBezTo>
                  <a:cubicBezTo>
                    <a:pt x="1" y="231"/>
                    <a:pt x="0" y="230"/>
                    <a:pt x="0" y="228"/>
                  </a:cubicBezTo>
                  <a:cubicBezTo>
                    <a:pt x="0" y="3"/>
                    <a:pt x="0" y="3"/>
                    <a:pt x="0" y="3"/>
                  </a:cubicBezTo>
                  <a:cubicBezTo>
                    <a:pt x="0" y="1"/>
                    <a:pt x="1" y="0"/>
                    <a:pt x="3" y="0"/>
                  </a:cubicBezTo>
                  <a:cubicBezTo>
                    <a:pt x="150" y="0"/>
                    <a:pt x="150" y="0"/>
                    <a:pt x="150" y="0"/>
                  </a:cubicBezTo>
                  <a:cubicBezTo>
                    <a:pt x="153" y="0"/>
                    <a:pt x="154" y="1"/>
                    <a:pt x="154" y="3"/>
                  </a:cubicBezTo>
                  <a:cubicBezTo>
                    <a:pt x="154" y="24"/>
                    <a:pt x="154" y="24"/>
                    <a:pt x="154" y="24"/>
                  </a:cubicBezTo>
                  <a:cubicBezTo>
                    <a:pt x="154" y="26"/>
                    <a:pt x="153" y="27"/>
                    <a:pt x="150" y="27"/>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9" name="Freeform 45">
              <a:extLst>
                <a:ext uri="{FF2B5EF4-FFF2-40B4-BE49-F238E27FC236}">
                  <a16:creationId xmlns:a16="http://schemas.microsoft.com/office/drawing/2014/main" id="{8A539DF3-068B-017C-0957-F2CA4BCD931B}"/>
                </a:ext>
              </a:extLst>
            </p:cNvPr>
            <p:cNvSpPr>
              <a:spLocks/>
            </p:cNvSpPr>
            <p:nvPr userDrawn="1"/>
          </p:nvSpPr>
          <p:spPr bwMode="auto">
            <a:xfrm>
              <a:off x="6900" y="2961"/>
              <a:ext cx="51" cy="74"/>
            </a:xfrm>
            <a:custGeom>
              <a:avLst/>
              <a:gdLst>
                <a:gd name="T0" fmla="*/ 39 w 164"/>
                <a:gd name="T1" fmla="*/ 229 h 237"/>
                <a:gd name="T2" fmla="*/ 10 w 164"/>
                <a:gd name="T3" fmla="*/ 207 h 237"/>
                <a:gd name="T4" fmla="*/ 0 w 164"/>
                <a:gd name="T5" fmla="*/ 172 h 237"/>
                <a:gd name="T6" fmla="*/ 0 w 164"/>
                <a:gd name="T7" fmla="*/ 163 h 237"/>
                <a:gd name="T8" fmla="*/ 4 w 164"/>
                <a:gd name="T9" fmla="*/ 160 h 237"/>
                <a:gd name="T10" fmla="*/ 28 w 164"/>
                <a:gd name="T11" fmla="*/ 160 h 237"/>
                <a:gd name="T12" fmla="*/ 31 w 164"/>
                <a:gd name="T13" fmla="*/ 163 h 237"/>
                <a:gd name="T14" fmla="*/ 31 w 164"/>
                <a:gd name="T15" fmla="*/ 171 h 237"/>
                <a:gd name="T16" fmla="*/ 46 w 164"/>
                <a:gd name="T17" fmla="*/ 199 h 237"/>
                <a:gd name="T18" fmla="*/ 86 w 164"/>
                <a:gd name="T19" fmla="*/ 210 h 237"/>
                <a:gd name="T20" fmla="*/ 120 w 164"/>
                <a:gd name="T21" fmla="*/ 200 h 237"/>
                <a:gd name="T22" fmla="*/ 132 w 164"/>
                <a:gd name="T23" fmla="*/ 175 h 237"/>
                <a:gd name="T24" fmla="*/ 126 w 164"/>
                <a:gd name="T25" fmla="*/ 157 h 237"/>
                <a:gd name="T26" fmla="*/ 108 w 164"/>
                <a:gd name="T27" fmla="*/ 144 h 237"/>
                <a:gd name="T28" fmla="*/ 75 w 164"/>
                <a:gd name="T29" fmla="*/ 129 h 237"/>
                <a:gd name="T30" fmla="*/ 37 w 164"/>
                <a:gd name="T31" fmla="*/ 112 h 237"/>
                <a:gd name="T32" fmla="*/ 13 w 164"/>
                <a:gd name="T33" fmla="*/ 92 h 237"/>
                <a:gd name="T34" fmla="*/ 4 w 164"/>
                <a:gd name="T35" fmla="*/ 61 h 237"/>
                <a:gd name="T36" fmla="*/ 25 w 164"/>
                <a:gd name="T37" fmla="*/ 16 h 237"/>
                <a:gd name="T38" fmla="*/ 80 w 164"/>
                <a:gd name="T39" fmla="*/ 0 h 237"/>
                <a:gd name="T40" fmla="*/ 123 w 164"/>
                <a:gd name="T41" fmla="*/ 8 h 237"/>
                <a:gd name="T42" fmla="*/ 151 w 164"/>
                <a:gd name="T43" fmla="*/ 31 h 237"/>
                <a:gd name="T44" fmla="*/ 162 w 164"/>
                <a:gd name="T45" fmla="*/ 66 h 237"/>
                <a:gd name="T46" fmla="*/ 162 w 164"/>
                <a:gd name="T47" fmla="*/ 72 h 237"/>
                <a:gd name="T48" fmla="*/ 158 w 164"/>
                <a:gd name="T49" fmla="*/ 76 h 237"/>
                <a:gd name="T50" fmla="*/ 133 w 164"/>
                <a:gd name="T51" fmla="*/ 76 h 237"/>
                <a:gd name="T52" fmla="*/ 130 w 164"/>
                <a:gd name="T53" fmla="*/ 72 h 237"/>
                <a:gd name="T54" fmla="*/ 130 w 164"/>
                <a:gd name="T55" fmla="*/ 67 h 237"/>
                <a:gd name="T56" fmla="*/ 116 w 164"/>
                <a:gd name="T57" fmla="*/ 39 h 237"/>
                <a:gd name="T58" fmla="*/ 78 w 164"/>
                <a:gd name="T59" fmla="*/ 27 h 237"/>
                <a:gd name="T60" fmla="*/ 47 w 164"/>
                <a:gd name="T61" fmla="*/ 36 h 237"/>
                <a:gd name="T62" fmla="*/ 35 w 164"/>
                <a:gd name="T63" fmla="*/ 60 h 237"/>
                <a:gd name="T64" fmla="*/ 41 w 164"/>
                <a:gd name="T65" fmla="*/ 78 h 237"/>
                <a:gd name="T66" fmla="*/ 58 w 164"/>
                <a:gd name="T67" fmla="*/ 90 h 237"/>
                <a:gd name="T68" fmla="*/ 92 w 164"/>
                <a:gd name="T69" fmla="*/ 104 h 237"/>
                <a:gd name="T70" fmla="*/ 130 w 164"/>
                <a:gd name="T71" fmla="*/ 122 h 237"/>
                <a:gd name="T72" fmla="*/ 154 w 164"/>
                <a:gd name="T73" fmla="*/ 142 h 237"/>
                <a:gd name="T74" fmla="*/ 164 w 164"/>
                <a:gd name="T75" fmla="*/ 174 h 237"/>
                <a:gd name="T76" fmla="*/ 142 w 164"/>
                <a:gd name="T77" fmla="*/ 220 h 237"/>
                <a:gd name="T78" fmla="*/ 83 w 164"/>
                <a:gd name="T79" fmla="*/ 237 h 237"/>
                <a:gd name="T80" fmla="*/ 39 w 164"/>
                <a:gd name="T81" fmla="*/ 229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64" h="237">
                  <a:moveTo>
                    <a:pt x="39" y="229"/>
                  </a:moveTo>
                  <a:cubicBezTo>
                    <a:pt x="27" y="224"/>
                    <a:pt x="17" y="216"/>
                    <a:pt x="10" y="207"/>
                  </a:cubicBezTo>
                  <a:cubicBezTo>
                    <a:pt x="4" y="197"/>
                    <a:pt x="0" y="185"/>
                    <a:pt x="0" y="172"/>
                  </a:cubicBezTo>
                  <a:cubicBezTo>
                    <a:pt x="0" y="163"/>
                    <a:pt x="0" y="163"/>
                    <a:pt x="0" y="163"/>
                  </a:cubicBezTo>
                  <a:cubicBezTo>
                    <a:pt x="0" y="161"/>
                    <a:pt x="1" y="160"/>
                    <a:pt x="4" y="160"/>
                  </a:cubicBezTo>
                  <a:cubicBezTo>
                    <a:pt x="28" y="160"/>
                    <a:pt x="28" y="160"/>
                    <a:pt x="28" y="160"/>
                  </a:cubicBezTo>
                  <a:cubicBezTo>
                    <a:pt x="30" y="160"/>
                    <a:pt x="31" y="161"/>
                    <a:pt x="31" y="163"/>
                  </a:cubicBezTo>
                  <a:cubicBezTo>
                    <a:pt x="31" y="171"/>
                    <a:pt x="31" y="171"/>
                    <a:pt x="31" y="171"/>
                  </a:cubicBezTo>
                  <a:cubicBezTo>
                    <a:pt x="31" y="182"/>
                    <a:pt x="36" y="191"/>
                    <a:pt x="46" y="199"/>
                  </a:cubicBezTo>
                  <a:cubicBezTo>
                    <a:pt x="55" y="206"/>
                    <a:pt x="69" y="210"/>
                    <a:pt x="86" y="210"/>
                  </a:cubicBezTo>
                  <a:cubicBezTo>
                    <a:pt x="101" y="210"/>
                    <a:pt x="112" y="206"/>
                    <a:pt x="120" y="200"/>
                  </a:cubicBezTo>
                  <a:cubicBezTo>
                    <a:pt x="128" y="193"/>
                    <a:pt x="132" y="185"/>
                    <a:pt x="132" y="175"/>
                  </a:cubicBezTo>
                  <a:cubicBezTo>
                    <a:pt x="132" y="168"/>
                    <a:pt x="130" y="162"/>
                    <a:pt x="126" y="157"/>
                  </a:cubicBezTo>
                  <a:cubicBezTo>
                    <a:pt x="122" y="152"/>
                    <a:pt x="116" y="148"/>
                    <a:pt x="108" y="144"/>
                  </a:cubicBezTo>
                  <a:cubicBezTo>
                    <a:pt x="101" y="140"/>
                    <a:pt x="90" y="135"/>
                    <a:pt x="75" y="129"/>
                  </a:cubicBezTo>
                  <a:cubicBezTo>
                    <a:pt x="59" y="123"/>
                    <a:pt x="46" y="117"/>
                    <a:pt x="37" y="112"/>
                  </a:cubicBezTo>
                  <a:cubicBezTo>
                    <a:pt x="27" y="107"/>
                    <a:pt x="20" y="100"/>
                    <a:pt x="13" y="92"/>
                  </a:cubicBezTo>
                  <a:cubicBezTo>
                    <a:pt x="7" y="84"/>
                    <a:pt x="4" y="73"/>
                    <a:pt x="4" y="61"/>
                  </a:cubicBezTo>
                  <a:cubicBezTo>
                    <a:pt x="4" y="42"/>
                    <a:pt x="11" y="27"/>
                    <a:pt x="25" y="16"/>
                  </a:cubicBezTo>
                  <a:cubicBezTo>
                    <a:pt x="38" y="5"/>
                    <a:pt x="56" y="0"/>
                    <a:pt x="80" y="0"/>
                  </a:cubicBezTo>
                  <a:cubicBezTo>
                    <a:pt x="96" y="0"/>
                    <a:pt x="110" y="3"/>
                    <a:pt x="123" y="8"/>
                  </a:cubicBezTo>
                  <a:cubicBezTo>
                    <a:pt x="135" y="14"/>
                    <a:pt x="145" y="21"/>
                    <a:pt x="151" y="31"/>
                  </a:cubicBezTo>
                  <a:cubicBezTo>
                    <a:pt x="158" y="41"/>
                    <a:pt x="162" y="53"/>
                    <a:pt x="162" y="66"/>
                  </a:cubicBezTo>
                  <a:cubicBezTo>
                    <a:pt x="162" y="72"/>
                    <a:pt x="162" y="72"/>
                    <a:pt x="162" y="72"/>
                  </a:cubicBezTo>
                  <a:cubicBezTo>
                    <a:pt x="162" y="75"/>
                    <a:pt x="160" y="76"/>
                    <a:pt x="158" y="76"/>
                  </a:cubicBezTo>
                  <a:cubicBezTo>
                    <a:pt x="133" y="76"/>
                    <a:pt x="133" y="76"/>
                    <a:pt x="133" y="76"/>
                  </a:cubicBezTo>
                  <a:cubicBezTo>
                    <a:pt x="131" y="76"/>
                    <a:pt x="130" y="75"/>
                    <a:pt x="130" y="72"/>
                  </a:cubicBezTo>
                  <a:cubicBezTo>
                    <a:pt x="130" y="67"/>
                    <a:pt x="130" y="67"/>
                    <a:pt x="130" y="67"/>
                  </a:cubicBezTo>
                  <a:cubicBezTo>
                    <a:pt x="130" y="56"/>
                    <a:pt x="125" y="46"/>
                    <a:pt x="116" y="39"/>
                  </a:cubicBezTo>
                  <a:cubicBezTo>
                    <a:pt x="107" y="31"/>
                    <a:pt x="94" y="27"/>
                    <a:pt x="78" y="27"/>
                  </a:cubicBezTo>
                  <a:cubicBezTo>
                    <a:pt x="65" y="27"/>
                    <a:pt x="54" y="30"/>
                    <a:pt x="47" y="36"/>
                  </a:cubicBezTo>
                  <a:cubicBezTo>
                    <a:pt x="39" y="41"/>
                    <a:pt x="35" y="50"/>
                    <a:pt x="35" y="60"/>
                  </a:cubicBezTo>
                  <a:cubicBezTo>
                    <a:pt x="35" y="67"/>
                    <a:pt x="37" y="73"/>
                    <a:pt x="41" y="78"/>
                  </a:cubicBezTo>
                  <a:cubicBezTo>
                    <a:pt x="45" y="83"/>
                    <a:pt x="50" y="87"/>
                    <a:pt x="58" y="90"/>
                  </a:cubicBezTo>
                  <a:cubicBezTo>
                    <a:pt x="65" y="94"/>
                    <a:pt x="76" y="99"/>
                    <a:pt x="92" y="104"/>
                  </a:cubicBezTo>
                  <a:cubicBezTo>
                    <a:pt x="107" y="111"/>
                    <a:pt x="120" y="116"/>
                    <a:pt x="130" y="122"/>
                  </a:cubicBezTo>
                  <a:cubicBezTo>
                    <a:pt x="139" y="127"/>
                    <a:pt x="148" y="134"/>
                    <a:pt x="154" y="142"/>
                  </a:cubicBezTo>
                  <a:cubicBezTo>
                    <a:pt x="160" y="151"/>
                    <a:pt x="164" y="161"/>
                    <a:pt x="164" y="174"/>
                  </a:cubicBezTo>
                  <a:cubicBezTo>
                    <a:pt x="164" y="193"/>
                    <a:pt x="156" y="209"/>
                    <a:pt x="142" y="220"/>
                  </a:cubicBezTo>
                  <a:cubicBezTo>
                    <a:pt x="128" y="231"/>
                    <a:pt x="108" y="237"/>
                    <a:pt x="83" y="237"/>
                  </a:cubicBezTo>
                  <a:cubicBezTo>
                    <a:pt x="66" y="237"/>
                    <a:pt x="52" y="234"/>
                    <a:pt x="39" y="229"/>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0" name="Freeform 46">
              <a:extLst>
                <a:ext uri="{FF2B5EF4-FFF2-40B4-BE49-F238E27FC236}">
                  <a16:creationId xmlns:a16="http://schemas.microsoft.com/office/drawing/2014/main" id="{E3C5EB05-595E-7700-D711-CBC86B47A046}"/>
                </a:ext>
              </a:extLst>
            </p:cNvPr>
            <p:cNvSpPr>
              <a:spLocks/>
            </p:cNvSpPr>
            <p:nvPr userDrawn="1"/>
          </p:nvSpPr>
          <p:spPr bwMode="auto">
            <a:xfrm>
              <a:off x="6980" y="2962"/>
              <a:ext cx="47" cy="72"/>
            </a:xfrm>
            <a:custGeom>
              <a:avLst/>
              <a:gdLst>
                <a:gd name="T0" fmla="*/ 51 w 150"/>
                <a:gd name="T1" fmla="*/ 113 h 230"/>
                <a:gd name="T2" fmla="*/ 1 w 150"/>
                <a:gd name="T3" fmla="*/ 12 h 230"/>
                <a:gd name="T4" fmla="*/ 0 w 150"/>
                <a:gd name="T5" fmla="*/ 7 h 230"/>
                <a:gd name="T6" fmla="*/ 8 w 150"/>
                <a:gd name="T7" fmla="*/ 0 h 230"/>
                <a:gd name="T8" fmla="*/ 89 w 150"/>
                <a:gd name="T9" fmla="*/ 0 h 230"/>
                <a:gd name="T10" fmla="*/ 100 w 150"/>
                <a:gd name="T11" fmla="*/ 7 h 230"/>
                <a:gd name="T12" fmla="*/ 149 w 150"/>
                <a:gd name="T13" fmla="*/ 108 h 230"/>
                <a:gd name="T14" fmla="*/ 150 w 150"/>
                <a:gd name="T15" fmla="*/ 115 h 230"/>
                <a:gd name="T16" fmla="*/ 149 w 150"/>
                <a:gd name="T17" fmla="*/ 121 h 230"/>
                <a:gd name="T18" fmla="*/ 100 w 150"/>
                <a:gd name="T19" fmla="*/ 222 h 230"/>
                <a:gd name="T20" fmla="*/ 89 w 150"/>
                <a:gd name="T21" fmla="*/ 230 h 230"/>
                <a:gd name="T22" fmla="*/ 8 w 150"/>
                <a:gd name="T23" fmla="*/ 230 h 230"/>
                <a:gd name="T24" fmla="*/ 0 w 150"/>
                <a:gd name="T25" fmla="*/ 223 h 230"/>
                <a:gd name="T26" fmla="*/ 1 w 150"/>
                <a:gd name="T27" fmla="*/ 218 h 230"/>
                <a:gd name="T28" fmla="*/ 51 w 150"/>
                <a:gd name="T29" fmla="*/ 117 h 230"/>
                <a:gd name="T30" fmla="*/ 51 w 150"/>
                <a:gd name="T31" fmla="*/ 113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50" h="230">
                  <a:moveTo>
                    <a:pt x="51" y="113"/>
                  </a:moveTo>
                  <a:cubicBezTo>
                    <a:pt x="1" y="12"/>
                    <a:pt x="1" y="12"/>
                    <a:pt x="1" y="12"/>
                  </a:cubicBezTo>
                  <a:cubicBezTo>
                    <a:pt x="0" y="7"/>
                    <a:pt x="0" y="7"/>
                    <a:pt x="0" y="7"/>
                  </a:cubicBezTo>
                  <a:cubicBezTo>
                    <a:pt x="0" y="2"/>
                    <a:pt x="3" y="0"/>
                    <a:pt x="8" y="0"/>
                  </a:cubicBezTo>
                  <a:cubicBezTo>
                    <a:pt x="89" y="0"/>
                    <a:pt x="89" y="0"/>
                    <a:pt x="89" y="0"/>
                  </a:cubicBezTo>
                  <a:cubicBezTo>
                    <a:pt x="94" y="0"/>
                    <a:pt x="98" y="2"/>
                    <a:pt x="100" y="7"/>
                  </a:cubicBezTo>
                  <a:cubicBezTo>
                    <a:pt x="149" y="108"/>
                    <a:pt x="149" y="108"/>
                    <a:pt x="149" y="108"/>
                  </a:cubicBezTo>
                  <a:cubicBezTo>
                    <a:pt x="150" y="110"/>
                    <a:pt x="150" y="112"/>
                    <a:pt x="150" y="115"/>
                  </a:cubicBezTo>
                  <a:cubicBezTo>
                    <a:pt x="150" y="117"/>
                    <a:pt x="150" y="120"/>
                    <a:pt x="149" y="121"/>
                  </a:cubicBezTo>
                  <a:cubicBezTo>
                    <a:pt x="100" y="222"/>
                    <a:pt x="100" y="222"/>
                    <a:pt x="100" y="222"/>
                  </a:cubicBezTo>
                  <a:cubicBezTo>
                    <a:pt x="98" y="227"/>
                    <a:pt x="94" y="230"/>
                    <a:pt x="89" y="230"/>
                  </a:cubicBezTo>
                  <a:cubicBezTo>
                    <a:pt x="8" y="230"/>
                    <a:pt x="8" y="230"/>
                    <a:pt x="8" y="230"/>
                  </a:cubicBezTo>
                  <a:cubicBezTo>
                    <a:pt x="3" y="230"/>
                    <a:pt x="0" y="227"/>
                    <a:pt x="0" y="223"/>
                  </a:cubicBezTo>
                  <a:cubicBezTo>
                    <a:pt x="1" y="218"/>
                    <a:pt x="1" y="218"/>
                    <a:pt x="1" y="218"/>
                  </a:cubicBezTo>
                  <a:cubicBezTo>
                    <a:pt x="51" y="117"/>
                    <a:pt x="51" y="117"/>
                    <a:pt x="51" y="117"/>
                  </a:cubicBezTo>
                  <a:cubicBezTo>
                    <a:pt x="52" y="116"/>
                    <a:pt x="52" y="114"/>
                    <a:pt x="51" y="113"/>
                  </a:cubicBezTo>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1" name="Freeform 47">
              <a:extLst>
                <a:ext uri="{FF2B5EF4-FFF2-40B4-BE49-F238E27FC236}">
                  <a16:creationId xmlns:a16="http://schemas.microsoft.com/office/drawing/2014/main" id="{8A266FAB-D164-5B45-CF45-56966C432E61}"/>
                </a:ext>
              </a:extLst>
            </p:cNvPr>
            <p:cNvSpPr>
              <a:spLocks/>
            </p:cNvSpPr>
            <p:nvPr userDrawn="1"/>
          </p:nvSpPr>
          <p:spPr bwMode="auto">
            <a:xfrm>
              <a:off x="7027" y="2962"/>
              <a:ext cx="46" cy="72"/>
            </a:xfrm>
            <a:custGeom>
              <a:avLst/>
              <a:gdLst>
                <a:gd name="T0" fmla="*/ 51 w 150"/>
                <a:gd name="T1" fmla="*/ 113 h 230"/>
                <a:gd name="T2" fmla="*/ 1 w 150"/>
                <a:gd name="T3" fmla="*/ 12 h 230"/>
                <a:gd name="T4" fmla="*/ 0 w 150"/>
                <a:gd name="T5" fmla="*/ 7 h 230"/>
                <a:gd name="T6" fmla="*/ 8 w 150"/>
                <a:gd name="T7" fmla="*/ 0 h 230"/>
                <a:gd name="T8" fmla="*/ 89 w 150"/>
                <a:gd name="T9" fmla="*/ 0 h 230"/>
                <a:gd name="T10" fmla="*/ 100 w 150"/>
                <a:gd name="T11" fmla="*/ 7 h 230"/>
                <a:gd name="T12" fmla="*/ 149 w 150"/>
                <a:gd name="T13" fmla="*/ 108 h 230"/>
                <a:gd name="T14" fmla="*/ 150 w 150"/>
                <a:gd name="T15" fmla="*/ 115 h 230"/>
                <a:gd name="T16" fmla="*/ 149 w 150"/>
                <a:gd name="T17" fmla="*/ 121 h 230"/>
                <a:gd name="T18" fmla="*/ 100 w 150"/>
                <a:gd name="T19" fmla="*/ 222 h 230"/>
                <a:gd name="T20" fmla="*/ 89 w 150"/>
                <a:gd name="T21" fmla="*/ 230 h 230"/>
                <a:gd name="T22" fmla="*/ 8 w 150"/>
                <a:gd name="T23" fmla="*/ 230 h 230"/>
                <a:gd name="T24" fmla="*/ 0 w 150"/>
                <a:gd name="T25" fmla="*/ 223 h 230"/>
                <a:gd name="T26" fmla="*/ 1 w 150"/>
                <a:gd name="T27" fmla="*/ 218 h 230"/>
                <a:gd name="T28" fmla="*/ 51 w 150"/>
                <a:gd name="T29" fmla="*/ 117 h 230"/>
                <a:gd name="T30" fmla="*/ 51 w 150"/>
                <a:gd name="T31" fmla="*/ 113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50" h="230">
                  <a:moveTo>
                    <a:pt x="51" y="113"/>
                  </a:moveTo>
                  <a:cubicBezTo>
                    <a:pt x="1" y="12"/>
                    <a:pt x="1" y="12"/>
                    <a:pt x="1" y="12"/>
                  </a:cubicBezTo>
                  <a:cubicBezTo>
                    <a:pt x="0" y="7"/>
                    <a:pt x="0" y="7"/>
                    <a:pt x="0" y="7"/>
                  </a:cubicBezTo>
                  <a:cubicBezTo>
                    <a:pt x="0" y="2"/>
                    <a:pt x="3" y="0"/>
                    <a:pt x="8" y="0"/>
                  </a:cubicBezTo>
                  <a:cubicBezTo>
                    <a:pt x="89" y="0"/>
                    <a:pt x="89" y="0"/>
                    <a:pt x="89" y="0"/>
                  </a:cubicBezTo>
                  <a:cubicBezTo>
                    <a:pt x="94" y="0"/>
                    <a:pt x="98" y="2"/>
                    <a:pt x="100" y="7"/>
                  </a:cubicBezTo>
                  <a:cubicBezTo>
                    <a:pt x="149" y="108"/>
                    <a:pt x="149" y="108"/>
                    <a:pt x="149" y="108"/>
                  </a:cubicBezTo>
                  <a:cubicBezTo>
                    <a:pt x="150" y="110"/>
                    <a:pt x="150" y="112"/>
                    <a:pt x="150" y="115"/>
                  </a:cubicBezTo>
                  <a:cubicBezTo>
                    <a:pt x="150" y="117"/>
                    <a:pt x="150" y="120"/>
                    <a:pt x="149" y="121"/>
                  </a:cubicBezTo>
                  <a:cubicBezTo>
                    <a:pt x="100" y="222"/>
                    <a:pt x="100" y="222"/>
                    <a:pt x="100" y="222"/>
                  </a:cubicBezTo>
                  <a:cubicBezTo>
                    <a:pt x="98" y="227"/>
                    <a:pt x="94" y="230"/>
                    <a:pt x="89" y="230"/>
                  </a:cubicBezTo>
                  <a:cubicBezTo>
                    <a:pt x="8" y="230"/>
                    <a:pt x="8" y="230"/>
                    <a:pt x="8" y="230"/>
                  </a:cubicBezTo>
                  <a:cubicBezTo>
                    <a:pt x="3" y="230"/>
                    <a:pt x="0" y="227"/>
                    <a:pt x="0" y="223"/>
                  </a:cubicBezTo>
                  <a:cubicBezTo>
                    <a:pt x="1" y="218"/>
                    <a:pt x="1" y="218"/>
                    <a:pt x="1" y="218"/>
                  </a:cubicBezTo>
                  <a:cubicBezTo>
                    <a:pt x="51" y="117"/>
                    <a:pt x="51" y="117"/>
                    <a:pt x="51" y="117"/>
                  </a:cubicBezTo>
                  <a:cubicBezTo>
                    <a:pt x="52" y="116"/>
                    <a:pt x="52" y="114"/>
                    <a:pt x="51" y="113"/>
                  </a:cubicBezTo>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2" name="Freeform 48">
              <a:extLst>
                <a:ext uri="{FF2B5EF4-FFF2-40B4-BE49-F238E27FC236}">
                  <a16:creationId xmlns:a16="http://schemas.microsoft.com/office/drawing/2014/main" id="{8A9188CB-C42B-B9CB-8C95-A84BD613C528}"/>
                </a:ext>
              </a:extLst>
            </p:cNvPr>
            <p:cNvSpPr>
              <a:spLocks/>
            </p:cNvSpPr>
            <p:nvPr userDrawn="1"/>
          </p:nvSpPr>
          <p:spPr bwMode="auto">
            <a:xfrm>
              <a:off x="6291" y="2858"/>
              <a:ext cx="111" cy="176"/>
            </a:xfrm>
            <a:custGeom>
              <a:avLst/>
              <a:gdLst>
                <a:gd name="T0" fmla="*/ 174 w 355"/>
                <a:gd name="T1" fmla="*/ 141 h 564"/>
                <a:gd name="T2" fmla="*/ 161 w 355"/>
                <a:gd name="T3" fmla="*/ 179 h 564"/>
                <a:gd name="T4" fmla="*/ 284 w 355"/>
                <a:gd name="T5" fmla="*/ 277 h 564"/>
                <a:gd name="T6" fmla="*/ 355 w 355"/>
                <a:gd name="T7" fmla="*/ 422 h 564"/>
                <a:gd name="T8" fmla="*/ 314 w 355"/>
                <a:gd name="T9" fmla="*/ 522 h 564"/>
                <a:gd name="T10" fmla="*/ 214 w 355"/>
                <a:gd name="T11" fmla="*/ 564 h 564"/>
                <a:gd name="T12" fmla="*/ 7 w 355"/>
                <a:gd name="T13" fmla="*/ 564 h 564"/>
                <a:gd name="T14" fmla="*/ 0 w 355"/>
                <a:gd name="T15" fmla="*/ 557 h 564"/>
                <a:gd name="T16" fmla="*/ 0 w 355"/>
                <a:gd name="T17" fmla="*/ 429 h 564"/>
                <a:gd name="T18" fmla="*/ 7 w 355"/>
                <a:gd name="T19" fmla="*/ 422 h 564"/>
                <a:gd name="T20" fmla="*/ 181 w 355"/>
                <a:gd name="T21" fmla="*/ 422 h 564"/>
                <a:gd name="T22" fmla="*/ 194 w 355"/>
                <a:gd name="T23" fmla="*/ 385 h 564"/>
                <a:gd name="T24" fmla="*/ 70 w 355"/>
                <a:gd name="T25" fmla="*/ 287 h 564"/>
                <a:gd name="T26" fmla="*/ 0 w 355"/>
                <a:gd name="T27" fmla="*/ 141 h 564"/>
                <a:gd name="T28" fmla="*/ 141 w 355"/>
                <a:gd name="T29" fmla="*/ 0 h 564"/>
                <a:gd name="T30" fmla="*/ 320 w 355"/>
                <a:gd name="T31" fmla="*/ 0 h 564"/>
                <a:gd name="T32" fmla="*/ 334 w 355"/>
                <a:gd name="T33" fmla="*/ 14 h 564"/>
                <a:gd name="T34" fmla="*/ 334 w 355"/>
                <a:gd name="T35" fmla="*/ 127 h 564"/>
                <a:gd name="T36" fmla="*/ 320 w 355"/>
                <a:gd name="T37" fmla="*/ 141 h 564"/>
                <a:gd name="T38" fmla="*/ 174 w 355"/>
                <a:gd name="T39" fmla="*/ 141 h 5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55" h="564">
                  <a:moveTo>
                    <a:pt x="174" y="141"/>
                  </a:moveTo>
                  <a:cubicBezTo>
                    <a:pt x="154" y="141"/>
                    <a:pt x="145" y="166"/>
                    <a:pt x="161" y="179"/>
                  </a:cubicBezTo>
                  <a:cubicBezTo>
                    <a:pt x="284" y="277"/>
                    <a:pt x="284" y="277"/>
                    <a:pt x="284" y="277"/>
                  </a:cubicBezTo>
                  <a:cubicBezTo>
                    <a:pt x="329" y="312"/>
                    <a:pt x="355" y="366"/>
                    <a:pt x="355" y="422"/>
                  </a:cubicBezTo>
                  <a:cubicBezTo>
                    <a:pt x="355" y="461"/>
                    <a:pt x="339" y="497"/>
                    <a:pt x="314" y="522"/>
                  </a:cubicBezTo>
                  <a:cubicBezTo>
                    <a:pt x="288" y="548"/>
                    <a:pt x="253" y="564"/>
                    <a:pt x="214" y="564"/>
                  </a:cubicBezTo>
                  <a:cubicBezTo>
                    <a:pt x="7" y="564"/>
                    <a:pt x="7" y="564"/>
                    <a:pt x="7" y="564"/>
                  </a:cubicBezTo>
                  <a:cubicBezTo>
                    <a:pt x="3" y="564"/>
                    <a:pt x="0" y="560"/>
                    <a:pt x="0" y="557"/>
                  </a:cubicBezTo>
                  <a:cubicBezTo>
                    <a:pt x="0" y="429"/>
                    <a:pt x="0" y="429"/>
                    <a:pt x="0" y="429"/>
                  </a:cubicBezTo>
                  <a:cubicBezTo>
                    <a:pt x="0" y="426"/>
                    <a:pt x="3" y="422"/>
                    <a:pt x="7" y="422"/>
                  </a:cubicBezTo>
                  <a:cubicBezTo>
                    <a:pt x="181" y="422"/>
                    <a:pt x="181" y="422"/>
                    <a:pt x="181" y="422"/>
                  </a:cubicBezTo>
                  <a:cubicBezTo>
                    <a:pt x="201" y="422"/>
                    <a:pt x="210" y="397"/>
                    <a:pt x="194" y="385"/>
                  </a:cubicBezTo>
                  <a:cubicBezTo>
                    <a:pt x="70" y="287"/>
                    <a:pt x="70" y="287"/>
                    <a:pt x="70" y="287"/>
                  </a:cubicBezTo>
                  <a:cubicBezTo>
                    <a:pt x="25" y="251"/>
                    <a:pt x="0" y="198"/>
                    <a:pt x="0" y="141"/>
                  </a:cubicBezTo>
                  <a:cubicBezTo>
                    <a:pt x="0" y="63"/>
                    <a:pt x="63" y="0"/>
                    <a:pt x="141" y="0"/>
                  </a:cubicBezTo>
                  <a:cubicBezTo>
                    <a:pt x="320" y="0"/>
                    <a:pt x="320" y="0"/>
                    <a:pt x="320" y="0"/>
                  </a:cubicBezTo>
                  <a:cubicBezTo>
                    <a:pt x="327" y="0"/>
                    <a:pt x="334" y="6"/>
                    <a:pt x="334" y="14"/>
                  </a:cubicBezTo>
                  <a:cubicBezTo>
                    <a:pt x="334" y="127"/>
                    <a:pt x="334" y="127"/>
                    <a:pt x="334" y="127"/>
                  </a:cubicBezTo>
                  <a:cubicBezTo>
                    <a:pt x="334" y="135"/>
                    <a:pt x="327" y="141"/>
                    <a:pt x="320" y="141"/>
                  </a:cubicBezTo>
                  <a:lnTo>
                    <a:pt x="174" y="141"/>
                  </a:lnTo>
                  <a:close/>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3" name="Freeform 49">
              <a:extLst>
                <a:ext uri="{FF2B5EF4-FFF2-40B4-BE49-F238E27FC236}">
                  <a16:creationId xmlns:a16="http://schemas.microsoft.com/office/drawing/2014/main" id="{BCEE978E-C7F8-76FD-D5EE-F3B522ED02B1}"/>
                </a:ext>
              </a:extLst>
            </p:cNvPr>
            <p:cNvSpPr>
              <a:spLocks/>
            </p:cNvSpPr>
            <p:nvPr userDrawn="1"/>
          </p:nvSpPr>
          <p:spPr bwMode="auto">
            <a:xfrm>
              <a:off x="6017" y="2858"/>
              <a:ext cx="263" cy="209"/>
            </a:xfrm>
            <a:custGeom>
              <a:avLst/>
              <a:gdLst>
                <a:gd name="T0" fmla="*/ 704 w 845"/>
                <a:gd name="T1" fmla="*/ 0 h 669"/>
                <a:gd name="T2" fmla="*/ 528 w 845"/>
                <a:gd name="T3" fmla="*/ 0 h 669"/>
                <a:gd name="T4" fmla="*/ 387 w 845"/>
                <a:gd name="T5" fmla="*/ 141 h 669"/>
                <a:gd name="T6" fmla="*/ 387 w 845"/>
                <a:gd name="T7" fmla="*/ 422 h 669"/>
                <a:gd name="T8" fmla="*/ 387 w 845"/>
                <a:gd name="T9" fmla="*/ 423 h 669"/>
                <a:gd name="T10" fmla="*/ 197 w 845"/>
                <a:gd name="T11" fmla="*/ 423 h 669"/>
                <a:gd name="T12" fmla="*/ 140 w 845"/>
                <a:gd name="T13" fmla="*/ 366 h 669"/>
                <a:gd name="T14" fmla="*/ 140 w 845"/>
                <a:gd name="T15" fmla="*/ 344 h 669"/>
                <a:gd name="T16" fmla="*/ 147 w 845"/>
                <a:gd name="T17" fmla="*/ 337 h 669"/>
                <a:gd name="T18" fmla="*/ 239 w 845"/>
                <a:gd name="T19" fmla="*/ 337 h 669"/>
                <a:gd name="T20" fmla="*/ 253 w 845"/>
                <a:gd name="T21" fmla="*/ 323 h 669"/>
                <a:gd name="T22" fmla="*/ 253 w 845"/>
                <a:gd name="T23" fmla="*/ 238 h 669"/>
                <a:gd name="T24" fmla="*/ 239 w 845"/>
                <a:gd name="T25" fmla="*/ 224 h 669"/>
                <a:gd name="T26" fmla="*/ 147 w 845"/>
                <a:gd name="T27" fmla="*/ 224 h 669"/>
                <a:gd name="T28" fmla="*/ 140 w 845"/>
                <a:gd name="T29" fmla="*/ 217 h 669"/>
                <a:gd name="T30" fmla="*/ 140 w 845"/>
                <a:gd name="T31" fmla="*/ 197 h 669"/>
                <a:gd name="T32" fmla="*/ 197 w 845"/>
                <a:gd name="T33" fmla="*/ 141 h 669"/>
                <a:gd name="T34" fmla="*/ 338 w 845"/>
                <a:gd name="T35" fmla="*/ 141 h 669"/>
                <a:gd name="T36" fmla="*/ 352 w 845"/>
                <a:gd name="T37" fmla="*/ 127 h 669"/>
                <a:gd name="T38" fmla="*/ 352 w 845"/>
                <a:gd name="T39" fmla="*/ 14 h 669"/>
                <a:gd name="T40" fmla="*/ 338 w 845"/>
                <a:gd name="T41" fmla="*/ 0 h 669"/>
                <a:gd name="T42" fmla="*/ 141 w 845"/>
                <a:gd name="T43" fmla="*/ 0 h 669"/>
                <a:gd name="T44" fmla="*/ 0 w 845"/>
                <a:gd name="T45" fmla="*/ 141 h 669"/>
                <a:gd name="T46" fmla="*/ 0 w 845"/>
                <a:gd name="T47" fmla="*/ 423 h 669"/>
                <a:gd name="T48" fmla="*/ 141 w 845"/>
                <a:gd name="T49" fmla="*/ 564 h 669"/>
                <a:gd name="T50" fmla="*/ 662 w 845"/>
                <a:gd name="T51" fmla="*/ 564 h 669"/>
                <a:gd name="T52" fmla="*/ 670 w 845"/>
                <a:gd name="T53" fmla="*/ 557 h 669"/>
                <a:gd name="T54" fmla="*/ 670 w 845"/>
                <a:gd name="T55" fmla="*/ 430 h 669"/>
                <a:gd name="T56" fmla="*/ 662 w 845"/>
                <a:gd name="T57" fmla="*/ 423 h 669"/>
                <a:gd name="T58" fmla="*/ 584 w 845"/>
                <a:gd name="T59" fmla="*/ 423 h 669"/>
                <a:gd name="T60" fmla="*/ 528 w 845"/>
                <a:gd name="T61" fmla="*/ 366 h 669"/>
                <a:gd name="T62" fmla="*/ 528 w 845"/>
                <a:gd name="T63" fmla="*/ 197 h 669"/>
                <a:gd name="T64" fmla="*/ 584 w 845"/>
                <a:gd name="T65" fmla="*/ 141 h 669"/>
                <a:gd name="T66" fmla="*/ 648 w 845"/>
                <a:gd name="T67" fmla="*/ 141 h 669"/>
                <a:gd name="T68" fmla="*/ 705 w 845"/>
                <a:gd name="T69" fmla="*/ 197 h 669"/>
                <a:gd name="T70" fmla="*/ 705 w 845"/>
                <a:gd name="T71" fmla="*/ 562 h 669"/>
                <a:gd name="T72" fmla="*/ 705 w 845"/>
                <a:gd name="T73" fmla="*/ 655 h 669"/>
                <a:gd name="T74" fmla="*/ 719 w 845"/>
                <a:gd name="T75" fmla="*/ 669 h 669"/>
                <a:gd name="T76" fmla="*/ 831 w 845"/>
                <a:gd name="T77" fmla="*/ 669 h 669"/>
                <a:gd name="T78" fmla="*/ 845 w 845"/>
                <a:gd name="T79" fmla="*/ 655 h 669"/>
                <a:gd name="T80" fmla="*/ 845 w 845"/>
                <a:gd name="T81" fmla="*/ 422 h 669"/>
                <a:gd name="T82" fmla="*/ 845 w 845"/>
                <a:gd name="T83" fmla="*/ 141 h 669"/>
                <a:gd name="T84" fmla="*/ 704 w 845"/>
                <a:gd name="T85" fmla="*/ 0 h 6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45" h="669">
                  <a:moveTo>
                    <a:pt x="704" y="0"/>
                  </a:moveTo>
                  <a:cubicBezTo>
                    <a:pt x="528" y="0"/>
                    <a:pt x="528" y="0"/>
                    <a:pt x="528" y="0"/>
                  </a:cubicBezTo>
                  <a:cubicBezTo>
                    <a:pt x="450" y="0"/>
                    <a:pt x="387" y="63"/>
                    <a:pt x="387" y="141"/>
                  </a:cubicBezTo>
                  <a:cubicBezTo>
                    <a:pt x="387" y="422"/>
                    <a:pt x="387" y="422"/>
                    <a:pt x="387" y="422"/>
                  </a:cubicBezTo>
                  <a:cubicBezTo>
                    <a:pt x="387" y="422"/>
                    <a:pt x="387" y="422"/>
                    <a:pt x="387" y="423"/>
                  </a:cubicBezTo>
                  <a:cubicBezTo>
                    <a:pt x="197" y="423"/>
                    <a:pt x="197" y="423"/>
                    <a:pt x="197" y="423"/>
                  </a:cubicBezTo>
                  <a:cubicBezTo>
                    <a:pt x="166" y="423"/>
                    <a:pt x="140" y="397"/>
                    <a:pt x="140" y="366"/>
                  </a:cubicBezTo>
                  <a:cubicBezTo>
                    <a:pt x="140" y="344"/>
                    <a:pt x="140" y="344"/>
                    <a:pt x="140" y="344"/>
                  </a:cubicBezTo>
                  <a:cubicBezTo>
                    <a:pt x="140" y="340"/>
                    <a:pt x="144" y="337"/>
                    <a:pt x="147" y="337"/>
                  </a:cubicBezTo>
                  <a:cubicBezTo>
                    <a:pt x="239" y="337"/>
                    <a:pt x="239" y="337"/>
                    <a:pt x="239" y="337"/>
                  </a:cubicBezTo>
                  <a:cubicBezTo>
                    <a:pt x="247" y="337"/>
                    <a:pt x="253" y="330"/>
                    <a:pt x="253" y="323"/>
                  </a:cubicBezTo>
                  <a:cubicBezTo>
                    <a:pt x="253" y="238"/>
                    <a:pt x="253" y="238"/>
                    <a:pt x="253" y="238"/>
                  </a:cubicBezTo>
                  <a:cubicBezTo>
                    <a:pt x="253" y="231"/>
                    <a:pt x="247" y="224"/>
                    <a:pt x="239" y="224"/>
                  </a:cubicBezTo>
                  <a:cubicBezTo>
                    <a:pt x="147" y="224"/>
                    <a:pt x="147" y="224"/>
                    <a:pt x="147" y="224"/>
                  </a:cubicBezTo>
                  <a:cubicBezTo>
                    <a:pt x="144" y="224"/>
                    <a:pt x="140" y="221"/>
                    <a:pt x="140" y="217"/>
                  </a:cubicBezTo>
                  <a:cubicBezTo>
                    <a:pt x="140" y="197"/>
                    <a:pt x="140" y="197"/>
                    <a:pt x="140" y="197"/>
                  </a:cubicBezTo>
                  <a:cubicBezTo>
                    <a:pt x="140" y="166"/>
                    <a:pt x="166" y="141"/>
                    <a:pt x="197" y="141"/>
                  </a:cubicBezTo>
                  <a:cubicBezTo>
                    <a:pt x="338" y="141"/>
                    <a:pt x="338" y="141"/>
                    <a:pt x="338" y="141"/>
                  </a:cubicBezTo>
                  <a:cubicBezTo>
                    <a:pt x="346" y="141"/>
                    <a:pt x="352" y="135"/>
                    <a:pt x="352" y="127"/>
                  </a:cubicBezTo>
                  <a:cubicBezTo>
                    <a:pt x="352" y="14"/>
                    <a:pt x="352" y="14"/>
                    <a:pt x="352" y="14"/>
                  </a:cubicBezTo>
                  <a:cubicBezTo>
                    <a:pt x="352" y="6"/>
                    <a:pt x="346" y="0"/>
                    <a:pt x="338" y="0"/>
                  </a:cubicBezTo>
                  <a:cubicBezTo>
                    <a:pt x="141" y="0"/>
                    <a:pt x="141" y="0"/>
                    <a:pt x="141" y="0"/>
                  </a:cubicBezTo>
                  <a:cubicBezTo>
                    <a:pt x="63" y="0"/>
                    <a:pt x="0" y="63"/>
                    <a:pt x="0" y="141"/>
                  </a:cubicBezTo>
                  <a:cubicBezTo>
                    <a:pt x="0" y="423"/>
                    <a:pt x="0" y="423"/>
                    <a:pt x="0" y="423"/>
                  </a:cubicBezTo>
                  <a:cubicBezTo>
                    <a:pt x="0" y="501"/>
                    <a:pt x="63" y="564"/>
                    <a:pt x="141" y="564"/>
                  </a:cubicBezTo>
                  <a:cubicBezTo>
                    <a:pt x="662" y="564"/>
                    <a:pt x="662" y="564"/>
                    <a:pt x="662" y="564"/>
                  </a:cubicBezTo>
                  <a:cubicBezTo>
                    <a:pt x="666" y="564"/>
                    <a:pt x="670" y="560"/>
                    <a:pt x="670" y="557"/>
                  </a:cubicBezTo>
                  <a:cubicBezTo>
                    <a:pt x="670" y="430"/>
                    <a:pt x="670" y="430"/>
                    <a:pt x="670" y="430"/>
                  </a:cubicBezTo>
                  <a:cubicBezTo>
                    <a:pt x="670" y="426"/>
                    <a:pt x="666" y="423"/>
                    <a:pt x="662" y="423"/>
                  </a:cubicBezTo>
                  <a:cubicBezTo>
                    <a:pt x="584" y="423"/>
                    <a:pt x="584" y="423"/>
                    <a:pt x="584" y="423"/>
                  </a:cubicBezTo>
                  <a:cubicBezTo>
                    <a:pt x="553" y="423"/>
                    <a:pt x="528" y="397"/>
                    <a:pt x="528" y="366"/>
                  </a:cubicBezTo>
                  <a:cubicBezTo>
                    <a:pt x="528" y="197"/>
                    <a:pt x="528" y="197"/>
                    <a:pt x="528" y="197"/>
                  </a:cubicBezTo>
                  <a:cubicBezTo>
                    <a:pt x="528" y="166"/>
                    <a:pt x="553" y="141"/>
                    <a:pt x="584" y="141"/>
                  </a:cubicBezTo>
                  <a:cubicBezTo>
                    <a:pt x="648" y="141"/>
                    <a:pt x="648" y="141"/>
                    <a:pt x="648" y="141"/>
                  </a:cubicBezTo>
                  <a:cubicBezTo>
                    <a:pt x="679" y="141"/>
                    <a:pt x="705" y="166"/>
                    <a:pt x="705" y="197"/>
                  </a:cubicBezTo>
                  <a:cubicBezTo>
                    <a:pt x="705" y="562"/>
                    <a:pt x="705" y="562"/>
                    <a:pt x="705" y="562"/>
                  </a:cubicBezTo>
                  <a:cubicBezTo>
                    <a:pt x="705" y="655"/>
                    <a:pt x="705" y="655"/>
                    <a:pt x="705" y="655"/>
                  </a:cubicBezTo>
                  <a:cubicBezTo>
                    <a:pt x="705" y="663"/>
                    <a:pt x="711" y="669"/>
                    <a:pt x="719" y="669"/>
                  </a:cubicBezTo>
                  <a:cubicBezTo>
                    <a:pt x="831" y="669"/>
                    <a:pt x="831" y="669"/>
                    <a:pt x="831" y="669"/>
                  </a:cubicBezTo>
                  <a:cubicBezTo>
                    <a:pt x="839" y="669"/>
                    <a:pt x="845" y="663"/>
                    <a:pt x="845" y="655"/>
                  </a:cubicBezTo>
                  <a:cubicBezTo>
                    <a:pt x="845" y="422"/>
                    <a:pt x="845" y="422"/>
                    <a:pt x="845" y="422"/>
                  </a:cubicBezTo>
                  <a:cubicBezTo>
                    <a:pt x="845" y="141"/>
                    <a:pt x="845" y="141"/>
                    <a:pt x="845" y="141"/>
                  </a:cubicBezTo>
                  <a:cubicBezTo>
                    <a:pt x="845" y="63"/>
                    <a:pt x="782" y="0"/>
                    <a:pt x="704" y="0"/>
                  </a:cubicBezTo>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grpSp>
    </p:spTree>
    <p:extLst>
      <p:ext uri="{BB962C8B-B14F-4D97-AF65-F5344CB8AC3E}">
        <p14:creationId xmlns:p14="http://schemas.microsoft.com/office/powerpoint/2010/main" val="380903417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able of content | Two columns">
    <p:spTree>
      <p:nvGrpSpPr>
        <p:cNvPr id="1" name=""/>
        <p:cNvGrpSpPr/>
        <p:nvPr/>
      </p:nvGrpSpPr>
      <p:grpSpPr>
        <a:xfrm>
          <a:off x="0" y="0"/>
          <a:ext cx="0" cy="0"/>
          <a:chOff x="0" y="0"/>
          <a:chExt cx="0" cy="0"/>
        </a:xfrm>
      </p:grpSpPr>
      <p:sp>
        <p:nvSpPr>
          <p:cNvPr id="5" name="Textplatzhalter 4"/>
          <p:cNvSpPr>
            <a:spLocks noGrp="1"/>
          </p:cNvSpPr>
          <p:nvPr>
            <p:ph type="body" sz="quarter" idx="12" hasCustomPrompt="1"/>
          </p:nvPr>
        </p:nvSpPr>
        <p:spPr bwMode="gray">
          <a:xfrm>
            <a:off x="1092200" y="2312988"/>
            <a:ext cx="10007600" cy="3312256"/>
          </a:xfrm>
          <a:prstGeom prst="rect">
            <a:avLst/>
          </a:prstGeom>
        </p:spPr>
        <p:txBody>
          <a:bodyPr wrap="square" numCol="2" spcCol="216000"/>
          <a:lstStyle>
            <a:lvl1pPr marL="457200" indent="-457200">
              <a:lnSpc>
                <a:spcPct val="110000"/>
              </a:lnSpc>
              <a:spcBef>
                <a:spcPts val="1200"/>
              </a:spcBef>
              <a:spcAft>
                <a:spcPts val="0"/>
              </a:spcAft>
              <a:buFont typeface="+mj-lt"/>
              <a:buAutoNum type="arabicPeriod"/>
              <a:tabLst>
                <a:tab pos="449263" algn="l"/>
              </a:tabLst>
              <a:defRPr sz="2000" b="0">
                <a:solidFill>
                  <a:schemeClr val="tx1"/>
                </a:solidFill>
                <a:latin typeface="+mj-lt"/>
              </a:defRPr>
            </a:lvl1pPr>
            <a:lvl2pPr marL="457200" indent="-12700">
              <a:lnSpc>
                <a:spcPct val="110000"/>
              </a:lnSpc>
              <a:spcBef>
                <a:spcPts val="600"/>
              </a:spcBef>
              <a:spcAft>
                <a:spcPts val="0"/>
              </a:spcAft>
              <a:buFont typeface="+mj-lt"/>
              <a:buNone/>
              <a:tabLst>
                <a:tab pos="449263" algn="l"/>
              </a:tabLst>
              <a:defRPr sz="2000" b="0">
                <a:solidFill>
                  <a:schemeClr val="tx1"/>
                </a:solidFill>
                <a:latin typeface="+mj-lt"/>
              </a:defRPr>
            </a:lvl2pPr>
            <a:lvl3pPr marL="457200" indent="-12700">
              <a:lnSpc>
                <a:spcPct val="110000"/>
              </a:lnSpc>
              <a:spcBef>
                <a:spcPts val="600"/>
              </a:spcBef>
              <a:spcAft>
                <a:spcPts val="0"/>
              </a:spcAft>
              <a:buFont typeface="+mj-lt"/>
              <a:buNone/>
              <a:tabLst>
                <a:tab pos="449263" algn="l"/>
              </a:tabLst>
              <a:defRPr sz="2000" b="0">
                <a:solidFill>
                  <a:schemeClr val="tx1"/>
                </a:solidFill>
                <a:latin typeface="+mj-lt"/>
              </a:defRPr>
            </a:lvl3pPr>
            <a:lvl4pPr marL="457200" indent="-12700">
              <a:lnSpc>
                <a:spcPct val="110000"/>
              </a:lnSpc>
              <a:spcBef>
                <a:spcPts val="600"/>
              </a:spcBef>
              <a:spcAft>
                <a:spcPts val="0"/>
              </a:spcAft>
              <a:buFont typeface="+mj-lt"/>
              <a:buNone/>
              <a:tabLst>
                <a:tab pos="449263" algn="l"/>
              </a:tabLst>
              <a:defRPr sz="2000" b="0">
                <a:solidFill>
                  <a:schemeClr val="tx1"/>
                </a:solidFill>
                <a:latin typeface="+mj-lt"/>
              </a:defRPr>
            </a:lvl4pPr>
            <a:lvl5pPr marL="457200" indent="-12700">
              <a:lnSpc>
                <a:spcPct val="110000"/>
              </a:lnSpc>
              <a:spcBef>
                <a:spcPts val="600"/>
              </a:spcBef>
              <a:spcAft>
                <a:spcPts val="0"/>
              </a:spcAft>
              <a:buFont typeface="+mj-lt"/>
              <a:buNone/>
              <a:tabLst>
                <a:tab pos="449263" algn="l"/>
              </a:tabLst>
              <a:defRPr sz="2000" b="0">
                <a:solidFill>
                  <a:schemeClr val="tx1"/>
                </a:solidFill>
                <a:latin typeface="+mj-lt"/>
              </a:defRPr>
            </a:lvl5pPr>
            <a:lvl6pPr marL="457200" indent="-12700">
              <a:lnSpc>
                <a:spcPct val="110000"/>
              </a:lnSpc>
              <a:spcBef>
                <a:spcPts val="600"/>
              </a:spcBef>
              <a:spcAft>
                <a:spcPts val="0"/>
              </a:spcAft>
              <a:buFont typeface="+mj-lt"/>
              <a:buNone/>
              <a:tabLst>
                <a:tab pos="449263" algn="l"/>
              </a:tabLst>
              <a:defRPr sz="2000" b="0">
                <a:solidFill>
                  <a:schemeClr val="tx1"/>
                </a:solidFill>
                <a:latin typeface="+mj-lt"/>
              </a:defRPr>
            </a:lvl6pPr>
            <a:lvl7pPr marL="457200" indent="-12700">
              <a:lnSpc>
                <a:spcPct val="110000"/>
              </a:lnSpc>
              <a:spcBef>
                <a:spcPts val="600"/>
              </a:spcBef>
              <a:spcAft>
                <a:spcPts val="0"/>
              </a:spcAft>
              <a:buNone/>
              <a:tabLst>
                <a:tab pos="449263" algn="l"/>
              </a:tabLst>
              <a:defRPr sz="2000" b="0">
                <a:solidFill>
                  <a:schemeClr val="tx1"/>
                </a:solidFill>
                <a:latin typeface="+mj-lt"/>
              </a:defRPr>
            </a:lvl7pPr>
            <a:lvl8pPr marL="457200" indent="-12700">
              <a:lnSpc>
                <a:spcPct val="110000"/>
              </a:lnSpc>
              <a:spcBef>
                <a:spcPts val="600"/>
              </a:spcBef>
              <a:spcAft>
                <a:spcPts val="0"/>
              </a:spcAft>
              <a:buFont typeface="+mj-lt"/>
              <a:buNone/>
              <a:tabLst>
                <a:tab pos="449263" algn="l"/>
              </a:tabLst>
              <a:defRPr sz="2000" b="0">
                <a:solidFill>
                  <a:schemeClr val="tx1"/>
                </a:solidFill>
                <a:latin typeface="+mj-lt"/>
              </a:defRPr>
            </a:lvl8pPr>
            <a:lvl9pPr marL="457200" indent="-12700">
              <a:lnSpc>
                <a:spcPct val="110000"/>
              </a:lnSpc>
              <a:spcBef>
                <a:spcPts val="600"/>
              </a:spcBef>
              <a:spcAft>
                <a:spcPts val="0"/>
              </a:spcAft>
              <a:buFont typeface="+mj-lt"/>
              <a:buNone/>
              <a:tabLst>
                <a:tab pos="449263" algn="l"/>
              </a:tabLst>
              <a:defRPr sz="2000" b="0">
                <a:solidFill>
                  <a:schemeClr val="tx1"/>
                </a:solidFill>
                <a:latin typeface="+mj-lt"/>
              </a:defRPr>
            </a:lvl9pPr>
          </a:lstStyle>
          <a:p>
            <a:pPr lvl="0"/>
            <a:r>
              <a:rPr lang="de-DE" noProof="0"/>
              <a:t>XX	Insert your agenda points here.</a:t>
            </a:r>
          </a:p>
          <a:p>
            <a:pPr lvl="1"/>
            <a:r>
              <a:rPr lang="de-DE" noProof="0"/>
              <a:t>2. level</a:t>
            </a:r>
          </a:p>
          <a:p>
            <a:pPr lvl="2"/>
            <a:r>
              <a:rPr lang="de-DE" noProof="0"/>
              <a:t>3. level</a:t>
            </a:r>
          </a:p>
          <a:p>
            <a:pPr lvl="3"/>
            <a:r>
              <a:rPr lang="de-DE" noProof="0"/>
              <a:t>4. level</a:t>
            </a:r>
          </a:p>
          <a:p>
            <a:pPr lvl="4"/>
            <a:r>
              <a:rPr lang="de-DE" noProof="0"/>
              <a:t>5. level</a:t>
            </a:r>
          </a:p>
          <a:p>
            <a:pPr lvl="5"/>
            <a:r>
              <a:rPr lang="de-DE" noProof="0"/>
              <a:t>6. level</a:t>
            </a:r>
          </a:p>
          <a:p>
            <a:pPr lvl="6"/>
            <a:r>
              <a:rPr lang="de-DE" noProof="0"/>
              <a:t>7. level</a:t>
            </a:r>
          </a:p>
          <a:p>
            <a:pPr lvl="7"/>
            <a:r>
              <a:rPr lang="de-DE" noProof="0"/>
              <a:t>8. level</a:t>
            </a:r>
          </a:p>
          <a:p>
            <a:pPr lvl="8"/>
            <a:r>
              <a:rPr lang="de-DE" noProof="0"/>
              <a:t>9. level</a:t>
            </a:r>
          </a:p>
        </p:txBody>
      </p:sp>
      <p:sp>
        <p:nvSpPr>
          <p:cNvPr id="3" name="Fußzeilenplatzhalter 2">
            <a:extLst>
              <a:ext uri="{FF2B5EF4-FFF2-40B4-BE49-F238E27FC236}">
                <a16:creationId xmlns:a16="http://schemas.microsoft.com/office/drawing/2014/main" id="{A3419D1B-E0B9-50F2-DDC8-C6FB2B7E6A4C}"/>
              </a:ext>
            </a:extLst>
          </p:cNvPr>
          <p:cNvSpPr>
            <a:spLocks noGrp="1"/>
          </p:cNvSpPr>
          <p:nvPr>
            <p:ph type="ftr" sz="quarter" idx="13"/>
          </p:nvPr>
        </p:nvSpPr>
        <p:spPr bwMode="gray"/>
        <p:txBody>
          <a:bodyPr/>
          <a:lstStyle/>
          <a:p>
            <a:r>
              <a:rPr lang="de-DE"/>
              <a:t>Date dd.mm.yyyy  |  Security label</a:t>
            </a:r>
          </a:p>
        </p:txBody>
      </p:sp>
      <p:sp>
        <p:nvSpPr>
          <p:cNvPr id="9" name="Titel 8">
            <a:extLst>
              <a:ext uri="{FF2B5EF4-FFF2-40B4-BE49-F238E27FC236}">
                <a16:creationId xmlns:a16="http://schemas.microsoft.com/office/drawing/2014/main" id="{A9A3FA9C-BFA0-9550-D0D4-6DB896226032}"/>
              </a:ext>
            </a:extLst>
          </p:cNvPr>
          <p:cNvSpPr>
            <a:spLocks noGrp="1"/>
          </p:cNvSpPr>
          <p:nvPr>
            <p:ph type="title" hasCustomPrompt="1"/>
          </p:nvPr>
        </p:nvSpPr>
        <p:spPr bwMode="gray"/>
        <p:txBody>
          <a:bodyPr/>
          <a:lstStyle/>
          <a:p>
            <a:r>
              <a:rPr lang="de-DE" err="1"/>
              <a:t>Heading</a:t>
            </a:r>
            <a:r>
              <a:rPr lang="de-DE"/>
              <a:t> (</a:t>
            </a:r>
            <a:r>
              <a:rPr lang="de-DE" err="1"/>
              <a:t>one</a:t>
            </a:r>
            <a:r>
              <a:rPr lang="de-DE"/>
              <a:t> </a:t>
            </a:r>
            <a:r>
              <a:rPr lang="de-DE" err="1"/>
              <a:t>line</a:t>
            </a:r>
            <a:r>
              <a:rPr lang="de-DE"/>
              <a:t>)</a:t>
            </a:r>
          </a:p>
        </p:txBody>
      </p:sp>
      <p:sp>
        <p:nvSpPr>
          <p:cNvPr id="2" name="Slide Number Placeholder 1">
            <a:extLst>
              <a:ext uri="{FF2B5EF4-FFF2-40B4-BE49-F238E27FC236}">
                <a16:creationId xmlns:a16="http://schemas.microsoft.com/office/drawing/2014/main" id="{816E1B79-03A0-2139-901A-232D3C0581D2}"/>
              </a:ext>
            </a:extLst>
          </p:cNvPr>
          <p:cNvSpPr>
            <a:spLocks noGrp="1"/>
          </p:cNvSpPr>
          <p:nvPr>
            <p:ph type="sldNum" sz="quarter" idx="14"/>
          </p:nvPr>
        </p:nvSpPr>
        <p:spPr/>
        <p:txBody>
          <a:bodyPr/>
          <a:lstStyle/>
          <a:p>
            <a:fld id="{44661A95-0089-4306-9485-D330C59FE3ED}" type="slidenum">
              <a:rPr lang="de-DE" smtClean="0"/>
              <a:pPr/>
              <a:t>‹#›</a:t>
            </a:fld>
            <a:endParaRPr lang="de-DE"/>
          </a:p>
        </p:txBody>
      </p:sp>
    </p:spTree>
    <p:extLst>
      <p:ext uri="{BB962C8B-B14F-4D97-AF65-F5344CB8AC3E}">
        <p14:creationId xmlns:p14="http://schemas.microsoft.com/office/powerpoint/2010/main" val="334888035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Divider | 1">
    <p:bg>
      <p:bgPr>
        <a:solidFill>
          <a:schemeClr val="accent1"/>
        </a:solidFill>
        <a:effectLst/>
      </p:bgPr>
    </p:bg>
    <p:spTree>
      <p:nvGrpSpPr>
        <p:cNvPr id="1" name=""/>
        <p:cNvGrpSpPr/>
        <p:nvPr/>
      </p:nvGrpSpPr>
      <p:grpSpPr>
        <a:xfrm>
          <a:off x="0" y="0"/>
          <a:ext cx="0" cy="0"/>
          <a:chOff x="0" y="0"/>
          <a:chExt cx="0" cy="0"/>
        </a:xfrm>
      </p:grpSpPr>
      <p:sp>
        <p:nvSpPr>
          <p:cNvPr id="3" name="Textplatzhalter 2"/>
          <p:cNvSpPr>
            <a:spLocks noGrp="1"/>
          </p:cNvSpPr>
          <p:nvPr>
            <p:ph type="body" idx="1" hasCustomPrompt="1"/>
          </p:nvPr>
        </p:nvSpPr>
        <p:spPr bwMode="gray">
          <a:xfrm>
            <a:off x="1092200" y="1412875"/>
            <a:ext cx="5111750" cy="4356385"/>
          </a:xfrm>
          <a:prstGeom prst="rect">
            <a:avLst/>
          </a:prstGeom>
        </p:spPr>
        <p:txBody>
          <a:bodyPr anchor="t"/>
          <a:lstStyle>
            <a:lvl1pPr marL="0" indent="0">
              <a:lnSpc>
                <a:spcPct val="100000"/>
              </a:lnSpc>
              <a:spcBef>
                <a:spcPts val="0"/>
              </a:spcBef>
              <a:buFont typeface="Yanone Kaffeesatz" pitchFamily="50" charset="0"/>
              <a:buNone/>
              <a:defRPr sz="3700" b="1" i="1" cap="none" baseline="0">
                <a:solidFill>
                  <a:schemeClr val="bg1"/>
                </a:solidFill>
                <a:latin typeface="Barlow ExtraBold" pitchFamily="2" charset="77"/>
              </a:defRPr>
            </a:lvl1pPr>
            <a:lvl2pPr marL="0" indent="0">
              <a:lnSpc>
                <a:spcPct val="110000"/>
              </a:lnSpc>
              <a:spcBef>
                <a:spcPts val="0"/>
              </a:spcBef>
              <a:spcAft>
                <a:spcPts val="0"/>
              </a:spcAft>
              <a:buNone/>
              <a:defRPr sz="2000">
                <a:solidFill>
                  <a:schemeClr val="bg1"/>
                </a:solidFill>
                <a:latin typeface="+mj-lt"/>
              </a:defRPr>
            </a:lvl2pPr>
            <a:lvl3pPr marL="0" indent="0">
              <a:lnSpc>
                <a:spcPct val="110000"/>
              </a:lnSpc>
              <a:spcBef>
                <a:spcPts val="0"/>
              </a:spcBef>
              <a:spcAft>
                <a:spcPts val="0"/>
              </a:spcAft>
              <a:buNone/>
              <a:defRPr sz="2000">
                <a:solidFill>
                  <a:schemeClr val="bg1"/>
                </a:solidFill>
                <a:latin typeface="+mj-lt"/>
              </a:defRPr>
            </a:lvl3pPr>
            <a:lvl4pPr marL="0" indent="0">
              <a:lnSpc>
                <a:spcPct val="110000"/>
              </a:lnSpc>
              <a:spcBef>
                <a:spcPts val="0"/>
              </a:spcBef>
              <a:spcAft>
                <a:spcPts val="0"/>
              </a:spcAft>
              <a:buNone/>
              <a:defRPr sz="2000">
                <a:solidFill>
                  <a:schemeClr val="bg1"/>
                </a:solidFill>
                <a:latin typeface="+mj-lt"/>
              </a:defRPr>
            </a:lvl4pPr>
            <a:lvl5pPr marL="0" indent="0">
              <a:lnSpc>
                <a:spcPct val="110000"/>
              </a:lnSpc>
              <a:spcBef>
                <a:spcPts val="0"/>
              </a:spcBef>
              <a:spcAft>
                <a:spcPts val="0"/>
              </a:spcAft>
              <a:buNone/>
              <a:defRPr sz="2000">
                <a:solidFill>
                  <a:schemeClr val="bg1"/>
                </a:solidFill>
                <a:latin typeface="+mj-lt"/>
              </a:defRPr>
            </a:lvl5pPr>
            <a:lvl6pPr marL="0" indent="0">
              <a:lnSpc>
                <a:spcPct val="110000"/>
              </a:lnSpc>
              <a:spcBef>
                <a:spcPts val="0"/>
              </a:spcBef>
              <a:spcAft>
                <a:spcPts val="0"/>
              </a:spcAft>
              <a:buNone/>
              <a:defRPr sz="2000">
                <a:solidFill>
                  <a:schemeClr val="bg1"/>
                </a:solidFill>
                <a:latin typeface="+mj-lt"/>
              </a:defRPr>
            </a:lvl6pPr>
            <a:lvl7pPr marL="0" indent="0">
              <a:lnSpc>
                <a:spcPct val="110000"/>
              </a:lnSpc>
              <a:spcBef>
                <a:spcPts val="0"/>
              </a:spcBef>
              <a:spcAft>
                <a:spcPts val="0"/>
              </a:spcAft>
              <a:buNone/>
              <a:defRPr sz="2000">
                <a:solidFill>
                  <a:schemeClr val="bg1"/>
                </a:solidFill>
                <a:latin typeface="+mj-lt"/>
              </a:defRPr>
            </a:lvl7pPr>
            <a:lvl8pPr marL="0" indent="0">
              <a:lnSpc>
                <a:spcPct val="110000"/>
              </a:lnSpc>
              <a:spcBef>
                <a:spcPts val="0"/>
              </a:spcBef>
              <a:spcAft>
                <a:spcPts val="0"/>
              </a:spcAft>
              <a:buNone/>
              <a:defRPr sz="2000">
                <a:solidFill>
                  <a:schemeClr val="bg1"/>
                </a:solidFill>
                <a:latin typeface="+mj-lt"/>
              </a:defRPr>
            </a:lvl8pPr>
            <a:lvl9pPr marL="0" indent="0">
              <a:lnSpc>
                <a:spcPct val="110000"/>
              </a:lnSpc>
              <a:spcBef>
                <a:spcPts val="0"/>
              </a:spcBef>
              <a:spcAft>
                <a:spcPts val="0"/>
              </a:spcAft>
              <a:buNone/>
              <a:defRPr sz="2000">
                <a:solidFill>
                  <a:schemeClr val="bg1"/>
                </a:solidFill>
                <a:latin typeface="+mj-lt"/>
              </a:defRPr>
            </a:lvl9pPr>
          </a:lstStyle>
          <a:p>
            <a:pPr lvl="0"/>
            <a:r>
              <a:rPr lang="de-DE" noProof="0" err="1"/>
              <a:t>Chapte</a:t>
            </a:r>
            <a:r>
              <a:rPr lang="de-DE" noProof="0"/>
              <a:t> </a:t>
            </a:r>
            <a:r>
              <a:rPr lang="de-DE" noProof="0" err="1"/>
              <a:t>r</a:t>
            </a:r>
            <a:r>
              <a:rPr lang="de-DE" noProof="0"/>
              <a:t> </a:t>
            </a:r>
            <a:r>
              <a:rPr lang="de-DE" noProof="0" err="1"/>
              <a:t>name</a:t>
            </a:r>
            <a:br>
              <a:rPr lang="de-DE" noProof="0"/>
            </a:br>
            <a:r>
              <a:rPr lang="de-DE" noProof="0"/>
              <a:t> (</a:t>
            </a:r>
            <a:r>
              <a:rPr lang="de-DE" noProof="0" err="1"/>
              <a:t>use</a:t>
            </a:r>
            <a:r>
              <a:rPr lang="de-DE" noProof="0"/>
              <a:t> </a:t>
            </a:r>
            <a:r>
              <a:rPr lang="de-DE" noProof="0" err="1"/>
              <a:t>the</a:t>
            </a:r>
            <a:r>
              <a:rPr lang="de-DE" noProof="0"/>
              <a:t> </a:t>
            </a:r>
            <a:r>
              <a:rPr lang="de-DE" noProof="0" err="1"/>
              <a:t>button</a:t>
            </a:r>
            <a:r>
              <a:rPr lang="de-DE" noProof="0"/>
              <a:t> “</a:t>
            </a:r>
            <a:r>
              <a:rPr lang="de-DE" noProof="0" err="1"/>
              <a:t>increase</a:t>
            </a:r>
            <a:r>
              <a:rPr lang="de-DE" noProof="0"/>
              <a:t> </a:t>
            </a:r>
            <a:r>
              <a:rPr lang="de-DE" noProof="0" err="1"/>
              <a:t>list</a:t>
            </a:r>
            <a:r>
              <a:rPr lang="de-DE" noProof="0"/>
              <a:t> </a:t>
            </a:r>
            <a:r>
              <a:rPr lang="de-DE" noProof="0" err="1"/>
              <a:t>level</a:t>
            </a:r>
            <a:r>
              <a:rPr lang="de-DE" noProof="0"/>
              <a:t>” </a:t>
            </a:r>
            <a:r>
              <a:rPr lang="de-DE" noProof="0" err="1"/>
              <a:t>to</a:t>
            </a:r>
            <a:r>
              <a:rPr lang="de-DE" noProof="0"/>
              <a:t> </a:t>
            </a:r>
            <a:r>
              <a:rPr lang="de-DE" noProof="0" err="1"/>
              <a:t>add</a:t>
            </a:r>
            <a:r>
              <a:rPr lang="de-DE" noProof="0"/>
              <a:t> optional </a:t>
            </a:r>
            <a:r>
              <a:rPr lang="de-DE" noProof="0" err="1"/>
              <a:t>information</a:t>
            </a:r>
            <a:r>
              <a:rPr lang="de-DE" noProof="0"/>
              <a:t>.)</a:t>
            </a:r>
          </a:p>
          <a:p>
            <a:pPr lvl="1"/>
            <a:r>
              <a:rPr lang="de-DE" noProof="0"/>
              <a:t>2. </a:t>
            </a:r>
            <a:r>
              <a:rPr lang="de-DE" noProof="0" err="1"/>
              <a:t>level</a:t>
            </a:r>
            <a:endParaRPr lang="de-DE" noProof="0"/>
          </a:p>
          <a:p>
            <a:pPr lvl="2"/>
            <a:r>
              <a:rPr lang="de-DE" noProof="0"/>
              <a:t>3. </a:t>
            </a:r>
            <a:r>
              <a:rPr lang="de-DE" noProof="0" err="1"/>
              <a:t>level</a:t>
            </a:r>
            <a:endParaRPr lang="de-DE" noProof="0"/>
          </a:p>
          <a:p>
            <a:pPr lvl="3"/>
            <a:r>
              <a:rPr lang="de-DE" noProof="0"/>
              <a:t>4. </a:t>
            </a:r>
            <a:r>
              <a:rPr lang="de-DE" noProof="0" err="1"/>
              <a:t>level</a:t>
            </a:r>
            <a:endParaRPr lang="de-DE" noProof="0"/>
          </a:p>
          <a:p>
            <a:pPr lvl="4"/>
            <a:r>
              <a:rPr lang="de-DE" noProof="0"/>
              <a:t>5. </a:t>
            </a:r>
            <a:r>
              <a:rPr lang="de-DE" noProof="0" err="1"/>
              <a:t>level</a:t>
            </a:r>
            <a:endParaRPr lang="de-DE" noProof="0"/>
          </a:p>
          <a:p>
            <a:pPr lvl="5"/>
            <a:r>
              <a:rPr lang="de-DE" noProof="0"/>
              <a:t>6. </a:t>
            </a:r>
            <a:r>
              <a:rPr lang="de-DE" noProof="0" err="1"/>
              <a:t>level</a:t>
            </a:r>
            <a:endParaRPr lang="de-DE" noProof="0"/>
          </a:p>
          <a:p>
            <a:pPr lvl="6"/>
            <a:r>
              <a:rPr lang="de-DE" noProof="0"/>
              <a:t>7. </a:t>
            </a:r>
            <a:r>
              <a:rPr lang="de-DE" noProof="0" err="1"/>
              <a:t>level</a:t>
            </a:r>
            <a:endParaRPr lang="de-DE" noProof="0"/>
          </a:p>
          <a:p>
            <a:pPr lvl="7"/>
            <a:r>
              <a:rPr lang="de-DE" noProof="0"/>
              <a:t>8. </a:t>
            </a:r>
            <a:r>
              <a:rPr lang="de-DE" noProof="0" err="1"/>
              <a:t>level</a:t>
            </a:r>
            <a:endParaRPr lang="de-DE" noProof="0"/>
          </a:p>
          <a:p>
            <a:pPr lvl="8"/>
            <a:r>
              <a:rPr lang="de-DE" noProof="0"/>
              <a:t>9. </a:t>
            </a:r>
            <a:r>
              <a:rPr lang="de-DE" noProof="0" err="1"/>
              <a:t>level</a:t>
            </a:r>
            <a:endParaRPr lang="de-DE" noProof="0"/>
          </a:p>
        </p:txBody>
      </p:sp>
      <p:sp>
        <p:nvSpPr>
          <p:cNvPr id="2" name="Fußzeilenplatzhalter 1">
            <a:extLst>
              <a:ext uri="{FF2B5EF4-FFF2-40B4-BE49-F238E27FC236}">
                <a16:creationId xmlns:a16="http://schemas.microsoft.com/office/drawing/2014/main" id="{F62F0615-8843-8C57-5CE6-0C378000552A}"/>
              </a:ext>
            </a:extLst>
          </p:cNvPr>
          <p:cNvSpPr>
            <a:spLocks noGrp="1"/>
          </p:cNvSpPr>
          <p:nvPr>
            <p:ph type="ftr" sz="quarter" idx="10"/>
          </p:nvPr>
        </p:nvSpPr>
        <p:spPr bwMode="gray"/>
        <p:txBody>
          <a:bodyPr/>
          <a:lstStyle>
            <a:lvl1pPr>
              <a:defRPr>
                <a:solidFill>
                  <a:schemeClr val="bg1"/>
                </a:solidFill>
              </a:defRPr>
            </a:lvl1pPr>
          </a:lstStyle>
          <a:p>
            <a:r>
              <a:rPr lang="de-DE"/>
              <a:t>Date dd.mm.yyyy  |  Security label</a:t>
            </a:r>
          </a:p>
        </p:txBody>
      </p:sp>
      <p:sp>
        <p:nvSpPr>
          <p:cNvPr id="6" name="Titel 5">
            <a:extLst>
              <a:ext uri="{FF2B5EF4-FFF2-40B4-BE49-F238E27FC236}">
                <a16:creationId xmlns:a16="http://schemas.microsoft.com/office/drawing/2014/main" id="{7BC2A7C5-70DF-273F-56BF-981269B7883A}"/>
              </a:ext>
            </a:extLst>
          </p:cNvPr>
          <p:cNvSpPr>
            <a:spLocks noGrp="1"/>
          </p:cNvSpPr>
          <p:nvPr>
            <p:ph type="title" hasCustomPrompt="1"/>
          </p:nvPr>
        </p:nvSpPr>
        <p:spPr bwMode="gray">
          <a:xfrm>
            <a:off x="6203950" y="2816932"/>
            <a:ext cx="6228754" cy="4041068"/>
          </a:xfrm>
        </p:spPr>
        <p:txBody>
          <a:bodyPr anchor="ctr">
            <a:noAutofit/>
          </a:bodyPr>
          <a:lstStyle>
            <a:lvl1pPr algn="r">
              <a:lnSpc>
                <a:spcPct val="100000"/>
              </a:lnSpc>
              <a:defRPr sz="40000" i="0">
                <a:solidFill>
                  <a:schemeClr val="bg1"/>
                </a:solidFill>
              </a:defRPr>
            </a:lvl1pPr>
          </a:lstStyle>
          <a:p>
            <a:r>
              <a:rPr lang="de-DE"/>
              <a:t>00</a:t>
            </a:r>
          </a:p>
        </p:txBody>
      </p:sp>
      <p:sp>
        <p:nvSpPr>
          <p:cNvPr id="5" name="Freihandform: Form 459">
            <a:extLst>
              <a:ext uri="{FF2B5EF4-FFF2-40B4-BE49-F238E27FC236}">
                <a16:creationId xmlns:a16="http://schemas.microsoft.com/office/drawing/2014/main" id="{11565787-C7C6-55FE-90B9-FF20083BA7CA}"/>
              </a:ext>
            </a:extLst>
          </p:cNvPr>
          <p:cNvSpPr txBox="1">
            <a:spLocks noChangeAspect="1"/>
          </p:cNvSpPr>
          <p:nvPr userDrawn="1"/>
        </p:nvSpPr>
        <p:spPr bwMode="gray">
          <a:xfrm>
            <a:off x="11352648" y="307218"/>
            <a:ext cx="576000" cy="313470"/>
          </a:xfrm>
          <a:custGeom>
            <a:avLst/>
            <a:gdLst>
              <a:gd name="connsiteX0" fmla="*/ 471895 w 4139828"/>
              <a:gd name="connsiteY0" fmla="*/ 507 h 2242189"/>
              <a:gd name="connsiteX1" fmla="*/ 1132548 w 4139828"/>
              <a:gd name="connsiteY1" fmla="*/ 507 h 2242189"/>
              <a:gd name="connsiteX2" fmla="*/ 1179737 w 4139828"/>
              <a:gd name="connsiteY2" fmla="*/ 47691 h 2242189"/>
              <a:gd name="connsiteX3" fmla="*/ 1179737 w 4139828"/>
              <a:gd name="connsiteY3" fmla="*/ 425671 h 2242189"/>
              <a:gd name="connsiteX4" fmla="*/ 1132548 w 4139828"/>
              <a:gd name="connsiteY4" fmla="*/ 472855 h 2242189"/>
              <a:gd name="connsiteX5" fmla="*/ 659508 w 4139828"/>
              <a:gd name="connsiteY5" fmla="*/ 472855 h 2242189"/>
              <a:gd name="connsiteX6" fmla="*/ 470750 w 4139828"/>
              <a:gd name="connsiteY6" fmla="*/ 661591 h 2242189"/>
              <a:gd name="connsiteX7" fmla="*/ 470750 w 4139828"/>
              <a:gd name="connsiteY7" fmla="*/ 728742 h 2242189"/>
              <a:gd name="connsiteX8" fmla="*/ 494281 w 4139828"/>
              <a:gd name="connsiteY8" fmla="*/ 752270 h 2242189"/>
              <a:gd name="connsiteX9" fmla="*/ 800059 w 4139828"/>
              <a:gd name="connsiteY9" fmla="*/ 752270 h 2242189"/>
              <a:gd name="connsiteX10" fmla="*/ 847248 w 4139828"/>
              <a:gd name="connsiteY10" fmla="*/ 799454 h 2242189"/>
              <a:gd name="connsiteX11" fmla="*/ 847248 w 4139828"/>
              <a:gd name="connsiteY11" fmla="*/ 1081668 h 2242189"/>
              <a:gd name="connsiteX12" fmla="*/ 800059 w 4139828"/>
              <a:gd name="connsiteY12" fmla="*/ 1128852 h 2242189"/>
              <a:gd name="connsiteX13" fmla="*/ 494281 w 4139828"/>
              <a:gd name="connsiteY13" fmla="*/ 1128852 h 2242189"/>
              <a:gd name="connsiteX14" fmla="*/ 470750 w 4139828"/>
              <a:gd name="connsiteY14" fmla="*/ 1152380 h 2242189"/>
              <a:gd name="connsiteX15" fmla="*/ 470750 w 4139828"/>
              <a:gd name="connsiteY15" fmla="*/ 1227671 h 2242189"/>
              <a:gd name="connsiteX16" fmla="*/ 659508 w 4139828"/>
              <a:gd name="connsiteY16" fmla="*/ 1416406 h 2242189"/>
              <a:gd name="connsiteX17" fmla="*/ 1297775 w 4139828"/>
              <a:gd name="connsiteY17" fmla="*/ 1416406 h 2242189"/>
              <a:gd name="connsiteX18" fmla="*/ 1297775 w 4139828"/>
              <a:gd name="connsiteY18" fmla="*/ 1413100 h 2242189"/>
              <a:gd name="connsiteX19" fmla="*/ 1297775 w 4139828"/>
              <a:gd name="connsiteY19" fmla="*/ 472728 h 2242189"/>
              <a:gd name="connsiteX20" fmla="*/ 1769797 w 4139828"/>
              <a:gd name="connsiteY20" fmla="*/ 889 h 2242189"/>
              <a:gd name="connsiteX21" fmla="*/ 2359729 w 4139828"/>
              <a:gd name="connsiteY21" fmla="*/ 889 h 2242189"/>
              <a:gd name="connsiteX22" fmla="*/ 2831624 w 4139828"/>
              <a:gd name="connsiteY22" fmla="*/ 472728 h 2242189"/>
              <a:gd name="connsiteX23" fmla="*/ 2831624 w 4139828"/>
              <a:gd name="connsiteY23" fmla="*/ 2195005 h 2242189"/>
              <a:gd name="connsiteX24" fmla="*/ 2784434 w 4139828"/>
              <a:gd name="connsiteY24" fmla="*/ 2242189 h 2242189"/>
              <a:gd name="connsiteX25" fmla="*/ 2408063 w 4139828"/>
              <a:gd name="connsiteY25" fmla="*/ 2242189 h 2242189"/>
              <a:gd name="connsiteX26" fmla="*/ 2360874 w 4139828"/>
              <a:gd name="connsiteY26" fmla="*/ 2195005 h 2242189"/>
              <a:gd name="connsiteX27" fmla="*/ 2360874 w 4139828"/>
              <a:gd name="connsiteY27" fmla="*/ 661336 h 2242189"/>
              <a:gd name="connsiteX28" fmla="*/ 2172116 w 4139828"/>
              <a:gd name="connsiteY28" fmla="*/ 472601 h 2242189"/>
              <a:gd name="connsiteX29" fmla="*/ 1957410 w 4139828"/>
              <a:gd name="connsiteY29" fmla="*/ 472601 h 2242189"/>
              <a:gd name="connsiteX30" fmla="*/ 1768652 w 4139828"/>
              <a:gd name="connsiteY30" fmla="*/ 661336 h 2242189"/>
              <a:gd name="connsiteX31" fmla="*/ 1768652 w 4139828"/>
              <a:gd name="connsiteY31" fmla="*/ 1227671 h 2242189"/>
              <a:gd name="connsiteX32" fmla="*/ 1957410 w 4139828"/>
              <a:gd name="connsiteY32" fmla="*/ 1416406 h 2242189"/>
              <a:gd name="connsiteX33" fmla="*/ 2219305 w 4139828"/>
              <a:gd name="connsiteY33" fmla="*/ 1416406 h 2242189"/>
              <a:gd name="connsiteX34" fmla="*/ 2242963 w 4139828"/>
              <a:gd name="connsiteY34" fmla="*/ 1439935 h 2242189"/>
              <a:gd name="connsiteX35" fmla="*/ 2242963 w 4139828"/>
              <a:gd name="connsiteY35" fmla="*/ 1864717 h 2242189"/>
              <a:gd name="connsiteX36" fmla="*/ 2219305 w 4139828"/>
              <a:gd name="connsiteY36" fmla="*/ 1888246 h 2242189"/>
              <a:gd name="connsiteX37" fmla="*/ 472022 w 4139828"/>
              <a:gd name="connsiteY37" fmla="*/ 1888246 h 2242189"/>
              <a:gd name="connsiteX38" fmla="*/ 0 w 4139828"/>
              <a:gd name="connsiteY38" fmla="*/ 1416406 h 2242189"/>
              <a:gd name="connsiteX39" fmla="*/ 0 w 4139828"/>
              <a:gd name="connsiteY39" fmla="*/ 472346 h 2242189"/>
              <a:gd name="connsiteX40" fmla="*/ 471895 w 4139828"/>
              <a:gd name="connsiteY40" fmla="*/ 507 h 2242189"/>
              <a:gd name="connsiteX41" fmla="*/ 3422701 w 4139828"/>
              <a:gd name="connsiteY41" fmla="*/ 0 h 2242189"/>
              <a:gd name="connsiteX42" fmla="*/ 4021918 w 4139828"/>
              <a:gd name="connsiteY42" fmla="*/ 0 h 2242189"/>
              <a:gd name="connsiteX43" fmla="*/ 4069108 w 4139828"/>
              <a:gd name="connsiteY43" fmla="*/ 47184 h 2242189"/>
              <a:gd name="connsiteX44" fmla="*/ 4069108 w 4139828"/>
              <a:gd name="connsiteY44" fmla="*/ 425546 h 2242189"/>
              <a:gd name="connsiteX45" fmla="*/ 4021918 w 4139828"/>
              <a:gd name="connsiteY45" fmla="*/ 472730 h 2242189"/>
              <a:gd name="connsiteX46" fmla="*/ 3532979 w 4139828"/>
              <a:gd name="connsiteY46" fmla="*/ 472730 h 2242189"/>
              <a:gd name="connsiteX47" fmla="*/ 3532852 w 4139828"/>
              <a:gd name="connsiteY47" fmla="*/ 472857 h 2242189"/>
              <a:gd name="connsiteX48" fmla="*/ 3488969 w 4139828"/>
              <a:gd name="connsiteY48" fmla="*/ 599147 h 2242189"/>
              <a:gd name="connsiteX49" fmla="*/ 3904008 w 4139828"/>
              <a:gd name="connsiteY49" fmla="*/ 927781 h 2242189"/>
              <a:gd name="connsiteX50" fmla="*/ 4139828 w 4139828"/>
              <a:gd name="connsiteY50" fmla="*/ 1415391 h 2242189"/>
              <a:gd name="connsiteX51" fmla="*/ 4001312 w 4139828"/>
              <a:gd name="connsiteY51" fmla="*/ 1749875 h 2242189"/>
              <a:gd name="connsiteX52" fmla="*/ 3666916 w 4139828"/>
              <a:gd name="connsiteY52" fmla="*/ 1888375 h 2242189"/>
              <a:gd name="connsiteX53" fmla="*/ 2973319 w 4139828"/>
              <a:gd name="connsiteY53" fmla="*/ 1888375 h 2242189"/>
              <a:gd name="connsiteX54" fmla="*/ 2949788 w 4139828"/>
              <a:gd name="connsiteY54" fmla="*/ 1864846 h 2242189"/>
              <a:gd name="connsiteX55" fmla="*/ 2949788 w 4139828"/>
              <a:gd name="connsiteY55" fmla="*/ 1439173 h 2242189"/>
              <a:gd name="connsiteX56" fmla="*/ 2973319 w 4139828"/>
              <a:gd name="connsiteY56" fmla="*/ 1415518 h 2242189"/>
              <a:gd name="connsiteX57" fmla="*/ 3556637 w 4139828"/>
              <a:gd name="connsiteY57" fmla="*/ 1415518 h 2242189"/>
              <a:gd name="connsiteX58" fmla="*/ 3600520 w 4139828"/>
              <a:gd name="connsiteY58" fmla="*/ 1289228 h 2242189"/>
              <a:gd name="connsiteX59" fmla="*/ 3185481 w 4139828"/>
              <a:gd name="connsiteY59" fmla="*/ 960594 h 2242189"/>
              <a:gd name="connsiteX60" fmla="*/ 2949661 w 4139828"/>
              <a:gd name="connsiteY60" fmla="*/ 472984 h 2242189"/>
              <a:gd name="connsiteX61" fmla="*/ 3422701 w 4139828"/>
              <a:gd name="connsiteY61" fmla="*/ 0 h 22421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4139828" h="2242189">
                <a:moveTo>
                  <a:pt x="471895" y="507"/>
                </a:moveTo>
                <a:lnTo>
                  <a:pt x="1132548" y="507"/>
                </a:lnTo>
                <a:cubicBezTo>
                  <a:pt x="1158623" y="507"/>
                  <a:pt x="1179737" y="21619"/>
                  <a:pt x="1179737" y="47691"/>
                </a:cubicBezTo>
                <a:lnTo>
                  <a:pt x="1179737" y="425671"/>
                </a:lnTo>
                <a:cubicBezTo>
                  <a:pt x="1179737" y="451743"/>
                  <a:pt x="1158623" y="472855"/>
                  <a:pt x="1132548" y="472855"/>
                </a:cubicBezTo>
                <a:lnTo>
                  <a:pt x="659508" y="472855"/>
                </a:lnTo>
                <a:cubicBezTo>
                  <a:pt x="555208" y="472855"/>
                  <a:pt x="470750" y="557303"/>
                  <a:pt x="470750" y="661591"/>
                </a:cubicBezTo>
                <a:lnTo>
                  <a:pt x="470750" y="728742"/>
                </a:lnTo>
                <a:cubicBezTo>
                  <a:pt x="470750" y="741714"/>
                  <a:pt x="481307" y="752270"/>
                  <a:pt x="494281" y="752270"/>
                </a:cubicBezTo>
                <a:lnTo>
                  <a:pt x="800059" y="752270"/>
                </a:lnTo>
                <a:cubicBezTo>
                  <a:pt x="826134" y="752270"/>
                  <a:pt x="847248" y="773382"/>
                  <a:pt x="847248" y="799454"/>
                </a:cubicBezTo>
                <a:lnTo>
                  <a:pt x="847248" y="1081668"/>
                </a:lnTo>
                <a:cubicBezTo>
                  <a:pt x="847248" y="1107740"/>
                  <a:pt x="826134" y="1128852"/>
                  <a:pt x="800059" y="1128852"/>
                </a:cubicBezTo>
                <a:lnTo>
                  <a:pt x="494281" y="1128852"/>
                </a:lnTo>
                <a:cubicBezTo>
                  <a:pt x="481307" y="1128852"/>
                  <a:pt x="470750" y="1139408"/>
                  <a:pt x="470750" y="1152380"/>
                </a:cubicBezTo>
                <a:lnTo>
                  <a:pt x="470750" y="1227671"/>
                </a:lnTo>
                <a:cubicBezTo>
                  <a:pt x="470750" y="1331832"/>
                  <a:pt x="555208" y="1416406"/>
                  <a:pt x="659508" y="1416406"/>
                </a:cubicBezTo>
                <a:lnTo>
                  <a:pt x="1297775" y="1416406"/>
                </a:lnTo>
                <a:cubicBezTo>
                  <a:pt x="1297775" y="1415389"/>
                  <a:pt x="1297775" y="1414244"/>
                  <a:pt x="1297775" y="1413100"/>
                </a:cubicBezTo>
                <a:lnTo>
                  <a:pt x="1297775" y="472728"/>
                </a:lnTo>
                <a:cubicBezTo>
                  <a:pt x="1297775" y="212135"/>
                  <a:pt x="1509173" y="889"/>
                  <a:pt x="1769797" y="889"/>
                </a:cubicBezTo>
                <a:lnTo>
                  <a:pt x="2359729" y="889"/>
                </a:lnTo>
                <a:cubicBezTo>
                  <a:pt x="2620352" y="889"/>
                  <a:pt x="2831624" y="212135"/>
                  <a:pt x="2831624" y="472728"/>
                </a:cubicBezTo>
                <a:lnTo>
                  <a:pt x="2831624" y="2195005"/>
                </a:lnTo>
                <a:cubicBezTo>
                  <a:pt x="2831624" y="2221077"/>
                  <a:pt x="2810509" y="2242189"/>
                  <a:pt x="2784434" y="2242189"/>
                </a:cubicBezTo>
                <a:lnTo>
                  <a:pt x="2408063" y="2242189"/>
                </a:lnTo>
                <a:cubicBezTo>
                  <a:pt x="2381988" y="2242189"/>
                  <a:pt x="2360874" y="2221077"/>
                  <a:pt x="2360874" y="2195005"/>
                </a:cubicBezTo>
                <a:lnTo>
                  <a:pt x="2360874" y="661336"/>
                </a:lnTo>
                <a:cubicBezTo>
                  <a:pt x="2360874" y="557176"/>
                  <a:pt x="2276289" y="472601"/>
                  <a:pt x="2172116" y="472601"/>
                </a:cubicBezTo>
                <a:lnTo>
                  <a:pt x="1957410" y="472601"/>
                </a:lnTo>
                <a:cubicBezTo>
                  <a:pt x="1853110" y="472601"/>
                  <a:pt x="1768652" y="557176"/>
                  <a:pt x="1768652" y="661336"/>
                </a:cubicBezTo>
                <a:lnTo>
                  <a:pt x="1768652" y="1227671"/>
                </a:lnTo>
                <a:cubicBezTo>
                  <a:pt x="1768652" y="1331832"/>
                  <a:pt x="1853110" y="1416406"/>
                  <a:pt x="1957410" y="1416406"/>
                </a:cubicBezTo>
                <a:lnTo>
                  <a:pt x="2219305" y="1416406"/>
                </a:lnTo>
                <a:cubicBezTo>
                  <a:pt x="2232406" y="1416406"/>
                  <a:pt x="2242963" y="1426962"/>
                  <a:pt x="2242963" y="1439935"/>
                </a:cubicBezTo>
                <a:lnTo>
                  <a:pt x="2242963" y="1864717"/>
                </a:lnTo>
                <a:cubicBezTo>
                  <a:pt x="2242963" y="1877690"/>
                  <a:pt x="2232406" y="1888246"/>
                  <a:pt x="2219305" y="1888246"/>
                </a:cubicBezTo>
                <a:lnTo>
                  <a:pt x="472022" y="1888246"/>
                </a:lnTo>
                <a:cubicBezTo>
                  <a:pt x="211272" y="1888246"/>
                  <a:pt x="0" y="1676999"/>
                  <a:pt x="0" y="1416406"/>
                </a:cubicBezTo>
                <a:lnTo>
                  <a:pt x="0" y="472346"/>
                </a:lnTo>
                <a:cubicBezTo>
                  <a:pt x="0" y="211754"/>
                  <a:pt x="211272" y="507"/>
                  <a:pt x="471895" y="507"/>
                </a:cubicBezTo>
                <a:close/>
                <a:moveTo>
                  <a:pt x="3422701" y="0"/>
                </a:moveTo>
                <a:lnTo>
                  <a:pt x="4021918" y="0"/>
                </a:lnTo>
                <a:cubicBezTo>
                  <a:pt x="4047993" y="0"/>
                  <a:pt x="4069108" y="21112"/>
                  <a:pt x="4069108" y="47184"/>
                </a:cubicBezTo>
                <a:lnTo>
                  <a:pt x="4069108" y="425546"/>
                </a:lnTo>
                <a:cubicBezTo>
                  <a:pt x="4069108" y="451618"/>
                  <a:pt x="4047993" y="472730"/>
                  <a:pt x="4021918" y="472730"/>
                </a:cubicBezTo>
                <a:lnTo>
                  <a:pt x="3532979" y="472730"/>
                </a:lnTo>
                <a:lnTo>
                  <a:pt x="3532852" y="472857"/>
                </a:lnTo>
                <a:cubicBezTo>
                  <a:pt x="3465693" y="472857"/>
                  <a:pt x="3436311" y="557432"/>
                  <a:pt x="3488969" y="599147"/>
                </a:cubicBezTo>
                <a:lnTo>
                  <a:pt x="3904008" y="927781"/>
                </a:lnTo>
                <a:cubicBezTo>
                  <a:pt x="4052954" y="1045804"/>
                  <a:pt x="4139828" y="1225383"/>
                  <a:pt x="4139828" y="1415391"/>
                </a:cubicBezTo>
                <a:cubicBezTo>
                  <a:pt x="4139828" y="1546005"/>
                  <a:pt x="4086915" y="1664156"/>
                  <a:pt x="4001312" y="1749875"/>
                </a:cubicBezTo>
                <a:cubicBezTo>
                  <a:pt x="3915710" y="1835468"/>
                  <a:pt x="3797418" y="1888375"/>
                  <a:pt x="3666916" y="1888375"/>
                </a:cubicBezTo>
                <a:lnTo>
                  <a:pt x="2973319" y="1888375"/>
                </a:lnTo>
                <a:cubicBezTo>
                  <a:pt x="2960346" y="1888375"/>
                  <a:pt x="2949788" y="1877819"/>
                  <a:pt x="2949788" y="1864846"/>
                </a:cubicBezTo>
                <a:lnTo>
                  <a:pt x="2949788" y="1439173"/>
                </a:lnTo>
                <a:cubicBezTo>
                  <a:pt x="2949788" y="1426201"/>
                  <a:pt x="2960346" y="1415518"/>
                  <a:pt x="2973319" y="1415518"/>
                </a:cubicBezTo>
                <a:lnTo>
                  <a:pt x="3556637" y="1415518"/>
                </a:lnTo>
                <a:cubicBezTo>
                  <a:pt x="3623797" y="1415518"/>
                  <a:pt x="3653179" y="1330943"/>
                  <a:pt x="3600520" y="1289228"/>
                </a:cubicBezTo>
                <a:lnTo>
                  <a:pt x="3185481" y="960594"/>
                </a:lnTo>
                <a:cubicBezTo>
                  <a:pt x="3036535" y="842570"/>
                  <a:pt x="2949661" y="662991"/>
                  <a:pt x="2949661" y="472984"/>
                </a:cubicBezTo>
                <a:cubicBezTo>
                  <a:pt x="2949661" y="211755"/>
                  <a:pt x="3161441" y="0"/>
                  <a:pt x="3422701" y="0"/>
                </a:cubicBezTo>
                <a:close/>
              </a:path>
            </a:pathLst>
          </a:custGeom>
          <a:solidFill>
            <a:schemeClr val="bg1"/>
          </a:solidFill>
          <a:ln w="127">
            <a:solidFill>
              <a:schemeClr val="bg1">
                <a:alpha val="0"/>
              </a:schemeClr>
            </a:solidFill>
          </a:ln>
        </p:spPr>
        <p:txBody>
          <a:bodyPr wrap="square">
            <a:noAutofit/>
          </a:bodyPr>
          <a:lstStyle>
            <a:lvl1pPr marL="0" indent="0" algn="l" defTabSz="914400" rtl="0" eaLnBrk="1" latinLnBrk="0" hangingPunct="1">
              <a:lnSpc>
                <a:spcPct val="110000"/>
              </a:lnSpc>
              <a:spcBef>
                <a:spcPts val="600"/>
              </a:spcBef>
              <a:spcAft>
                <a:spcPts val="600"/>
              </a:spcAft>
              <a:buFont typeface="Arial" panose="020B0604020202020204" pitchFamily="34" charset="0"/>
              <a:buNone/>
              <a:defRPr sz="2000" b="1" kern="1200">
                <a:solidFill>
                  <a:schemeClr val="tx1"/>
                </a:solidFill>
                <a:latin typeface="+mj-lt"/>
                <a:ea typeface="+mn-ea"/>
                <a:cs typeface="+mn-cs"/>
              </a:defRPr>
            </a:lvl1pPr>
            <a:lvl2pPr marL="0" indent="0" algn="l" defTabSz="914400" rtl="0" eaLnBrk="1" latinLnBrk="0" hangingPunct="1">
              <a:lnSpc>
                <a:spcPct val="110000"/>
              </a:lnSpc>
              <a:spcBef>
                <a:spcPts val="600"/>
              </a:spcBef>
              <a:spcAft>
                <a:spcPts val="600"/>
              </a:spcAft>
              <a:buFont typeface="Arial" panose="020B0604020202020204" pitchFamily="34" charset="0"/>
              <a:buNone/>
              <a:defRPr sz="2000" kern="1200">
                <a:solidFill>
                  <a:schemeClr val="tx1"/>
                </a:solidFill>
                <a:latin typeface="+mn-lt"/>
                <a:ea typeface="+mn-ea"/>
                <a:cs typeface="+mn-cs"/>
              </a:defRPr>
            </a:lvl2pPr>
            <a:lvl3pPr marL="361950" indent="-361950" algn="l" defTabSz="914400" rtl="0" eaLnBrk="1" latinLnBrk="0" hangingPunct="1">
              <a:lnSpc>
                <a:spcPct val="110000"/>
              </a:lnSpc>
              <a:spcBef>
                <a:spcPts val="600"/>
              </a:spcBef>
              <a:spcAft>
                <a:spcPts val="600"/>
              </a:spcAft>
              <a:buClr>
                <a:schemeClr val="accent1"/>
              </a:buClr>
              <a:buFontTx/>
              <a:buBlip>
                <a:blip r:embed="rId2"/>
              </a:buBlip>
              <a:defRPr sz="2000" kern="1200">
                <a:solidFill>
                  <a:schemeClr val="tx1"/>
                </a:solidFill>
                <a:latin typeface="+mn-lt"/>
                <a:ea typeface="+mn-ea"/>
                <a:cs typeface="+mn-cs"/>
              </a:defRPr>
            </a:lvl3pPr>
            <a:lvl4pPr marL="714375" indent="-352425" algn="l" defTabSz="914400" rtl="0" eaLnBrk="1" latinLnBrk="0" hangingPunct="1">
              <a:lnSpc>
                <a:spcPct val="110000"/>
              </a:lnSpc>
              <a:spcBef>
                <a:spcPts val="600"/>
              </a:spcBef>
              <a:spcAft>
                <a:spcPts val="600"/>
              </a:spcAft>
              <a:buClr>
                <a:schemeClr val="accent1"/>
              </a:buClr>
              <a:buFontTx/>
              <a:buBlip>
                <a:blip r:embed="rId2"/>
              </a:buBlip>
              <a:defRPr sz="2000" kern="1200">
                <a:solidFill>
                  <a:schemeClr val="tx1"/>
                </a:solidFill>
                <a:latin typeface="+mn-lt"/>
                <a:ea typeface="+mn-ea"/>
                <a:cs typeface="+mn-cs"/>
              </a:defRPr>
            </a:lvl4pPr>
            <a:lvl5pPr marL="0" indent="0" algn="l" defTabSz="914400" rtl="0" eaLnBrk="1" latinLnBrk="0" hangingPunct="1">
              <a:lnSpc>
                <a:spcPct val="110000"/>
              </a:lnSpc>
              <a:spcBef>
                <a:spcPts val="600"/>
              </a:spcBef>
              <a:spcAft>
                <a:spcPts val="600"/>
              </a:spcAft>
              <a:buClr>
                <a:schemeClr val="accent1"/>
              </a:buClr>
              <a:buFont typeface="Arial" panose="020B0604020202020204" pitchFamily="34" charset="0"/>
              <a:buNone/>
              <a:defRPr sz="2500" kern="1200">
                <a:solidFill>
                  <a:schemeClr val="tx1"/>
                </a:solidFill>
                <a:latin typeface="+mn-lt"/>
                <a:ea typeface="+mn-ea"/>
                <a:cs typeface="+mn-cs"/>
              </a:defRPr>
            </a:lvl5pPr>
            <a:lvl6pPr marL="361950" indent="-361950" algn="l" defTabSz="914400" rtl="0" eaLnBrk="1" latinLnBrk="0" hangingPunct="1">
              <a:lnSpc>
                <a:spcPct val="110000"/>
              </a:lnSpc>
              <a:spcBef>
                <a:spcPts val="600"/>
              </a:spcBef>
              <a:spcAft>
                <a:spcPts val="600"/>
              </a:spcAft>
              <a:buClr>
                <a:schemeClr val="accent1"/>
              </a:buClr>
              <a:buFontTx/>
              <a:buBlip>
                <a:blip r:embed="rId2"/>
              </a:buBlip>
              <a:defRPr sz="2500" kern="1200">
                <a:solidFill>
                  <a:schemeClr val="tx1"/>
                </a:solidFill>
                <a:latin typeface="+mn-lt"/>
                <a:ea typeface="+mn-ea"/>
                <a:cs typeface="+mn-cs"/>
              </a:defRPr>
            </a:lvl6pPr>
            <a:lvl7pPr marL="360000" indent="-360000" algn="l" defTabSz="914400" rtl="0" eaLnBrk="1" latinLnBrk="0" hangingPunct="1">
              <a:lnSpc>
                <a:spcPct val="110000"/>
              </a:lnSpc>
              <a:spcBef>
                <a:spcPts val="600"/>
              </a:spcBef>
              <a:spcAft>
                <a:spcPts val="600"/>
              </a:spcAft>
              <a:buClr>
                <a:schemeClr val="accent1"/>
              </a:buClr>
              <a:buFont typeface="+mj-lt"/>
              <a:buAutoNum type="arabicPeriod"/>
              <a:defRPr sz="2000" kern="1200">
                <a:solidFill>
                  <a:schemeClr val="tx1"/>
                </a:solidFill>
                <a:latin typeface="+mn-lt"/>
                <a:ea typeface="+mn-ea"/>
                <a:cs typeface="+mn-cs"/>
              </a:defRPr>
            </a:lvl7pPr>
            <a:lvl8pPr marL="714375" indent="-354013" algn="l" defTabSz="914400" rtl="0" eaLnBrk="1" latinLnBrk="0" hangingPunct="1">
              <a:lnSpc>
                <a:spcPct val="110000"/>
              </a:lnSpc>
              <a:spcBef>
                <a:spcPts val="600"/>
              </a:spcBef>
              <a:spcAft>
                <a:spcPts val="600"/>
              </a:spcAft>
              <a:buClr>
                <a:schemeClr val="accent1"/>
              </a:buClr>
              <a:buFontTx/>
              <a:buBlip>
                <a:blip r:embed="rId2"/>
              </a:buBlip>
              <a:defRPr sz="2000" kern="1200">
                <a:solidFill>
                  <a:schemeClr val="tx1"/>
                </a:solidFill>
                <a:latin typeface="+mn-lt"/>
                <a:ea typeface="+mn-ea"/>
                <a:cs typeface="+mn-cs"/>
              </a:defRPr>
            </a:lvl8pPr>
            <a:lvl9pPr marL="1076325" indent="-361950" algn="l" defTabSz="914400" rtl="0" eaLnBrk="1" latinLnBrk="0" hangingPunct="1">
              <a:lnSpc>
                <a:spcPct val="110000"/>
              </a:lnSpc>
              <a:spcBef>
                <a:spcPts val="600"/>
              </a:spcBef>
              <a:spcAft>
                <a:spcPts val="600"/>
              </a:spcAft>
              <a:buClr>
                <a:schemeClr val="accent1"/>
              </a:buClr>
              <a:buFontTx/>
              <a:buBlip>
                <a:blip r:embed="rId2"/>
              </a:buBlip>
              <a:defRPr sz="2000" kern="1200">
                <a:solidFill>
                  <a:schemeClr val="tx1"/>
                </a:solidFill>
                <a:latin typeface="+mn-lt"/>
                <a:ea typeface="+mn-ea"/>
                <a:cs typeface="+mn-cs"/>
              </a:defRPr>
            </a:lvl9pPr>
          </a:lstStyle>
          <a:p>
            <a:r>
              <a:rPr lang="de-DE"/>
              <a:t> </a:t>
            </a:r>
          </a:p>
        </p:txBody>
      </p:sp>
    </p:spTree>
    <p:extLst>
      <p:ext uri="{BB962C8B-B14F-4D97-AF65-F5344CB8AC3E}">
        <p14:creationId xmlns:p14="http://schemas.microsoft.com/office/powerpoint/2010/main" val="408464017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Divider | 2">
    <p:bg>
      <p:bgPr>
        <a:solidFill>
          <a:schemeClr val="accent2"/>
        </a:solidFill>
        <a:effectLst/>
      </p:bgPr>
    </p:bg>
    <p:spTree>
      <p:nvGrpSpPr>
        <p:cNvPr id="1" name=""/>
        <p:cNvGrpSpPr/>
        <p:nvPr/>
      </p:nvGrpSpPr>
      <p:grpSpPr>
        <a:xfrm>
          <a:off x="0" y="0"/>
          <a:ext cx="0" cy="0"/>
          <a:chOff x="0" y="0"/>
          <a:chExt cx="0" cy="0"/>
        </a:xfrm>
      </p:grpSpPr>
      <p:sp>
        <p:nvSpPr>
          <p:cNvPr id="3" name="Textplatzhalter 2"/>
          <p:cNvSpPr>
            <a:spLocks noGrp="1"/>
          </p:cNvSpPr>
          <p:nvPr>
            <p:ph type="body" idx="1" hasCustomPrompt="1"/>
          </p:nvPr>
        </p:nvSpPr>
        <p:spPr bwMode="gray">
          <a:xfrm>
            <a:off x="1092200" y="1412875"/>
            <a:ext cx="5111750" cy="4356385"/>
          </a:xfrm>
          <a:prstGeom prst="rect">
            <a:avLst/>
          </a:prstGeom>
        </p:spPr>
        <p:txBody>
          <a:bodyPr anchor="t"/>
          <a:lstStyle>
            <a:lvl1pPr marL="0" indent="0">
              <a:lnSpc>
                <a:spcPct val="100000"/>
              </a:lnSpc>
              <a:spcBef>
                <a:spcPts val="0"/>
              </a:spcBef>
              <a:buFont typeface="Yanone Kaffeesatz" pitchFamily="50" charset="0"/>
              <a:buNone/>
              <a:defRPr sz="3700" b="1" i="1" cap="none" baseline="0">
                <a:solidFill>
                  <a:schemeClr val="bg1"/>
                </a:solidFill>
                <a:latin typeface="Barlow ExtraBold" pitchFamily="2" charset="77"/>
              </a:defRPr>
            </a:lvl1pPr>
            <a:lvl2pPr marL="0" indent="0">
              <a:lnSpc>
                <a:spcPct val="110000"/>
              </a:lnSpc>
              <a:spcBef>
                <a:spcPts val="0"/>
              </a:spcBef>
              <a:spcAft>
                <a:spcPts val="0"/>
              </a:spcAft>
              <a:buNone/>
              <a:defRPr sz="2000">
                <a:solidFill>
                  <a:schemeClr val="bg1"/>
                </a:solidFill>
                <a:latin typeface="+mj-lt"/>
              </a:defRPr>
            </a:lvl2pPr>
            <a:lvl3pPr marL="0" indent="0">
              <a:lnSpc>
                <a:spcPct val="110000"/>
              </a:lnSpc>
              <a:spcBef>
                <a:spcPts val="0"/>
              </a:spcBef>
              <a:spcAft>
                <a:spcPts val="0"/>
              </a:spcAft>
              <a:buNone/>
              <a:defRPr sz="2000">
                <a:solidFill>
                  <a:schemeClr val="bg1"/>
                </a:solidFill>
                <a:latin typeface="+mj-lt"/>
              </a:defRPr>
            </a:lvl3pPr>
            <a:lvl4pPr marL="0" indent="0">
              <a:lnSpc>
                <a:spcPct val="110000"/>
              </a:lnSpc>
              <a:spcBef>
                <a:spcPts val="0"/>
              </a:spcBef>
              <a:spcAft>
                <a:spcPts val="0"/>
              </a:spcAft>
              <a:buNone/>
              <a:defRPr sz="2000">
                <a:solidFill>
                  <a:schemeClr val="bg1"/>
                </a:solidFill>
                <a:latin typeface="+mj-lt"/>
              </a:defRPr>
            </a:lvl4pPr>
            <a:lvl5pPr marL="0" indent="0">
              <a:lnSpc>
                <a:spcPct val="110000"/>
              </a:lnSpc>
              <a:spcBef>
                <a:spcPts val="0"/>
              </a:spcBef>
              <a:spcAft>
                <a:spcPts val="0"/>
              </a:spcAft>
              <a:buNone/>
              <a:defRPr sz="2000">
                <a:solidFill>
                  <a:schemeClr val="bg1"/>
                </a:solidFill>
                <a:latin typeface="+mj-lt"/>
              </a:defRPr>
            </a:lvl5pPr>
            <a:lvl6pPr marL="0" indent="0">
              <a:lnSpc>
                <a:spcPct val="110000"/>
              </a:lnSpc>
              <a:spcBef>
                <a:spcPts val="0"/>
              </a:spcBef>
              <a:spcAft>
                <a:spcPts val="0"/>
              </a:spcAft>
              <a:buNone/>
              <a:defRPr sz="2000">
                <a:solidFill>
                  <a:schemeClr val="bg1"/>
                </a:solidFill>
                <a:latin typeface="+mj-lt"/>
              </a:defRPr>
            </a:lvl6pPr>
            <a:lvl7pPr marL="0" indent="0">
              <a:lnSpc>
                <a:spcPct val="110000"/>
              </a:lnSpc>
              <a:spcBef>
                <a:spcPts val="0"/>
              </a:spcBef>
              <a:spcAft>
                <a:spcPts val="0"/>
              </a:spcAft>
              <a:buNone/>
              <a:defRPr sz="2000">
                <a:solidFill>
                  <a:schemeClr val="bg1"/>
                </a:solidFill>
                <a:latin typeface="+mj-lt"/>
              </a:defRPr>
            </a:lvl7pPr>
            <a:lvl8pPr marL="0" indent="0">
              <a:lnSpc>
                <a:spcPct val="110000"/>
              </a:lnSpc>
              <a:spcBef>
                <a:spcPts val="0"/>
              </a:spcBef>
              <a:spcAft>
                <a:spcPts val="0"/>
              </a:spcAft>
              <a:buNone/>
              <a:defRPr sz="2000">
                <a:solidFill>
                  <a:schemeClr val="bg1"/>
                </a:solidFill>
                <a:latin typeface="+mj-lt"/>
              </a:defRPr>
            </a:lvl8pPr>
            <a:lvl9pPr marL="0" indent="0">
              <a:lnSpc>
                <a:spcPct val="110000"/>
              </a:lnSpc>
              <a:spcBef>
                <a:spcPts val="0"/>
              </a:spcBef>
              <a:spcAft>
                <a:spcPts val="0"/>
              </a:spcAft>
              <a:buNone/>
              <a:defRPr sz="2000">
                <a:solidFill>
                  <a:schemeClr val="bg1"/>
                </a:solidFill>
                <a:latin typeface="+mj-lt"/>
              </a:defRPr>
            </a:lvl9pPr>
          </a:lstStyle>
          <a:p>
            <a:pPr lvl="0"/>
            <a:r>
              <a:rPr lang="de-DE" noProof="0" err="1"/>
              <a:t>Chapte</a:t>
            </a:r>
            <a:r>
              <a:rPr lang="de-DE" noProof="0"/>
              <a:t> </a:t>
            </a:r>
            <a:r>
              <a:rPr lang="de-DE" noProof="0" err="1"/>
              <a:t>r</a:t>
            </a:r>
            <a:r>
              <a:rPr lang="de-DE" noProof="0"/>
              <a:t> </a:t>
            </a:r>
            <a:r>
              <a:rPr lang="de-DE" noProof="0" err="1"/>
              <a:t>name</a:t>
            </a:r>
            <a:br>
              <a:rPr lang="de-DE" noProof="0"/>
            </a:br>
            <a:r>
              <a:rPr lang="de-DE" noProof="0"/>
              <a:t> (</a:t>
            </a:r>
            <a:r>
              <a:rPr lang="de-DE" noProof="0" err="1"/>
              <a:t>use</a:t>
            </a:r>
            <a:r>
              <a:rPr lang="de-DE" noProof="0"/>
              <a:t> </a:t>
            </a:r>
            <a:r>
              <a:rPr lang="de-DE" noProof="0" err="1"/>
              <a:t>the</a:t>
            </a:r>
            <a:r>
              <a:rPr lang="de-DE" noProof="0"/>
              <a:t> </a:t>
            </a:r>
            <a:r>
              <a:rPr lang="de-DE" noProof="0" err="1"/>
              <a:t>button</a:t>
            </a:r>
            <a:r>
              <a:rPr lang="de-DE" noProof="0"/>
              <a:t> “</a:t>
            </a:r>
            <a:r>
              <a:rPr lang="de-DE" noProof="0" err="1"/>
              <a:t>increase</a:t>
            </a:r>
            <a:r>
              <a:rPr lang="de-DE" noProof="0"/>
              <a:t> </a:t>
            </a:r>
            <a:r>
              <a:rPr lang="de-DE" noProof="0" err="1"/>
              <a:t>list</a:t>
            </a:r>
            <a:r>
              <a:rPr lang="de-DE" noProof="0"/>
              <a:t> </a:t>
            </a:r>
            <a:r>
              <a:rPr lang="de-DE" noProof="0" err="1"/>
              <a:t>level</a:t>
            </a:r>
            <a:r>
              <a:rPr lang="de-DE" noProof="0"/>
              <a:t>” </a:t>
            </a:r>
            <a:r>
              <a:rPr lang="de-DE" noProof="0" err="1"/>
              <a:t>to</a:t>
            </a:r>
            <a:r>
              <a:rPr lang="de-DE" noProof="0"/>
              <a:t> </a:t>
            </a:r>
            <a:r>
              <a:rPr lang="de-DE" noProof="0" err="1"/>
              <a:t>add</a:t>
            </a:r>
            <a:r>
              <a:rPr lang="de-DE" noProof="0"/>
              <a:t> optional </a:t>
            </a:r>
            <a:r>
              <a:rPr lang="de-DE" noProof="0" err="1"/>
              <a:t>information</a:t>
            </a:r>
            <a:r>
              <a:rPr lang="de-DE" noProof="0"/>
              <a:t>.)</a:t>
            </a:r>
          </a:p>
          <a:p>
            <a:pPr lvl="1"/>
            <a:r>
              <a:rPr lang="de-DE" noProof="0"/>
              <a:t>2. </a:t>
            </a:r>
            <a:r>
              <a:rPr lang="de-DE" noProof="0" err="1"/>
              <a:t>level</a:t>
            </a:r>
            <a:endParaRPr lang="de-DE" noProof="0"/>
          </a:p>
          <a:p>
            <a:pPr lvl="2"/>
            <a:r>
              <a:rPr lang="de-DE" noProof="0"/>
              <a:t>3. </a:t>
            </a:r>
            <a:r>
              <a:rPr lang="de-DE" noProof="0" err="1"/>
              <a:t>level</a:t>
            </a:r>
            <a:endParaRPr lang="de-DE" noProof="0"/>
          </a:p>
          <a:p>
            <a:pPr lvl="3"/>
            <a:r>
              <a:rPr lang="de-DE" noProof="0"/>
              <a:t>4. </a:t>
            </a:r>
            <a:r>
              <a:rPr lang="de-DE" noProof="0" err="1"/>
              <a:t>level</a:t>
            </a:r>
            <a:endParaRPr lang="de-DE" noProof="0"/>
          </a:p>
          <a:p>
            <a:pPr lvl="4"/>
            <a:r>
              <a:rPr lang="de-DE" noProof="0"/>
              <a:t>5. </a:t>
            </a:r>
            <a:r>
              <a:rPr lang="de-DE" noProof="0" err="1"/>
              <a:t>level</a:t>
            </a:r>
            <a:endParaRPr lang="de-DE" noProof="0"/>
          </a:p>
          <a:p>
            <a:pPr lvl="5"/>
            <a:r>
              <a:rPr lang="de-DE" noProof="0"/>
              <a:t>6. </a:t>
            </a:r>
            <a:r>
              <a:rPr lang="de-DE" noProof="0" err="1"/>
              <a:t>level</a:t>
            </a:r>
            <a:endParaRPr lang="de-DE" noProof="0"/>
          </a:p>
          <a:p>
            <a:pPr lvl="6"/>
            <a:r>
              <a:rPr lang="de-DE" noProof="0"/>
              <a:t>7. </a:t>
            </a:r>
            <a:r>
              <a:rPr lang="de-DE" noProof="0" err="1"/>
              <a:t>level</a:t>
            </a:r>
            <a:endParaRPr lang="de-DE" noProof="0"/>
          </a:p>
          <a:p>
            <a:pPr lvl="7"/>
            <a:r>
              <a:rPr lang="de-DE" noProof="0"/>
              <a:t>8. </a:t>
            </a:r>
            <a:r>
              <a:rPr lang="de-DE" noProof="0" err="1"/>
              <a:t>level</a:t>
            </a:r>
            <a:endParaRPr lang="de-DE" noProof="0"/>
          </a:p>
          <a:p>
            <a:pPr lvl="8"/>
            <a:r>
              <a:rPr lang="de-DE" noProof="0"/>
              <a:t>9. </a:t>
            </a:r>
            <a:r>
              <a:rPr lang="de-DE" noProof="0" err="1"/>
              <a:t>level</a:t>
            </a:r>
            <a:endParaRPr lang="de-DE" noProof="0"/>
          </a:p>
        </p:txBody>
      </p:sp>
      <p:sp>
        <p:nvSpPr>
          <p:cNvPr id="2" name="Fußzeilenplatzhalter 1">
            <a:extLst>
              <a:ext uri="{FF2B5EF4-FFF2-40B4-BE49-F238E27FC236}">
                <a16:creationId xmlns:a16="http://schemas.microsoft.com/office/drawing/2014/main" id="{F62F0615-8843-8C57-5CE6-0C378000552A}"/>
              </a:ext>
            </a:extLst>
          </p:cNvPr>
          <p:cNvSpPr>
            <a:spLocks noGrp="1"/>
          </p:cNvSpPr>
          <p:nvPr>
            <p:ph type="ftr" sz="quarter" idx="10"/>
          </p:nvPr>
        </p:nvSpPr>
        <p:spPr bwMode="gray"/>
        <p:txBody>
          <a:bodyPr/>
          <a:lstStyle>
            <a:lvl1pPr>
              <a:defRPr>
                <a:solidFill>
                  <a:schemeClr val="bg1"/>
                </a:solidFill>
              </a:defRPr>
            </a:lvl1pPr>
          </a:lstStyle>
          <a:p>
            <a:r>
              <a:rPr lang="de-DE"/>
              <a:t>Date dd.mm.yyyy  |  Security label</a:t>
            </a:r>
          </a:p>
        </p:txBody>
      </p:sp>
      <p:sp>
        <p:nvSpPr>
          <p:cNvPr id="6" name="Titel 5">
            <a:extLst>
              <a:ext uri="{FF2B5EF4-FFF2-40B4-BE49-F238E27FC236}">
                <a16:creationId xmlns:a16="http://schemas.microsoft.com/office/drawing/2014/main" id="{7BC2A7C5-70DF-273F-56BF-981269B7883A}"/>
              </a:ext>
            </a:extLst>
          </p:cNvPr>
          <p:cNvSpPr>
            <a:spLocks noGrp="1"/>
          </p:cNvSpPr>
          <p:nvPr>
            <p:ph type="title" hasCustomPrompt="1"/>
          </p:nvPr>
        </p:nvSpPr>
        <p:spPr bwMode="gray">
          <a:xfrm>
            <a:off x="6203950" y="2816932"/>
            <a:ext cx="6228754" cy="4041068"/>
          </a:xfrm>
        </p:spPr>
        <p:txBody>
          <a:bodyPr anchor="ctr">
            <a:noAutofit/>
          </a:bodyPr>
          <a:lstStyle>
            <a:lvl1pPr algn="r">
              <a:lnSpc>
                <a:spcPct val="100000"/>
              </a:lnSpc>
              <a:defRPr sz="40000" i="0">
                <a:solidFill>
                  <a:schemeClr val="bg1"/>
                </a:solidFill>
              </a:defRPr>
            </a:lvl1pPr>
          </a:lstStyle>
          <a:p>
            <a:r>
              <a:rPr lang="de-DE"/>
              <a:t>00</a:t>
            </a:r>
          </a:p>
        </p:txBody>
      </p:sp>
      <p:sp>
        <p:nvSpPr>
          <p:cNvPr id="5" name="Freihandform: Form 459">
            <a:extLst>
              <a:ext uri="{FF2B5EF4-FFF2-40B4-BE49-F238E27FC236}">
                <a16:creationId xmlns:a16="http://schemas.microsoft.com/office/drawing/2014/main" id="{11565787-C7C6-55FE-90B9-FF20083BA7CA}"/>
              </a:ext>
            </a:extLst>
          </p:cNvPr>
          <p:cNvSpPr txBox="1">
            <a:spLocks noChangeAspect="1"/>
          </p:cNvSpPr>
          <p:nvPr userDrawn="1"/>
        </p:nvSpPr>
        <p:spPr bwMode="gray">
          <a:xfrm>
            <a:off x="11352648" y="307218"/>
            <a:ext cx="576000" cy="313470"/>
          </a:xfrm>
          <a:custGeom>
            <a:avLst/>
            <a:gdLst>
              <a:gd name="connsiteX0" fmla="*/ 471895 w 4139828"/>
              <a:gd name="connsiteY0" fmla="*/ 507 h 2242189"/>
              <a:gd name="connsiteX1" fmla="*/ 1132548 w 4139828"/>
              <a:gd name="connsiteY1" fmla="*/ 507 h 2242189"/>
              <a:gd name="connsiteX2" fmla="*/ 1179737 w 4139828"/>
              <a:gd name="connsiteY2" fmla="*/ 47691 h 2242189"/>
              <a:gd name="connsiteX3" fmla="*/ 1179737 w 4139828"/>
              <a:gd name="connsiteY3" fmla="*/ 425671 h 2242189"/>
              <a:gd name="connsiteX4" fmla="*/ 1132548 w 4139828"/>
              <a:gd name="connsiteY4" fmla="*/ 472855 h 2242189"/>
              <a:gd name="connsiteX5" fmla="*/ 659508 w 4139828"/>
              <a:gd name="connsiteY5" fmla="*/ 472855 h 2242189"/>
              <a:gd name="connsiteX6" fmla="*/ 470750 w 4139828"/>
              <a:gd name="connsiteY6" fmla="*/ 661591 h 2242189"/>
              <a:gd name="connsiteX7" fmla="*/ 470750 w 4139828"/>
              <a:gd name="connsiteY7" fmla="*/ 728742 h 2242189"/>
              <a:gd name="connsiteX8" fmla="*/ 494281 w 4139828"/>
              <a:gd name="connsiteY8" fmla="*/ 752270 h 2242189"/>
              <a:gd name="connsiteX9" fmla="*/ 800059 w 4139828"/>
              <a:gd name="connsiteY9" fmla="*/ 752270 h 2242189"/>
              <a:gd name="connsiteX10" fmla="*/ 847248 w 4139828"/>
              <a:gd name="connsiteY10" fmla="*/ 799454 h 2242189"/>
              <a:gd name="connsiteX11" fmla="*/ 847248 w 4139828"/>
              <a:gd name="connsiteY11" fmla="*/ 1081668 h 2242189"/>
              <a:gd name="connsiteX12" fmla="*/ 800059 w 4139828"/>
              <a:gd name="connsiteY12" fmla="*/ 1128852 h 2242189"/>
              <a:gd name="connsiteX13" fmla="*/ 494281 w 4139828"/>
              <a:gd name="connsiteY13" fmla="*/ 1128852 h 2242189"/>
              <a:gd name="connsiteX14" fmla="*/ 470750 w 4139828"/>
              <a:gd name="connsiteY14" fmla="*/ 1152380 h 2242189"/>
              <a:gd name="connsiteX15" fmla="*/ 470750 w 4139828"/>
              <a:gd name="connsiteY15" fmla="*/ 1227671 h 2242189"/>
              <a:gd name="connsiteX16" fmla="*/ 659508 w 4139828"/>
              <a:gd name="connsiteY16" fmla="*/ 1416406 h 2242189"/>
              <a:gd name="connsiteX17" fmla="*/ 1297775 w 4139828"/>
              <a:gd name="connsiteY17" fmla="*/ 1416406 h 2242189"/>
              <a:gd name="connsiteX18" fmla="*/ 1297775 w 4139828"/>
              <a:gd name="connsiteY18" fmla="*/ 1413100 h 2242189"/>
              <a:gd name="connsiteX19" fmla="*/ 1297775 w 4139828"/>
              <a:gd name="connsiteY19" fmla="*/ 472728 h 2242189"/>
              <a:gd name="connsiteX20" fmla="*/ 1769797 w 4139828"/>
              <a:gd name="connsiteY20" fmla="*/ 889 h 2242189"/>
              <a:gd name="connsiteX21" fmla="*/ 2359729 w 4139828"/>
              <a:gd name="connsiteY21" fmla="*/ 889 h 2242189"/>
              <a:gd name="connsiteX22" fmla="*/ 2831624 w 4139828"/>
              <a:gd name="connsiteY22" fmla="*/ 472728 h 2242189"/>
              <a:gd name="connsiteX23" fmla="*/ 2831624 w 4139828"/>
              <a:gd name="connsiteY23" fmla="*/ 2195005 h 2242189"/>
              <a:gd name="connsiteX24" fmla="*/ 2784434 w 4139828"/>
              <a:gd name="connsiteY24" fmla="*/ 2242189 h 2242189"/>
              <a:gd name="connsiteX25" fmla="*/ 2408063 w 4139828"/>
              <a:gd name="connsiteY25" fmla="*/ 2242189 h 2242189"/>
              <a:gd name="connsiteX26" fmla="*/ 2360874 w 4139828"/>
              <a:gd name="connsiteY26" fmla="*/ 2195005 h 2242189"/>
              <a:gd name="connsiteX27" fmla="*/ 2360874 w 4139828"/>
              <a:gd name="connsiteY27" fmla="*/ 661336 h 2242189"/>
              <a:gd name="connsiteX28" fmla="*/ 2172116 w 4139828"/>
              <a:gd name="connsiteY28" fmla="*/ 472601 h 2242189"/>
              <a:gd name="connsiteX29" fmla="*/ 1957410 w 4139828"/>
              <a:gd name="connsiteY29" fmla="*/ 472601 h 2242189"/>
              <a:gd name="connsiteX30" fmla="*/ 1768652 w 4139828"/>
              <a:gd name="connsiteY30" fmla="*/ 661336 h 2242189"/>
              <a:gd name="connsiteX31" fmla="*/ 1768652 w 4139828"/>
              <a:gd name="connsiteY31" fmla="*/ 1227671 h 2242189"/>
              <a:gd name="connsiteX32" fmla="*/ 1957410 w 4139828"/>
              <a:gd name="connsiteY32" fmla="*/ 1416406 h 2242189"/>
              <a:gd name="connsiteX33" fmla="*/ 2219305 w 4139828"/>
              <a:gd name="connsiteY33" fmla="*/ 1416406 h 2242189"/>
              <a:gd name="connsiteX34" fmla="*/ 2242963 w 4139828"/>
              <a:gd name="connsiteY34" fmla="*/ 1439935 h 2242189"/>
              <a:gd name="connsiteX35" fmla="*/ 2242963 w 4139828"/>
              <a:gd name="connsiteY35" fmla="*/ 1864717 h 2242189"/>
              <a:gd name="connsiteX36" fmla="*/ 2219305 w 4139828"/>
              <a:gd name="connsiteY36" fmla="*/ 1888246 h 2242189"/>
              <a:gd name="connsiteX37" fmla="*/ 472022 w 4139828"/>
              <a:gd name="connsiteY37" fmla="*/ 1888246 h 2242189"/>
              <a:gd name="connsiteX38" fmla="*/ 0 w 4139828"/>
              <a:gd name="connsiteY38" fmla="*/ 1416406 h 2242189"/>
              <a:gd name="connsiteX39" fmla="*/ 0 w 4139828"/>
              <a:gd name="connsiteY39" fmla="*/ 472346 h 2242189"/>
              <a:gd name="connsiteX40" fmla="*/ 471895 w 4139828"/>
              <a:gd name="connsiteY40" fmla="*/ 507 h 2242189"/>
              <a:gd name="connsiteX41" fmla="*/ 3422701 w 4139828"/>
              <a:gd name="connsiteY41" fmla="*/ 0 h 2242189"/>
              <a:gd name="connsiteX42" fmla="*/ 4021918 w 4139828"/>
              <a:gd name="connsiteY42" fmla="*/ 0 h 2242189"/>
              <a:gd name="connsiteX43" fmla="*/ 4069108 w 4139828"/>
              <a:gd name="connsiteY43" fmla="*/ 47184 h 2242189"/>
              <a:gd name="connsiteX44" fmla="*/ 4069108 w 4139828"/>
              <a:gd name="connsiteY44" fmla="*/ 425546 h 2242189"/>
              <a:gd name="connsiteX45" fmla="*/ 4021918 w 4139828"/>
              <a:gd name="connsiteY45" fmla="*/ 472730 h 2242189"/>
              <a:gd name="connsiteX46" fmla="*/ 3532979 w 4139828"/>
              <a:gd name="connsiteY46" fmla="*/ 472730 h 2242189"/>
              <a:gd name="connsiteX47" fmla="*/ 3532852 w 4139828"/>
              <a:gd name="connsiteY47" fmla="*/ 472857 h 2242189"/>
              <a:gd name="connsiteX48" fmla="*/ 3488969 w 4139828"/>
              <a:gd name="connsiteY48" fmla="*/ 599147 h 2242189"/>
              <a:gd name="connsiteX49" fmla="*/ 3904008 w 4139828"/>
              <a:gd name="connsiteY49" fmla="*/ 927781 h 2242189"/>
              <a:gd name="connsiteX50" fmla="*/ 4139828 w 4139828"/>
              <a:gd name="connsiteY50" fmla="*/ 1415391 h 2242189"/>
              <a:gd name="connsiteX51" fmla="*/ 4001312 w 4139828"/>
              <a:gd name="connsiteY51" fmla="*/ 1749875 h 2242189"/>
              <a:gd name="connsiteX52" fmla="*/ 3666916 w 4139828"/>
              <a:gd name="connsiteY52" fmla="*/ 1888375 h 2242189"/>
              <a:gd name="connsiteX53" fmla="*/ 2973319 w 4139828"/>
              <a:gd name="connsiteY53" fmla="*/ 1888375 h 2242189"/>
              <a:gd name="connsiteX54" fmla="*/ 2949788 w 4139828"/>
              <a:gd name="connsiteY54" fmla="*/ 1864846 h 2242189"/>
              <a:gd name="connsiteX55" fmla="*/ 2949788 w 4139828"/>
              <a:gd name="connsiteY55" fmla="*/ 1439173 h 2242189"/>
              <a:gd name="connsiteX56" fmla="*/ 2973319 w 4139828"/>
              <a:gd name="connsiteY56" fmla="*/ 1415518 h 2242189"/>
              <a:gd name="connsiteX57" fmla="*/ 3556637 w 4139828"/>
              <a:gd name="connsiteY57" fmla="*/ 1415518 h 2242189"/>
              <a:gd name="connsiteX58" fmla="*/ 3600520 w 4139828"/>
              <a:gd name="connsiteY58" fmla="*/ 1289228 h 2242189"/>
              <a:gd name="connsiteX59" fmla="*/ 3185481 w 4139828"/>
              <a:gd name="connsiteY59" fmla="*/ 960594 h 2242189"/>
              <a:gd name="connsiteX60" fmla="*/ 2949661 w 4139828"/>
              <a:gd name="connsiteY60" fmla="*/ 472984 h 2242189"/>
              <a:gd name="connsiteX61" fmla="*/ 3422701 w 4139828"/>
              <a:gd name="connsiteY61" fmla="*/ 0 h 22421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4139828" h="2242189">
                <a:moveTo>
                  <a:pt x="471895" y="507"/>
                </a:moveTo>
                <a:lnTo>
                  <a:pt x="1132548" y="507"/>
                </a:lnTo>
                <a:cubicBezTo>
                  <a:pt x="1158623" y="507"/>
                  <a:pt x="1179737" y="21619"/>
                  <a:pt x="1179737" y="47691"/>
                </a:cubicBezTo>
                <a:lnTo>
                  <a:pt x="1179737" y="425671"/>
                </a:lnTo>
                <a:cubicBezTo>
                  <a:pt x="1179737" y="451743"/>
                  <a:pt x="1158623" y="472855"/>
                  <a:pt x="1132548" y="472855"/>
                </a:cubicBezTo>
                <a:lnTo>
                  <a:pt x="659508" y="472855"/>
                </a:lnTo>
                <a:cubicBezTo>
                  <a:pt x="555208" y="472855"/>
                  <a:pt x="470750" y="557303"/>
                  <a:pt x="470750" y="661591"/>
                </a:cubicBezTo>
                <a:lnTo>
                  <a:pt x="470750" y="728742"/>
                </a:lnTo>
                <a:cubicBezTo>
                  <a:pt x="470750" y="741714"/>
                  <a:pt x="481307" y="752270"/>
                  <a:pt x="494281" y="752270"/>
                </a:cubicBezTo>
                <a:lnTo>
                  <a:pt x="800059" y="752270"/>
                </a:lnTo>
                <a:cubicBezTo>
                  <a:pt x="826134" y="752270"/>
                  <a:pt x="847248" y="773382"/>
                  <a:pt x="847248" y="799454"/>
                </a:cubicBezTo>
                <a:lnTo>
                  <a:pt x="847248" y="1081668"/>
                </a:lnTo>
                <a:cubicBezTo>
                  <a:pt x="847248" y="1107740"/>
                  <a:pt x="826134" y="1128852"/>
                  <a:pt x="800059" y="1128852"/>
                </a:cubicBezTo>
                <a:lnTo>
                  <a:pt x="494281" y="1128852"/>
                </a:lnTo>
                <a:cubicBezTo>
                  <a:pt x="481307" y="1128852"/>
                  <a:pt x="470750" y="1139408"/>
                  <a:pt x="470750" y="1152380"/>
                </a:cubicBezTo>
                <a:lnTo>
                  <a:pt x="470750" y="1227671"/>
                </a:lnTo>
                <a:cubicBezTo>
                  <a:pt x="470750" y="1331832"/>
                  <a:pt x="555208" y="1416406"/>
                  <a:pt x="659508" y="1416406"/>
                </a:cubicBezTo>
                <a:lnTo>
                  <a:pt x="1297775" y="1416406"/>
                </a:lnTo>
                <a:cubicBezTo>
                  <a:pt x="1297775" y="1415389"/>
                  <a:pt x="1297775" y="1414244"/>
                  <a:pt x="1297775" y="1413100"/>
                </a:cubicBezTo>
                <a:lnTo>
                  <a:pt x="1297775" y="472728"/>
                </a:lnTo>
                <a:cubicBezTo>
                  <a:pt x="1297775" y="212135"/>
                  <a:pt x="1509173" y="889"/>
                  <a:pt x="1769797" y="889"/>
                </a:cubicBezTo>
                <a:lnTo>
                  <a:pt x="2359729" y="889"/>
                </a:lnTo>
                <a:cubicBezTo>
                  <a:pt x="2620352" y="889"/>
                  <a:pt x="2831624" y="212135"/>
                  <a:pt x="2831624" y="472728"/>
                </a:cubicBezTo>
                <a:lnTo>
                  <a:pt x="2831624" y="2195005"/>
                </a:lnTo>
                <a:cubicBezTo>
                  <a:pt x="2831624" y="2221077"/>
                  <a:pt x="2810509" y="2242189"/>
                  <a:pt x="2784434" y="2242189"/>
                </a:cubicBezTo>
                <a:lnTo>
                  <a:pt x="2408063" y="2242189"/>
                </a:lnTo>
                <a:cubicBezTo>
                  <a:pt x="2381988" y="2242189"/>
                  <a:pt x="2360874" y="2221077"/>
                  <a:pt x="2360874" y="2195005"/>
                </a:cubicBezTo>
                <a:lnTo>
                  <a:pt x="2360874" y="661336"/>
                </a:lnTo>
                <a:cubicBezTo>
                  <a:pt x="2360874" y="557176"/>
                  <a:pt x="2276289" y="472601"/>
                  <a:pt x="2172116" y="472601"/>
                </a:cubicBezTo>
                <a:lnTo>
                  <a:pt x="1957410" y="472601"/>
                </a:lnTo>
                <a:cubicBezTo>
                  <a:pt x="1853110" y="472601"/>
                  <a:pt x="1768652" y="557176"/>
                  <a:pt x="1768652" y="661336"/>
                </a:cubicBezTo>
                <a:lnTo>
                  <a:pt x="1768652" y="1227671"/>
                </a:lnTo>
                <a:cubicBezTo>
                  <a:pt x="1768652" y="1331832"/>
                  <a:pt x="1853110" y="1416406"/>
                  <a:pt x="1957410" y="1416406"/>
                </a:cubicBezTo>
                <a:lnTo>
                  <a:pt x="2219305" y="1416406"/>
                </a:lnTo>
                <a:cubicBezTo>
                  <a:pt x="2232406" y="1416406"/>
                  <a:pt x="2242963" y="1426962"/>
                  <a:pt x="2242963" y="1439935"/>
                </a:cubicBezTo>
                <a:lnTo>
                  <a:pt x="2242963" y="1864717"/>
                </a:lnTo>
                <a:cubicBezTo>
                  <a:pt x="2242963" y="1877690"/>
                  <a:pt x="2232406" y="1888246"/>
                  <a:pt x="2219305" y="1888246"/>
                </a:cubicBezTo>
                <a:lnTo>
                  <a:pt x="472022" y="1888246"/>
                </a:lnTo>
                <a:cubicBezTo>
                  <a:pt x="211272" y="1888246"/>
                  <a:pt x="0" y="1676999"/>
                  <a:pt x="0" y="1416406"/>
                </a:cubicBezTo>
                <a:lnTo>
                  <a:pt x="0" y="472346"/>
                </a:lnTo>
                <a:cubicBezTo>
                  <a:pt x="0" y="211754"/>
                  <a:pt x="211272" y="507"/>
                  <a:pt x="471895" y="507"/>
                </a:cubicBezTo>
                <a:close/>
                <a:moveTo>
                  <a:pt x="3422701" y="0"/>
                </a:moveTo>
                <a:lnTo>
                  <a:pt x="4021918" y="0"/>
                </a:lnTo>
                <a:cubicBezTo>
                  <a:pt x="4047993" y="0"/>
                  <a:pt x="4069108" y="21112"/>
                  <a:pt x="4069108" y="47184"/>
                </a:cubicBezTo>
                <a:lnTo>
                  <a:pt x="4069108" y="425546"/>
                </a:lnTo>
                <a:cubicBezTo>
                  <a:pt x="4069108" y="451618"/>
                  <a:pt x="4047993" y="472730"/>
                  <a:pt x="4021918" y="472730"/>
                </a:cubicBezTo>
                <a:lnTo>
                  <a:pt x="3532979" y="472730"/>
                </a:lnTo>
                <a:lnTo>
                  <a:pt x="3532852" y="472857"/>
                </a:lnTo>
                <a:cubicBezTo>
                  <a:pt x="3465693" y="472857"/>
                  <a:pt x="3436311" y="557432"/>
                  <a:pt x="3488969" y="599147"/>
                </a:cubicBezTo>
                <a:lnTo>
                  <a:pt x="3904008" y="927781"/>
                </a:lnTo>
                <a:cubicBezTo>
                  <a:pt x="4052954" y="1045804"/>
                  <a:pt x="4139828" y="1225383"/>
                  <a:pt x="4139828" y="1415391"/>
                </a:cubicBezTo>
                <a:cubicBezTo>
                  <a:pt x="4139828" y="1546005"/>
                  <a:pt x="4086915" y="1664156"/>
                  <a:pt x="4001312" y="1749875"/>
                </a:cubicBezTo>
                <a:cubicBezTo>
                  <a:pt x="3915710" y="1835468"/>
                  <a:pt x="3797418" y="1888375"/>
                  <a:pt x="3666916" y="1888375"/>
                </a:cubicBezTo>
                <a:lnTo>
                  <a:pt x="2973319" y="1888375"/>
                </a:lnTo>
                <a:cubicBezTo>
                  <a:pt x="2960346" y="1888375"/>
                  <a:pt x="2949788" y="1877819"/>
                  <a:pt x="2949788" y="1864846"/>
                </a:cubicBezTo>
                <a:lnTo>
                  <a:pt x="2949788" y="1439173"/>
                </a:lnTo>
                <a:cubicBezTo>
                  <a:pt x="2949788" y="1426201"/>
                  <a:pt x="2960346" y="1415518"/>
                  <a:pt x="2973319" y="1415518"/>
                </a:cubicBezTo>
                <a:lnTo>
                  <a:pt x="3556637" y="1415518"/>
                </a:lnTo>
                <a:cubicBezTo>
                  <a:pt x="3623797" y="1415518"/>
                  <a:pt x="3653179" y="1330943"/>
                  <a:pt x="3600520" y="1289228"/>
                </a:cubicBezTo>
                <a:lnTo>
                  <a:pt x="3185481" y="960594"/>
                </a:lnTo>
                <a:cubicBezTo>
                  <a:pt x="3036535" y="842570"/>
                  <a:pt x="2949661" y="662991"/>
                  <a:pt x="2949661" y="472984"/>
                </a:cubicBezTo>
                <a:cubicBezTo>
                  <a:pt x="2949661" y="211755"/>
                  <a:pt x="3161441" y="0"/>
                  <a:pt x="3422701" y="0"/>
                </a:cubicBezTo>
                <a:close/>
              </a:path>
            </a:pathLst>
          </a:custGeom>
          <a:solidFill>
            <a:schemeClr val="bg1"/>
          </a:solidFill>
          <a:ln w="127">
            <a:solidFill>
              <a:schemeClr val="bg1">
                <a:alpha val="0"/>
              </a:schemeClr>
            </a:solidFill>
          </a:ln>
        </p:spPr>
        <p:txBody>
          <a:bodyPr wrap="square">
            <a:noAutofit/>
          </a:bodyPr>
          <a:lstStyle>
            <a:lvl1pPr marL="0" indent="0" algn="l" defTabSz="914400" rtl="0" eaLnBrk="1" latinLnBrk="0" hangingPunct="1">
              <a:lnSpc>
                <a:spcPct val="110000"/>
              </a:lnSpc>
              <a:spcBef>
                <a:spcPts val="600"/>
              </a:spcBef>
              <a:spcAft>
                <a:spcPts val="600"/>
              </a:spcAft>
              <a:buFont typeface="Arial" panose="020B0604020202020204" pitchFamily="34" charset="0"/>
              <a:buNone/>
              <a:defRPr sz="2000" b="1" kern="1200">
                <a:solidFill>
                  <a:schemeClr val="tx1"/>
                </a:solidFill>
                <a:latin typeface="+mj-lt"/>
                <a:ea typeface="+mn-ea"/>
                <a:cs typeface="+mn-cs"/>
              </a:defRPr>
            </a:lvl1pPr>
            <a:lvl2pPr marL="0" indent="0" algn="l" defTabSz="914400" rtl="0" eaLnBrk="1" latinLnBrk="0" hangingPunct="1">
              <a:lnSpc>
                <a:spcPct val="110000"/>
              </a:lnSpc>
              <a:spcBef>
                <a:spcPts val="600"/>
              </a:spcBef>
              <a:spcAft>
                <a:spcPts val="600"/>
              </a:spcAft>
              <a:buFont typeface="Arial" panose="020B0604020202020204" pitchFamily="34" charset="0"/>
              <a:buNone/>
              <a:defRPr sz="2000" kern="1200">
                <a:solidFill>
                  <a:schemeClr val="tx1"/>
                </a:solidFill>
                <a:latin typeface="+mn-lt"/>
                <a:ea typeface="+mn-ea"/>
                <a:cs typeface="+mn-cs"/>
              </a:defRPr>
            </a:lvl2pPr>
            <a:lvl3pPr marL="361950" indent="-361950" algn="l" defTabSz="914400" rtl="0" eaLnBrk="1" latinLnBrk="0" hangingPunct="1">
              <a:lnSpc>
                <a:spcPct val="110000"/>
              </a:lnSpc>
              <a:spcBef>
                <a:spcPts val="600"/>
              </a:spcBef>
              <a:spcAft>
                <a:spcPts val="600"/>
              </a:spcAft>
              <a:buClr>
                <a:schemeClr val="accent1"/>
              </a:buClr>
              <a:buFontTx/>
              <a:buBlip>
                <a:blip r:embed="rId2"/>
              </a:buBlip>
              <a:defRPr sz="2000" kern="1200">
                <a:solidFill>
                  <a:schemeClr val="tx1"/>
                </a:solidFill>
                <a:latin typeface="+mn-lt"/>
                <a:ea typeface="+mn-ea"/>
                <a:cs typeface="+mn-cs"/>
              </a:defRPr>
            </a:lvl3pPr>
            <a:lvl4pPr marL="714375" indent="-352425" algn="l" defTabSz="914400" rtl="0" eaLnBrk="1" latinLnBrk="0" hangingPunct="1">
              <a:lnSpc>
                <a:spcPct val="110000"/>
              </a:lnSpc>
              <a:spcBef>
                <a:spcPts val="600"/>
              </a:spcBef>
              <a:spcAft>
                <a:spcPts val="600"/>
              </a:spcAft>
              <a:buClr>
                <a:schemeClr val="accent1"/>
              </a:buClr>
              <a:buFontTx/>
              <a:buBlip>
                <a:blip r:embed="rId2"/>
              </a:buBlip>
              <a:defRPr sz="2000" kern="1200">
                <a:solidFill>
                  <a:schemeClr val="tx1"/>
                </a:solidFill>
                <a:latin typeface="+mn-lt"/>
                <a:ea typeface="+mn-ea"/>
                <a:cs typeface="+mn-cs"/>
              </a:defRPr>
            </a:lvl4pPr>
            <a:lvl5pPr marL="0" indent="0" algn="l" defTabSz="914400" rtl="0" eaLnBrk="1" latinLnBrk="0" hangingPunct="1">
              <a:lnSpc>
                <a:spcPct val="110000"/>
              </a:lnSpc>
              <a:spcBef>
                <a:spcPts val="600"/>
              </a:spcBef>
              <a:spcAft>
                <a:spcPts val="600"/>
              </a:spcAft>
              <a:buClr>
                <a:schemeClr val="accent1"/>
              </a:buClr>
              <a:buFont typeface="Arial" panose="020B0604020202020204" pitchFamily="34" charset="0"/>
              <a:buNone/>
              <a:defRPr sz="2500" kern="1200">
                <a:solidFill>
                  <a:schemeClr val="tx1"/>
                </a:solidFill>
                <a:latin typeface="+mn-lt"/>
                <a:ea typeface="+mn-ea"/>
                <a:cs typeface="+mn-cs"/>
              </a:defRPr>
            </a:lvl5pPr>
            <a:lvl6pPr marL="361950" indent="-361950" algn="l" defTabSz="914400" rtl="0" eaLnBrk="1" latinLnBrk="0" hangingPunct="1">
              <a:lnSpc>
                <a:spcPct val="110000"/>
              </a:lnSpc>
              <a:spcBef>
                <a:spcPts val="600"/>
              </a:spcBef>
              <a:spcAft>
                <a:spcPts val="600"/>
              </a:spcAft>
              <a:buClr>
                <a:schemeClr val="accent1"/>
              </a:buClr>
              <a:buFontTx/>
              <a:buBlip>
                <a:blip r:embed="rId2"/>
              </a:buBlip>
              <a:defRPr sz="2500" kern="1200">
                <a:solidFill>
                  <a:schemeClr val="tx1"/>
                </a:solidFill>
                <a:latin typeface="+mn-lt"/>
                <a:ea typeface="+mn-ea"/>
                <a:cs typeface="+mn-cs"/>
              </a:defRPr>
            </a:lvl6pPr>
            <a:lvl7pPr marL="360000" indent="-360000" algn="l" defTabSz="914400" rtl="0" eaLnBrk="1" latinLnBrk="0" hangingPunct="1">
              <a:lnSpc>
                <a:spcPct val="110000"/>
              </a:lnSpc>
              <a:spcBef>
                <a:spcPts val="600"/>
              </a:spcBef>
              <a:spcAft>
                <a:spcPts val="600"/>
              </a:spcAft>
              <a:buClr>
                <a:schemeClr val="accent1"/>
              </a:buClr>
              <a:buFont typeface="+mj-lt"/>
              <a:buAutoNum type="arabicPeriod"/>
              <a:defRPr sz="2000" kern="1200">
                <a:solidFill>
                  <a:schemeClr val="tx1"/>
                </a:solidFill>
                <a:latin typeface="+mn-lt"/>
                <a:ea typeface="+mn-ea"/>
                <a:cs typeface="+mn-cs"/>
              </a:defRPr>
            </a:lvl7pPr>
            <a:lvl8pPr marL="714375" indent="-354013" algn="l" defTabSz="914400" rtl="0" eaLnBrk="1" latinLnBrk="0" hangingPunct="1">
              <a:lnSpc>
                <a:spcPct val="110000"/>
              </a:lnSpc>
              <a:spcBef>
                <a:spcPts val="600"/>
              </a:spcBef>
              <a:spcAft>
                <a:spcPts val="600"/>
              </a:spcAft>
              <a:buClr>
                <a:schemeClr val="accent1"/>
              </a:buClr>
              <a:buFontTx/>
              <a:buBlip>
                <a:blip r:embed="rId2"/>
              </a:buBlip>
              <a:defRPr sz="2000" kern="1200">
                <a:solidFill>
                  <a:schemeClr val="tx1"/>
                </a:solidFill>
                <a:latin typeface="+mn-lt"/>
                <a:ea typeface="+mn-ea"/>
                <a:cs typeface="+mn-cs"/>
              </a:defRPr>
            </a:lvl8pPr>
            <a:lvl9pPr marL="1076325" indent="-361950" algn="l" defTabSz="914400" rtl="0" eaLnBrk="1" latinLnBrk="0" hangingPunct="1">
              <a:lnSpc>
                <a:spcPct val="110000"/>
              </a:lnSpc>
              <a:spcBef>
                <a:spcPts val="600"/>
              </a:spcBef>
              <a:spcAft>
                <a:spcPts val="600"/>
              </a:spcAft>
              <a:buClr>
                <a:schemeClr val="accent1"/>
              </a:buClr>
              <a:buFontTx/>
              <a:buBlip>
                <a:blip r:embed="rId2"/>
              </a:buBlip>
              <a:defRPr sz="2000" kern="1200">
                <a:solidFill>
                  <a:schemeClr val="tx1"/>
                </a:solidFill>
                <a:latin typeface="+mn-lt"/>
                <a:ea typeface="+mn-ea"/>
                <a:cs typeface="+mn-cs"/>
              </a:defRPr>
            </a:lvl9pPr>
          </a:lstStyle>
          <a:p>
            <a:r>
              <a:rPr lang="de-DE"/>
              <a:t> </a:t>
            </a:r>
          </a:p>
        </p:txBody>
      </p:sp>
    </p:spTree>
    <p:extLst>
      <p:ext uri="{BB962C8B-B14F-4D97-AF65-F5344CB8AC3E}">
        <p14:creationId xmlns:p14="http://schemas.microsoft.com/office/powerpoint/2010/main" val="22891753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Divider | 3">
    <p:bg>
      <p:bgPr>
        <a:solidFill>
          <a:schemeClr val="accent3"/>
        </a:solidFill>
        <a:effectLst/>
      </p:bgPr>
    </p:bg>
    <p:spTree>
      <p:nvGrpSpPr>
        <p:cNvPr id="1" name=""/>
        <p:cNvGrpSpPr/>
        <p:nvPr/>
      </p:nvGrpSpPr>
      <p:grpSpPr>
        <a:xfrm>
          <a:off x="0" y="0"/>
          <a:ext cx="0" cy="0"/>
          <a:chOff x="0" y="0"/>
          <a:chExt cx="0" cy="0"/>
        </a:xfrm>
      </p:grpSpPr>
      <p:sp>
        <p:nvSpPr>
          <p:cNvPr id="3" name="Textplatzhalter 2"/>
          <p:cNvSpPr>
            <a:spLocks noGrp="1"/>
          </p:cNvSpPr>
          <p:nvPr>
            <p:ph type="body" idx="1" hasCustomPrompt="1"/>
          </p:nvPr>
        </p:nvSpPr>
        <p:spPr bwMode="gray">
          <a:xfrm>
            <a:off x="1092200" y="1412875"/>
            <a:ext cx="5111750" cy="4356385"/>
          </a:xfrm>
          <a:prstGeom prst="rect">
            <a:avLst/>
          </a:prstGeom>
        </p:spPr>
        <p:txBody>
          <a:bodyPr anchor="t"/>
          <a:lstStyle>
            <a:lvl1pPr marL="0" indent="0">
              <a:lnSpc>
                <a:spcPct val="100000"/>
              </a:lnSpc>
              <a:spcBef>
                <a:spcPts val="0"/>
              </a:spcBef>
              <a:buFont typeface="Yanone Kaffeesatz" pitchFamily="50" charset="0"/>
              <a:buNone/>
              <a:defRPr sz="3700" b="1" i="1" cap="none" baseline="0">
                <a:solidFill>
                  <a:schemeClr val="bg1"/>
                </a:solidFill>
                <a:latin typeface="Barlow ExtraBold" pitchFamily="2" charset="77"/>
              </a:defRPr>
            </a:lvl1pPr>
            <a:lvl2pPr marL="0" indent="0">
              <a:lnSpc>
                <a:spcPct val="110000"/>
              </a:lnSpc>
              <a:spcBef>
                <a:spcPts val="0"/>
              </a:spcBef>
              <a:spcAft>
                <a:spcPts val="0"/>
              </a:spcAft>
              <a:buNone/>
              <a:defRPr sz="2000">
                <a:solidFill>
                  <a:schemeClr val="bg1"/>
                </a:solidFill>
                <a:latin typeface="+mj-lt"/>
              </a:defRPr>
            </a:lvl2pPr>
            <a:lvl3pPr marL="0" indent="0">
              <a:lnSpc>
                <a:spcPct val="110000"/>
              </a:lnSpc>
              <a:spcBef>
                <a:spcPts val="0"/>
              </a:spcBef>
              <a:spcAft>
                <a:spcPts val="0"/>
              </a:spcAft>
              <a:buNone/>
              <a:defRPr sz="2000">
                <a:solidFill>
                  <a:schemeClr val="bg1"/>
                </a:solidFill>
                <a:latin typeface="+mj-lt"/>
              </a:defRPr>
            </a:lvl3pPr>
            <a:lvl4pPr marL="0" indent="0">
              <a:lnSpc>
                <a:spcPct val="110000"/>
              </a:lnSpc>
              <a:spcBef>
                <a:spcPts val="0"/>
              </a:spcBef>
              <a:spcAft>
                <a:spcPts val="0"/>
              </a:spcAft>
              <a:buNone/>
              <a:defRPr sz="2000">
                <a:solidFill>
                  <a:schemeClr val="bg1"/>
                </a:solidFill>
                <a:latin typeface="+mj-lt"/>
              </a:defRPr>
            </a:lvl4pPr>
            <a:lvl5pPr marL="0" indent="0">
              <a:lnSpc>
                <a:spcPct val="110000"/>
              </a:lnSpc>
              <a:spcBef>
                <a:spcPts val="0"/>
              </a:spcBef>
              <a:spcAft>
                <a:spcPts val="0"/>
              </a:spcAft>
              <a:buNone/>
              <a:defRPr sz="2000">
                <a:solidFill>
                  <a:schemeClr val="bg1"/>
                </a:solidFill>
                <a:latin typeface="+mj-lt"/>
              </a:defRPr>
            </a:lvl5pPr>
            <a:lvl6pPr marL="0" indent="0">
              <a:lnSpc>
                <a:spcPct val="110000"/>
              </a:lnSpc>
              <a:spcBef>
                <a:spcPts val="0"/>
              </a:spcBef>
              <a:spcAft>
                <a:spcPts val="0"/>
              </a:spcAft>
              <a:buNone/>
              <a:defRPr sz="2000">
                <a:solidFill>
                  <a:schemeClr val="bg1"/>
                </a:solidFill>
                <a:latin typeface="+mj-lt"/>
              </a:defRPr>
            </a:lvl6pPr>
            <a:lvl7pPr marL="0" indent="0">
              <a:lnSpc>
                <a:spcPct val="110000"/>
              </a:lnSpc>
              <a:spcBef>
                <a:spcPts val="0"/>
              </a:spcBef>
              <a:spcAft>
                <a:spcPts val="0"/>
              </a:spcAft>
              <a:buNone/>
              <a:defRPr sz="2000">
                <a:solidFill>
                  <a:schemeClr val="bg1"/>
                </a:solidFill>
                <a:latin typeface="+mj-lt"/>
              </a:defRPr>
            </a:lvl7pPr>
            <a:lvl8pPr marL="0" indent="0">
              <a:lnSpc>
                <a:spcPct val="110000"/>
              </a:lnSpc>
              <a:spcBef>
                <a:spcPts val="0"/>
              </a:spcBef>
              <a:spcAft>
                <a:spcPts val="0"/>
              </a:spcAft>
              <a:buNone/>
              <a:defRPr sz="2000">
                <a:solidFill>
                  <a:schemeClr val="bg1"/>
                </a:solidFill>
                <a:latin typeface="+mj-lt"/>
              </a:defRPr>
            </a:lvl8pPr>
            <a:lvl9pPr marL="0" indent="0">
              <a:lnSpc>
                <a:spcPct val="110000"/>
              </a:lnSpc>
              <a:spcBef>
                <a:spcPts val="0"/>
              </a:spcBef>
              <a:spcAft>
                <a:spcPts val="0"/>
              </a:spcAft>
              <a:buNone/>
              <a:defRPr sz="2000">
                <a:solidFill>
                  <a:schemeClr val="bg1"/>
                </a:solidFill>
                <a:latin typeface="+mj-lt"/>
              </a:defRPr>
            </a:lvl9pPr>
          </a:lstStyle>
          <a:p>
            <a:pPr lvl="0"/>
            <a:r>
              <a:rPr lang="de-DE" noProof="0" err="1"/>
              <a:t>Chapte</a:t>
            </a:r>
            <a:r>
              <a:rPr lang="de-DE" noProof="0"/>
              <a:t> </a:t>
            </a:r>
            <a:r>
              <a:rPr lang="de-DE" noProof="0" err="1"/>
              <a:t>r</a:t>
            </a:r>
            <a:r>
              <a:rPr lang="de-DE" noProof="0"/>
              <a:t> </a:t>
            </a:r>
            <a:r>
              <a:rPr lang="de-DE" noProof="0" err="1"/>
              <a:t>name</a:t>
            </a:r>
            <a:br>
              <a:rPr lang="de-DE" noProof="0"/>
            </a:br>
            <a:r>
              <a:rPr lang="de-DE" noProof="0"/>
              <a:t> (</a:t>
            </a:r>
            <a:r>
              <a:rPr lang="de-DE" noProof="0" err="1"/>
              <a:t>use</a:t>
            </a:r>
            <a:r>
              <a:rPr lang="de-DE" noProof="0"/>
              <a:t> </a:t>
            </a:r>
            <a:r>
              <a:rPr lang="de-DE" noProof="0" err="1"/>
              <a:t>the</a:t>
            </a:r>
            <a:r>
              <a:rPr lang="de-DE" noProof="0"/>
              <a:t> </a:t>
            </a:r>
            <a:r>
              <a:rPr lang="de-DE" noProof="0" err="1"/>
              <a:t>button</a:t>
            </a:r>
            <a:r>
              <a:rPr lang="de-DE" noProof="0"/>
              <a:t> “</a:t>
            </a:r>
            <a:r>
              <a:rPr lang="de-DE" noProof="0" err="1"/>
              <a:t>increase</a:t>
            </a:r>
            <a:r>
              <a:rPr lang="de-DE" noProof="0"/>
              <a:t> </a:t>
            </a:r>
            <a:r>
              <a:rPr lang="de-DE" noProof="0" err="1"/>
              <a:t>list</a:t>
            </a:r>
            <a:r>
              <a:rPr lang="de-DE" noProof="0"/>
              <a:t> </a:t>
            </a:r>
            <a:r>
              <a:rPr lang="de-DE" noProof="0" err="1"/>
              <a:t>level</a:t>
            </a:r>
            <a:r>
              <a:rPr lang="de-DE" noProof="0"/>
              <a:t>” </a:t>
            </a:r>
            <a:r>
              <a:rPr lang="de-DE" noProof="0" err="1"/>
              <a:t>to</a:t>
            </a:r>
            <a:r>
              <a:rPr lang="de-DE" noProof="0"/>
              <a:t> </a:t>
            </a:r>
            <a:r>
              <a:rPr lang="de-DE" noProof="0" err="1"/>
              <a:t>add</a:t>
            </a:r>
            <a:r>
              <a:rPr lang="de-DE" noProof="0"/>
              <a:t> optional </a:t>
            </a:r>
            <a:r>
              <a:rPr lang="de-DE" noProof="0" err="1"/>
              <a:t>information</a:t>
            </a:r>
            <a:r>
              <a:rPr lang="de-DE" noProof="0"/>
              <a:t>.)</a:t>
            </a:r>
          </a:p>
          <a:p>
            <a:pPr lvl="1"/>
            <a:r>
              <a:rPr lang="de-DE" noProof="0"/>
              <a:t>2. </a:t>
            </a:r>
            <a:r>
              <a:rPr lang="de-DE" noProof="0" err="1"/>
              <a:t>level</a:t>
            </a:r>
            <a:endParaRPr lang="de-DE" noProof="0"/>
          </a:p>
          <a:p>
            <a:pPr lvl="2"/>
            <a:r>
              <a:rPr lang="de-DE" noProof="0"/>
              <a:t>3. </a:t>
            </a:r>
            <a:r>
              <a:rPr lang="de-DE" noProof="0" err="1"/>
              <a:t>level</a:t>
            </a:r>
            <a:endParaRPr lang="de-DE" noProof="0"/>
          </a:p>
          <a:p>
            <a:pPr lvl="3"/>
            <a:r>
              <a:rPr lang="de-DE" noProof="0"/>
              <a:t>4. </a:t>
            </a:r>
            <a:r>
              <a:rPr lang="de-DE" noProof="0" err="1"/>
              <a:t>level</a:t>
            </a:r>
            <a:endParaRPr lang="de-DE" noProof="0"/>
          </a:p>
          <a:p>
            <a:pPr lvl="4"/>
            <a:r>
              <a:rPr lang="de-DE" noProof="0"/>
              <a:t>5. </a:t>
            </a:r>
            <a:r>
              <a:rPr lang="de-DE" noProof="0" err="1"/>
              <a:t>level</a:t>
            </a:r>
            <a:endParaRPr lang="de-DE" noProof="0"/>
          </a:p>
          <a:p>
            <a:pPr lvl="5"/>
            <a:r>
              <a:rPr lang="de-DE" noProof="0"/>
              <a:t>6. </a:t>
            </a:r>
            <a:r>
              <a:rPr lang="de-DE" noProof="0" err="1"/>
              <a:t>level</a:t>
            </a:r>
            <a:endParaRPr lang="de-DE" noProof="0"/>
          </a:p>
          <a:p>
            <a:pPr lvl="6"/>
            <a:r>
              <a:rPr lang="de-DE" noProof="0"/>
              <a:t>7. </a:t>
            </a:r>
            <a:r>
              <a:rPr lang="de-DE" noProof="0" err="1"/>
              <a:t>level</a:t>
            </a:r>
            <a:endParaRPr lang="de-DE" noProof="0"/>
          </a:p>
          <a:p>
            <a:pPr lvl="7"/>
            <a:r>
              <a:rPr lang="de-DE" noProof="0"/>
              <a:t>8. </a:t>
            </a:r>
            <a:r>
              <a:rPr lang="de-DE" noProof="0" err="1"/>
              <a:t>level</a:t>
            </a:r>
            <a:endParaRPr lang="de-DE" noProof="0"/>
          </a:p>
          <a:p>
            <a:pPr lvl="8"/>
            <a:r>
              <a:rPr lang="de-DE" noProof="0"/>
              <a:t>9. </a:t>
            </a:r>
            <a:r>
              <a:rPr lang="de-DE" noProof="0" err="1"/>
              <a:t>level</a:t>
            </a:r>
            <a:endParaRPr lang="de-DE" noProof="0"/>
          </a:p>
        </p:txBody>
      </p:sp>
      <p:sp>
        <p:nvSpPr>
          <p:cNvPr id="2" name="Fußzeilenplatzhalter 1">
            <a:extLst>
              <a:ext uri="{FF2B5EF4-FFF2-40B4-BE49-F238E27FC236}">
                <a16:creationId xmlns:a16="http://schemas.microsoft.com/office/drawing/2014/main" id="{F62F0615-8843-8C57-5CE6-0C378000552A}"/>
              </a:ext>
            </a:extLst>
          </p:cNvPr>
          <p:cNvSpPr>
            <a:spLocks noGrp="1"/>
          </p:cNvSpPr>
          <p:nvPr>
            <p:ph type="ftr" sz="quarter" idx="10"/>
          </p:nvPr>
        </p:nvSpPr>
        <p:spPr bwMode="gray"/>
        <p:txBody>
          <a:bodyPr/>
          <a:lstStyle>
            <a:lvl1pPr>
              <a:defRPr>
                <a:solidFill>
                  <a:schemeClr val="bg1"/>
                </a:solidFill>
              </a:defRPr>
            </a:lvl1pPr>
          </a:lstStyle>
          <a:p>
            <a:r>
              <a:rPr lang="de-DE"/>
              <a:t>Date dd.mm.yyyy  |  Security label</a:t>
            </a:r>
          </a:p>
        </p:txBody>
      </p:sp>
      <p:sp>
        <p:nvSpPr>
          <p:cNvPr id="6" name="Titel 5">
            <a:extLst>
              <a:ext uri="{FF2B5EF4-FFF2-40B4-BE49-F238E27FC236}">
                <a16:creationId xmlns:a16="http://schemas.microsoft.com/office/drawing/2014/main" id="{7BC2A7C5-70DF-273F-56BF-981269B7883A}"/>
              </a:ext>
            </a:extLst>
          </p:cNvPr>
          <p:cNvSpPr>
            <a:spLocks noGrp="1"/>
          </p:cNvSpPr>
          <p:nvPr>
            <p:ph type="title" hasCustomPrompt="1"/>
          </p:nvPr>
        </p:nvSpPr>
        <p:spPr bwMode="gray">
          <a:xfrm>
            <a:off x="6203950" y="2816932"/>
            <a:ext cx="6228754" cy="4041068"/>
          </a:xfrm>
        </p:spPr>
        <p:txBody>
          <a:bodyPr anchor="ctr">
            <a:noAutofit/>
          </a:bodyPr>
          <a:lstStyle>
            <a:lvl1pPr algn="r">
              <a:lnSpc>
                <a:spcPct val="100000"/>
              </a:lnSpc>
              <a:defRPr sz="40000" i="0">
                <a:solidFill>
                  <a:schemeClr val="bg1"/>
                </a:solidFill>
              </a:defRPr>
            </a:lvl1pPr>
          </a:lstStyle>
          <a:p>
            <a:r>
              <a:rPr lang="de-DE"/>
              <a:t>00</a:t>
            </a:r>
          </a:p>
        </p:txBody>
      </p:sp>
      <p:sp>
        <p:nvSpPr>
          <p:cNvPr id="5" name="Freihandform: Form 459">
            <a:extLst>
              <a:ext uri="{FF2B5EF4-FFF2-40B4-BE49-F238E27FC236}">
                <a16:creationId xmlns:a16="http://schemas.microsoft.com/office/drawing/2014/main" id="{11565787-C7C6-55FE-90B9-FF20083BA7CA}"/>
              </a:ext>
            </a:extLst>
          </p:cNvPr>
          <p:cNvSpPr txBox="1">
            <a:spLocks noChangeAspect="1"/>
          </p:cNvSpPr>
          <p:nvPr userDrawn="1"/>
        </p:nvSpPr>
        <p:spPr bwMode="gray">
          <a:xfrm>
            <a:off x="11352648" y="307218"/>
            <a:ext cx="576000" cy="313470"/>
          </a:xfrm>
          <a:custGeom>
            <a:avLst/>
            <a:gdLst>
              <a:gd name="connsiteX0" fmla="*/ 471895 w 4139828"/>
              <a:gd name="connsiteY0" fmla="*/ 507 h 2242189"/>
              <a:gd name="connsiteX1" fmla="*/ 1132548 w 4139828"/>
              <a:gd name="connsiteY1" fmla="*/ 507 h 2242189"/>
              <a:gd name="connsiteX2" fmla="*/ 1179737 w 4139828"/>
              <a:gd name="connsiteY2" fmla="*/ 47691 h 2242189"/>
              <a:gd name="connsiteX3" fmla="*/ 1179737 w 4139828"/>
              <a:gd name="connsiteY3" fmla="*/ 425671 h 2242189"/>
              <a:gd name="connsiteX4" fmla="*/ 1132548 w 4139828"/>
              <a:gd name="connsiteY4" fmla="*/ 472855 h 2242189"/>
              <a:gd name="connsiteX5" fmla="*/ 659508 w 4139828"/>
              <a:gd name="connsiteY5" fmla="*/ 472855 h 2242189"/>
              <a:gd name="connsiteX6" fmla="*/ 470750 w 4139828"/>
              <a:gd name="connsiteY6" fmla="*/ 661591 h 2242189"/>
              <a:gd name="connsiteX7" fmla="*/ 470750 w 4139828"/>
              <a:gd name="connsiteY7" fmla="*/ 728742 h 2242189"/>
              <a:gd name="connsiteX8" fmla="*/ 494281 w 4139828"/>
              <a:gd name="connsiteY8" fmla="*/ 752270 h 2242189"/>
              <a:gd name="connsiteX9" fmla="*/ 800059 w 4139828"/>
              <a:gd name="connsiteY9" fmla="*/ 752270 h 2242189"/>
              <a:gd name="connsiteX10" fmla="*/ 847248 w 4139828"/>
              <a:gd name="connsiteY10" fmla="*/ 799454 h 2242189"/>
              <a:gd name="connsiteX11" fmla="*/ 847248 w 4139828"/>
              <a:gd name="connsiteY11" fmla="*/ 1081668 h 2242189"/>
              <a:gd name="connsiteX12" fmla="*/ 800059 w 4139828"/>
              <a:gd name="connsiteY12" fmla="*/ 1128852 h 2242189"/>
              <a:gd name="connsiteX13" fmla="*/ 494281 w 4139828"/>
              <a:gd name="connsiteY13" fmla="*/ 1128852 h 2242189"/>
              <a:gd name="connsiteX14" fmla="*/ 470750 w 4139828"/>
              <a:gd name="connsiteY14" fmla="*/ 1152380 h 2242189"/>
              <a:gd name="connsiteX15" fmla="*/ 470750 w 4139828"/>
              <a:gd name="connsiteY15" fmla="*/ 1227671 h 2242189"/>
              <a:gd name="connsiteX16" fmla="*/ 659508 w 4139828"/>
              <a:gd name="connsiteY16" fmla="*/ 1416406 h 2242189"/>
              <a:gd name="connsiteX17" fmla="*/ 1297775 w 4139828"/>
              <a:gd name="connsiteY17" fmla="*/ 1416406 h 2242189"/>
              <a:gd name="connsiteX18" fmla="*/ 1297775 w 4139828"/>
              <a:gd name="connsiteY18" fmla="*/ 1413100 h 2242189"/>
              <a:gd name="connsiteX19" fmla="*/ 1297775 w 4139828"/>
              <a:gd name="connsiteY19" fmla="*/ 472728 h 2242189"/>
              <a:gd name="connsiteX20" fmla="*/ 1769797 w 4139828"/>
              <a:gd name="connsiteY20" fmla="*/ 889 h 2242189"/>
              <a:gd name="connsiteX21" fmla="*/ 2359729 w 4139828"/>
              <a:gd name="connsiteY21" fmla="*/ 889 h 2242189"/>
              <a:gd name="connsiteX22" fmla="*/ 2831624 w 4139828"/>
              <a:gd name="connsiteY22" fmla="*/ 472728 h 2242189"/>
              <a:gd name="connsiteX23" fmla="*/ 2831624 w 4139828"/>
              <a:gd name="connsiteY23" fmla="*/ 2195005 h 2242189"/>
              <a:gd name="connsiteX24" fmla="*/ 2784434 w 4139828"/>
              <a:gd name="connsiteY24" fmla="*/ 2242189 h 2242189"/>
              <a:gd name="connsiteX25" fmla="*/ 2408063 w 4139828"/>
              <a:gd name="connsiteY25" fmla="*/ 2242189 h 2242189"/>
              <a:gd name="connsiteX26" fmla="*/ 2360874 w 4139828"/>
              <a:gd name="connsiteY26" fmla="*/ 2195005 h 2242189"/>
              <a:gd name="connsiteX27" fmla="*/ 2360874 w 4139828"/>
              <a:gd name="connsiteY27" fmla="*/ 661336 h 2242189"/>
              <a:gd name="connsiteX28" fmla="*/ 2172116 w 4139828"/>
              <a:gd name="connsiteY28" fmla="*/ 472601 h 2242189"/>
              <a:gd name="connsiteX29" fmla="*/ 1957410 w 4139828"/>
              <a:gd name="connsiteY29" fmla="*/ 472601 h 2242189"/>
              <a:gd name="connsiteX30" fmla="*/ 1768652 w 4139828"/>
              <a:gd name="connsiteY30" fmla="*/ 661336 h 2242189"/>
              <a:gd name="connsiteX31" fmla="*/ 1768652 w 4139828"/>
              <a:gd name="connsiteY31" fmla="*/ 1227671 h 2242189"/>
              <a:gd name="connsiteX32" fmla="*/ 1957410 w 4139828"/>
              <a:gd name="connsiteY32" fmla="*/ 1416406 h 2242189"/>
              <a:gd name="connsiteX33" fmla="*/ 2219305 w 4139828"/>
              <a:gd name="connsiteY33" fmla="*/ 1416406 h 2242189"/>
              <a:gd name="connsiteX34" fmla="*/ 2242963 w 4139828"/>
              <a:gd name="connsiteY34" fmla="*/ 1439935 h 2242189"/>
              <a:gd name="connsiteX35" fmla="*/ 2242963 w 4139828"/>
              <a:gd name="connsiteY35" fmla="*/ 1864717 h 2242189"/>
              <a:gd name="connsiteX36" fmla="*/ 2219305 w 4139828"/>
              <a:gd name="connsiteY36" fmla="*/ 1888246 h 2242189"/>
              <a:gd name="connsiteX37" fmla="*/ 472022 w 4139828"/>
              <a:gd name="connsiteY37" fmla="*/ 1888246 h 2242189"/>
              <a:gd name="connsiteX38" fmla="*/ 0 w 4139828"/>
              <a:gd name="connsiteY38" fmla="*/ 1416406 h 2242189"/>
              <a:gd name="connsiteX39" fmla="*/ 0 w 4139828"/>
              <a:gd name="connsiteY39" fmla="*/ 472346 h 2242189"/>
              <a:gd name="connsiteX40" fmla="*/ 471895 w 4139828"/>
              <a:gd name="connsiteY40" fmla="*/ 507 h 2242189"/>
              <a:gd name="connsiteX41" fmla="*/ 3422701 w 4139828"/>
              <a:gd name="connsiteY41" fmla="*/ 0 h 2242189"/>
              <a:gd name="connsiteX42" fmla="*/ 4021918 w 4139828"/>
              <a:gd name="connsiteY42" fmla="*/ 0 h 2242189"/>
              <a:gd name="connsiteX43" fmla="*/ 4069108 w 4139828"/>
              <a:gd name="connsiteY43" fmla="*/ 47184 h 2242189"/>
              <a:gd name="connsiteX44" fmla="*/ 4069108 w 4139828"/>
              <a:gd name="connsiteY44" fmla="*/ 425546 h 2242189"/>
              <a:gd name="connsiteX45" fmla="*/ 4021918 w 4139828"/>
              <a:gd name="connsiteY45" fmla="*/ 472730 h 2242189"/>
              <a:gd name="connsiteX46" fmla="*/ 3532979 w 4139828"/>
              <a:gd name="connsiteY46" fmla="*/ 472730 h 2242189"/>
              <a:gd name="connsiteX47" fmla="*/ 3532852 w 4139828"/>
              <a:gd name="connsiteY47" fmla="*/ 472857 h 2242189"/>
              <a:gd name="connsiteX48" fmla="*/ 3488969 w 4139828"/>
              <a:gd name="connsiteY48" fmla="*/ 599147 h 2242189"/>
              <a:gd name="connsiteX49" fmla="*/ 3904008 w 4139828"/>
              <a:gd name="connsiteY49" fmla="*/ 927781 h 2242189"/>
              <a:gd name="connsiteX50" fmla="*/ 4139828 w 4139828"/>
              <a:gd name="connsiteY50" fmla="*/ 1415391 h 2242189"/>
              <a:gd name="connsiteX51" fmla="*/ 4001312 w 4139828"/>
              <a:gd name="connsiteY51" fmla="*/ 1749875 h 2242189"/>
              <a:gd name="connsiteX52" fmla="*/ 3666916 w 4139828"/>
              <a:gd name="connsiteY52" fmla="*/ 1888375 h 2242189"/>
              <a:gd name="connsiteX53" fmla="*/ 2973319 w 4139828"/>
              <a:gd name="connsiteY53" fmla="*/ 1888375 h 2242189"/>
              <a:gd name="connsiteX54" fmla="*/ 2949788 w 4139828"/>
              <a:gd name="connsiteY54" fmla="*/ 1864846 h 2242189"/>
              <a:gd name="connsiteX55" fmla="*/ 2949788 w 4139828"/>
              <a:gd name="connsiteY55" fmla="*/ 1439173 h 2242189"/>
              <a:gd name="connsiteX56" fmla="*/ 2973319 w 4139828"/>
              <a:gd name="connsiteY56" fmla="*/ 1415518 h 2242189"/>
              <a:gd name="connsiteX57" fmla="*/ 3556637 w 4139828"/>
              <a:gd name="connsiteY57" fmla="*/ 1415518 h 2242189"/>
              <a:gd name="connsiteX58" fmla="*/ 3600520 w 4139828"/>
              <a:gd name="connsiteY58" fmla="*/ 1289228 h 2242189"/>
              <a:gd name="connsiteX59" fmla="*/ 3185481 w 4139828"/>
              <a:gd name="connsiteY59" fmla="*/ 960594 h 2242189"/>
              <a:gd name="connsiteX60" fmla="*/ 2949661 w 4139828"/>
              <a:gd name="connsiteY60" fmla="*/ 472984 h 2242189"/>
              <a:gd name="connsiteX61" fmla="*/ 3422701 w 4139828"/>
              <a:gd name="connsiteY61" fmla="*/ 0 h 22421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4139828" h="2242189">
                <a:moveTo>
                  <a:pt x="471895" y="507"/>
                </a:moveTo>
                <a:lnTo>
                  <a:pt x="1132548" y="507"/>
                </a:lnTo>
                <a:cubicBezTo>
                  <a:pt x="1158623" y="507"/>
                  <a:pt x="1179737" y="21619"/>
                  <a:pt x="1179737" y="47691"/>
                </a:cubicBezTo>
                <a:lnTo>
                  <a:pt x="1179737" y="425671"/>
                </a:lnTo>
                <a:cubicBezTo>
                  <a:pt x="1179737" y="451743"/>
                  <a:pt x="1158623" y="472855"/>
                  <a:pt x="1132548" y="472855"/>
                </a:cubicBezTo>
                <a:lnTo>
                  <a:pt x="659508" y="472855"/>
                </a:lnTo>
                <a:cubicBezTo>
                  <a:pt x="555208" y="472855"/>
                  <a:pt x="470750" y="557303"/>
                  <a:pt x="470750" y="661591"/>
                </a:cubicBezTo>
                <a:lnTo>
                  <a:pt x="470750" y="728742"/>
                </a:lnTo>
                <a:cubicBezTo>
                  <a:pt x="470750" y="741714"/>
                  <a:pt x="481307" y="752270"/>
                  <a:pt x="494281" y="752270"/>
                </a:cubicBezTo>
                <a:lnTo>
                  <a:pt x="800059" y="752270"/>
                </a:lnTo>
                <a:cubicBezTo>
                  <a:pt x="826134" y="752270"/>
                  <a:pt x="847248" y="773382"/>
                  <a:pt x="847248" y="799454"/>
                </a:cubicBezTo>
                <a:lnTo>
                  <a:pt x="847248" y="1081668"/>
                </a:lnTo>
                <a:cubicBezTo>
                  <a:pt x="847248" y="1107740"/>
                  <a:pt x="826134" y="1128852"/>
                  <a:pt x="800059" y="1128852"/>
                </a:cubicBezTo>
                <a:lnTo>
                  <a:pt x="494281" y="1128852"/>
                </a:lnTo>
                <a:cubicBezTo>
                  <a:pt x="481307" y="1128852"/>
                  <a:pt x="470750" y="1139408"/>
                  <a:pt x="470750" y="1152380"/>
                </a:cubicBezTo>
                <a:lnTo>
                  <a:pt x="470750" y="1227671"/>
                </a:lnTo>
                <a:cubicBezTo>
                  <a:pt x="470750" y="1331832"/>
                  <a:pt x="555208" y="1416406"/>
                  <a:pt x="659508" y="1416406"/>
                </a:cubicBezTo>
                <a:lnTo>
                  <a:pt x="1297775" y="1416406"/>
                </a:lnTo>
                <a:cubicBezTo>
                  <a:pt x="1297775" y="1415389"/>
                  <a:pt x="1297775" y="1414244"/>
                  <a:pt x="1297775" y="1413100"/>
                </a:cubicBezTo>
                <a:lnTo>
                  <a:pt x="1297775" y="472728"/>
                </a:lnTo>
                <a:cubicBezTo>
                  <a:pt x="1297775" y="212135"/>
                  <a:pt x="1509173" y="889"/>
                  <a:pt x="1769797" y="889"/>
                </a:cubicBezTo>
                <a:lnTo>
                  <a:pt x="2359729" y="889"/>
                </a:lnTo>
                <a:cubicBezTo>
                  <a:pt x="2620352" y="889"/>
                  <a:pt x="2831624" y="212135"/>
                  <a:pt x="2831624" y="472728"/>
                </a:cubicBezTo>
                <a:lnTo>
                  <a:pt x="2831624" y="2195005"/>
                </a:lnTo>
                <a:cubicBezTo>
                  <a:pt x="2831624" y="2221077"/>
                  <a:pt x="2810509" y="2242189"/>
                  <a:pt x="2784434" y="2242189"/>
                </a:cubicBezTo>
                <a:lnTo>
                  <a:pt x="2408063" y="2242189"/>
                </a:lnTo>
                <a:cubicBezTo>
                  <a:pt x="2381988" y="2242189"/>
                  <a:pt x="2360874" y="2221077"/>
                  <a:pt x="2360874" y="2195005"/>
                </a:cubicBezTo>
                <a:lnTo>
                  <a:pt x="2360874" y="661336"/>
                </a:lnTo>
                <a:cubicBezTo>
                  <a:pt x="2360874" y="557176"/>
                  <a:pt x="2276289" y="472601"/>
                  <a:pt x="2172116" y="472601"/>
                </a:cubicBezTo>
                <a:lnTo>
                  <a:pt x="1957410" y="472601"/>
                </a:lnTo>
                <a:cubicBezTo>
                  <a:pt x="1853110" y="472601"/>
                  <a:pt x="1768652" y="557176"/>
                  <a:pt x="1768652" y="661336"/>
                </a:cubicBezTo>
                <a:lnTo>
                  <a:pt x="1768652" y="1227671"/>
                </a:lnTo>
                <a:cubicBezTo>
                  <a:pt x="1768652" y="1331832"/>
                  <a:pt x="1853110" y="1416406"/>
                  <a:pt x="1957410" y="1416406"/>
                </a:cubicBezTo>
                <a:lnTo>
                  <a:pt x="2219305" y="1416406"/>
                </a:lnTo>
                <a:cubicBezTo>
                  <a:pt x="2232406" y="1416406"/>
                  <a:pt x="2242963" y="1426962"/>
                  <a:pt x="2242963" y="1439935"/>
                </a:cubicBezTo>
                <a:lnTo>
                  <a:pt x="2242963" y="1864717"/>
                </a:lnTo>
                <a:cubicBezTo>
                  <a:pt x="2242963" y="1877690"/>
                  <a:pt x="2232406" y="1888246"/>
                  <a:pt x="2219305" y="1888246"/>
                </a:cubicBezTo>
                <a:lnTo>
                  <a:pt x="472022" y="1888246"/>
                </a:lnTo>
                <a:cubicBezTo>
                  <a:pt x="211272" y="1888246"/>
                  <a:pt x="0" y="1676999"/>
                  <a:pt x="0" y="1416406"/>
                </a:cubicBezTo>
                <a:lnTo>
                  <a:pt x="0" y="472346"/>
                </a:lnTo>
                <a:cubicBezTo>
                  <a:pt x="0" y="211754"/>
                  <a:pt x="211272" y="507"/>
                  <a:pt x="471895" y="507"/>
                </a:cubicBezTo>
                <a:close/>
                <a:moveTo>
                  <a:pt x="3422701" y="0"/>
                </a:moveTo>
                <a:lnTo>
                  <a:pt x="4021918" y="0"/>
                </a:lnTo>
                <a:cubicBezTo>
                  <a:pt x="4047993" y="0"/>
                  <a:pt x="4069108" y="21112"/>
                  <a:pt x="4069108" y="47184"/>
                </a:cubicBezTo>
                <a:lnTo>
                  <a:pt x="4069108" y="425546"/>
                </a:lnTo>
                <a:cubicBezTo>
                  <a:pt x="4069108" y="451618"/>
                  <a:pt x="4047993" y="472730"/>
                  <a:pt x="4021918" y="472730"/>
                </a:cubicBezTo>
                <a:lnTo>
                  <a:pt x="3532979" y="472730"/>
                </a:lnTo>
                <a:lnTo>
                  <a:pt x="3532852" y="472857"/>
                </a:lnTo>
                <a:cubicBezTo>
                  <a:pt x="3465693" y="472857"/>
                  <a:pt x="3436311" y="557432"/>
                  <a:pt x="3488969" y="599147"/>
                </a:cubicBezTo>
                <a:lnTo>
                  <a:pt x="3904008" y="927781"/>
                </a:lnTo>
                <a:cubicBezTo>
                  <a:pt x="4052954" y="1045804"/>
                  <a:pt x="4139828" y="1225383"/>
                  <a:pt x="4139828" y="1415391"/>
                </a:cubicBezTo>
                <a:cubicBezTo>
                  <a:pt x="4139828" y="1546005"/>
                  <a:pt x="4086915" y="1664156"/>
                  <a:pt x="4001312" y="1749875"/>
                </a:cubicBezTo>
                <a:cubicBezTo>
                  <a:pt x="3915710" y="1835468"/>
                  <a:pt x="3797418" y="1888375"/>
                  <a:pt x="3666916" y="1888375"/>
                </a:cubicBezTo>
                <a:lnTo>
                  <a:pt x="2973319" y="1888375"/>
                </a:lnTo>
                <a:cubicBezTo>
                  <a:pt x="2960346" y="1888375"/>
                  <a:pt x="2949788" y="1877819"/>
                  <a:pt x="2949788" y="1864846"/>
                </a:cubicBezTo>
                <a:lnTo>
                  <a:pt x="2949788" y="1439173"/>
                </a:lnTo>
                <a:cubicBezTo>
                  <a:pt x="2949788" y="1426201"/>
                  <a:pt x="2960346" y="1415518"/>
                  <a:pt x="2973319" y="1415518"/>
                </a:cubicBezTo>
                <a:lnTo>
                  <a:pt x="3556637" y="1415518"/>
                </a:lnTo>
                <a:cubicBezTo>
                  <a:pt x="3623797" y="1415518"/>
                  <a:pt x="3653179" y="1330943"/>
                  <a:pt x="3600520" y="1289228"/>
                </a:cubicBezTo>
                <a:lnTo>
                  <a:pt x="3185481" y="960594"/>
                </a:lnTo>
                <a:cubicBezTo>
                  <a:pt x="3036535" y="842570"/>
                  <a:pt x="2949661" y="662991"/>
                  <a:pt x="2949661" y="472984"/>
                </a:cubicBezTo>
                <a:cubicBezTo>
                  <a:pt x="2949661" y="211755"/>
                  <a:pt x="3161441" y="0"/>
                  <a:pt x="3422701" y="0"/>
                </a:cubicBezTo>
                <a:close/>
              </a:path>
            </a:pathLst>
          </a:custGeom>
          <a:solidFill>
            <a:schemeClr val="bg1"/>
          </a:solidFill>
          <a:ln w="127">
            <a:solidFill>
              <a:schemeClr val="bg1">
                <a:alpha val="0"/>
              </a:schemeClr>
            </a:solidFill>
          </a:ln>
        </p:spPr>
        <p:txBody>
          <a:bodyPr wrap="square">
            <a:noAutofit/>
          </a:bodyPr>
          <a:lstStyle>
            <a:lvl1pPr marL="0" indent="0" algn="l" defTabSz="914400" rtl="0" eaLnBrk="1" latinLnBrk="0" hangingPunct="1">
              <a:lnSpc>
                <a:spcPct val="110000"/>
              </a:lnSpc>
              <a:spcBef>
                <a:spcPts val="600"/>
              </a:spcBef>
              <a:spcAft>
                <a:spcPts val="600"/>
              </a:spcAft>
              <a:buFont typeface="Arial" panose="020B0604020202020204" pitchFamily="34" charset="0"/>
              <a:buNone/>
              <a:defRPr sz="2000" b="1" kern="1200">
                <a:solidFill>
                  <a:schemeClr val="tx1"/>
                </a:solidFill>
                <a:latin typeface="+mj-lt"/>
                <a:ea typeface="+mn-ea"/>
                <a:cs typeface="+mn-cs"/>
              </a:defRPr>
            </a:lvl1pPr>
            <a:lvl2pPr marL="0" indent="0" algn="l" defTabSz="914400" rtl="0" eaLnBrk="1" latinLnBrk="0" hangingPunct="1">
              <a:lnSpc>
                <a:spcPct val="110000"/>
              </a:lnSpc>
              <a:spcBef>
                <a:spcPts val="600"/>
              </a:spcBef>
              <a:spcAft>
                <a:spcPts val="600"/>
              </a:spcAft>
              <a:buFont typeface="Arial" panose="020B0604020202020204" pitchFamily="34" charset="0"/>
              <a:buNone/>
              <a:defRPr sz="2000" kern="1200">
                <a:solidFill>
                  <a:schemeClr val="tx1"/>
                </a:solidFill>
                <a:latin typeface="+mn-lt"/>
                <a:ea typeface="+mn-ea"/>
                <a:cs typeface="+mn-cs"/>
              </a:defRPr>
            </a:lvl2pPr>
            <a:lvl3pPr marL="361950" indent="-361950" algn="l" defTabSz="914400" rtl="0" eaLnBrk="1" latinLnBrk="0" hangingPunct="1">
              <a:lnSpc>
                <a:spcPct val="110000"/>
              </a:lnSpc>
              <a:spcBef>
                <a:spcPts val="600"/>
              </a:spcBef>
              <a:spcAft>
                <a:spcPts val="600"/>
              </a:spcAft>
              <a:buClr>
                <a:schemeClr val="accent1"/>
              </a:buClr>
              <a:buFontTx/>
              <a:buBlip>
                <a:blip r:embed="rId2"/>
              </a:buBlip>
              <a:defRPr sz="2000" kern="1200">
                <a:solidFill>
                  <a:schemeClr val="tx1"/>
                </a:solidFill>
                <a:latin typeface="+mn-lt"/>
                <a:ea typeface="+mn-ea"/>
                <a:cs typeface="+mn-cs"/>
              </a:defRPr>
            </a:lvl3pPr>
            <a:lvl4pPr marL="714375" indent="-352425" algn="l" defTabSz="914400" rtl="0" eaLnBrk="1" latinLnBrk="0" hangingPunct="1">
              <a:lnSpc>
                <a:spcPct val="110000"/>
              </a:lnSpc>
              <a:spcBef>
                <a:spcPts val="600"/>
              </a:spcBef>
              <a:spcAft>
                <a:spcPts val="600"/>
              </a:spcAft>
              <a:buClr>
                <a:schemeClr val="accent1"/>
              </a:buClr>
              <a:buFontTx/>
              <a:buBlip>
                <a:blip r:embed="rId2"/>
              </a:buBlip>
              <a:defRPr sz="2000" kern="1200">
                <a:solidFill>
                  <a:schemeClr val="tx1"/>
                </a:solidFill>
                <a:latin typeface="+mn-lt"/>
                <a:ea typeface="+mn-ea"/>
                <a:cs typeface="+mn-cs"/>
              </a:defRPr>
            </a:lvl4pPr>
            <a:lvl5pPr marL="0" indent="0" algn="l" defTabSz="914400" rtl="0" eaLnBrk="1" latinLnBrk="0" hangingPunct="1">
              <a:lnSpc>
                <a:spcPct val="110000"/>
              </a:lnSpc>
              <a:spcBef>
                <a:spcPts val="600"/>
              </a:spcBef>
              <a:spcAft>
                <a:spcPts val="600"/>
              </a:spcAft>
              <a:buClr>
                <a:schemeClr val="accent1"/>
              </a:buClr>
              <a:buFont typeface="Arial" panose="020B0604020202020204" pitchFamily="34" charset="0"/>
              <a:buNone/>
              <a:defRPr sz="2500" kern="1200">
                <a:solidFill>
                  <a:schemeClr val="tx1"/>
                </a:solidFill>
                <a:latin typeface="+mn-lt"/>
                <a:ea typeface="+mn-ea"/>
                <a:cs typeface="+mn-cs"/>
              </a:defRPr>
            </a:lvl5pPr>
            <a:lvl6pPr marL="361950" indent="-361950" algn="l" defTabSz="914400" rtl="0" eaLnBrk="1" latinLnBrk="0" hangingPunct="1">
              <a:lnSpc>
                <a:spcPct val="110000"/>
              </a:lnSpc>
              <a:spcBef>
                <a:spcPts val="600"/>
              </a:spcBef>
              <a:spcAft>
                <a:spcPts val="600"/>
              </a:spcAft>
              <a:buClr>
                <a:schemeClr val="accent1"/>
              </a:buClr>
              <a:buFontTx/>
              <a:buBlip>
                <a:blip r:embed="rId2"/>
              </a:buBlip>
              <a:defRPr sz="2500" kern="1200">
                <a:solidFill>
                  <a:schemeClr val="tx1"/>
                </a:solidFill>
                <a:latin typeface="+mn-lt"/>
                <a:ea typeface="+mn-ea"/>
                <a:cs typeface="+mn-cs"/>
              </a:defRPr>
            </a:lvl6pPr>
            <a:lvl7pPr marL="360000" indent="-360000" algn="l" defTabSz="914400" rtl="0" eaLnBrk="1" latinLnBrk="0" hangingPunct="1">
              <a:lnSpc>
                <a:spcPct val="110000"/>
              </a:lnSpc>
              <a:spcBef>
                <a:spcPts val="600"/>
              </a:spcBef>
              <a:spcAft>
                <a:spcPts val="600"/>
              </a:spcAft>
              <a:buClr>
                <a:schemeClr val="accent1"/>
              </a:buClr>
              <a:buFont typeface="+mj-lt"/>
              <a:buAutoNum type="arabicPeriod"/>
              <a:defRPr sz="2000" kern="1200">
                <a:solidFill>
                  <a:schemeClr val="tx1"/>
                </a:solidFill>
                <a:latin typeface="+mn-lt"/>
                <a:ea typeface="+mn-ea"/>
                <a:cs typeface="+mn-cs"/>
              </a:defRPr>
            </a:lvl7pPr>
            <a:lvl8pPr marL="714375" indent="-354013" algn="l" defTabSz="914400" rtl="0" eaLnBrk="1" latinLnBrk="0" hangingPunct="1">
              <a:lnSpc>
                <a:spcPct val="110000"/>
              </a:lnSpc>
              <a:spcBef>
                <a:spcPts val="600"/>
              </a:spcBef>
              <a:spcAft>
                <a:spcPts val="600"/>
              </a:spcAft>
              <a:buClr>
                <a:schemeClr val="accent1"/>
              </a:buClr>
              <a:buFontTx/>
              <a:buBlip>
                <a:blip r:embed="rId2"/>
              </a:buBlip>
              <a:defRPr sz="2000" kern="1200">
                <a:solidFill>
                  <a:schemeClr val="tx1"/>
                </a:solidFill>
                <a:latin typeface="+mn-lt"/>
                <a:ea typeface="+mn-ea"/>
                <a:cs typeface="+mn-cs"/>
              </a:defRPr>
            </a:lvl8pPr>
            <a:lvl9pPr marL="1076325" indent="-361950" algn="l" defTabSz="914400" rtl="0" eaLnBrk="1" latinLnBrk="0" hangingPunct="1">
              <a:lnSpc>
                <a:spcPct val="110000"/>
              </a:lnSpc>
              <a:spcBef>
                <a:spcPts val="600"/>
              </a:spcBef>
              <a:spcAft>
                <a:spcPts val="600"/>
              </a:spcAft>
              <a:buClr>
                <a:schemeClr val="accent1"/>
              </a:buClr>
              <a:buFontTx/>
              <a:buBlip>
                <a:blip r:embed="rId2"/>
              </a:buBlip>
              <a:defRPr sz="2000" kern="1200">
                <a:solidFill>
                  <a:schemeClr val="tx1"/>
                </a:solidFill>
                <a:latin typeface="+mn-lt"/>
                <a:ea typeface="+mn-ea"/>
                <a:cs typeface="+mn-cs"/>
              </a:defRPr>
            </a:lvl9pPr>
          </a:lstStyle>
          <a:p>
            <a:r>
              <a:rPr lang="de-DE"/>
              <a:t> </a:t>
            </a:r>
          </a:p>
        </p:txBody>
      </p:sp>
    </p:spTree>
    <p:extLst>
      <p:ext uri="{BB962C8B-B14F-4D97-AF65-F5344CB8AC3E}">
        <p14:creationId xmlns:p14="http://schemas.microsoft.com/office/powerpoint/2010/main" val="196250340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Divider | 4">
    <p:bg>
      <p:bgPr>
        <a:solidFill>
          <a:srgbClr val="BC27A5"/>
        </a:solidFill>
        <a:effectLst/>
      </p:bgPr>
    </p:bg>
    <p:spTree>
      <p:nvGrpSpPr>
        <p:cNvPr id="1" name=""/>
        <p:cNvGrpSpPr/>
        <p:nvPr/>
      </p:nvGrpSpPr>
      <p:grpSpPr>
        <a:xfrm>
          <a:off x="0" y="0"/>
          <a:ext cx="0" cy="0"/>
          <a:chOff x="0" y="0"/>
          <a:chExt cx="0" cy="0"/>
        </a:xfrm>
      </p:grpSpPr>
      <p:sp>
        <p:nvSpPr>
          <p:cNvPr id="3" name="Textplatzhalter 2"/>
          <p:cNvSpPr>
            <a:spLocks noGrp="1"/>
          </p:cNvSpPr>
          <p:nvPr>
            <p:ph type="body" idx="1" hasCustomPrompt="1"/>
          </p:nvPr>
        </p:nvSpPr>
        <p:spPr bwMode="gray">
          <a:xfrm>
            <a:off x="1092200" y="1412875"/>
            <a:ext cx="5111750" cy="4356385"/>
          </a:xfrm>
          <a:prstGeom prst="rect">
            <a:avLst/>
          </a:prstGeom>
        </p:spPr>
        <p:txBody>
          <a:bodyPr anchor="t"/>
          <a:lstStyle>
            <a:lvl1pPr marL="0" indent="0">
              <a:lnSpc>
                <a:spcPct val="100000"/>
              </a:lnSpc>
              <a:spcBef>
                <a:spcPts val="0"/>
              </a:spcBef>
              <a:buFont typeface="Yanone Kaffeesatz" pitchFamily="50" charset="0"/>
              <a:buNone/>
              <a:defRPr sz="3700" b="1" i="1" cap="none" baseline="0">
                <a:solidFill>
                  <a:schemeClr val="bg1"/>
                </a:solidFill>
                <a:latin typeface="Barlow ExtraBold" pitchFamily="2" charset="77"/>
              </a:defRPr>
            </a:lvl1pPr>
            <a:lvl2pPr marL="0" indent="0">
              <a:lnSpc>
                <a:spcPct val="110000"/>
              </a:lnSpc>
              <a:spcBef>
                <a:spcPts val="0"/>
              </a:spcBef>
              <a:spcAft>
                <a:spcPts val="0"/>
              </a:spcAft>
              <a:buNone/>
              <a:defRPr sz="2000">
                <a:solidFill>
                  <a:schemeClr val="bg1"/>
                </a:solidFill>
                <a:latin typeface="+mj-lt"/>
              </a:defRPr>
            </a:lvl2pPr>
            <a:lvl3pPr marL="0" indent="0">
              <a:lnSpc>
                <a:spcPct val="110000"/>
              </a:lnSpc>
              <a:spcBef>
                <a:spcPts val="0"/>
              </a:spcBef>
              <a:spcAft>
                <a:spcPts val="0"/>
              </a:spcAft>
              <a:buNone/>
              <a:defRPr sz="2000">
                <a:solidFill>
                  <a:schemeClr val="bg1"/>
                </a:solidFill>
                <a:latin typeface="+mj-lt"/>
              </a:defRPr>
            </a:lvl3pPr>
            <a:lvl4pPr marL="0" indent="0">
              <a:lnSpc>
                <a:spcPct val="110000"/>
              </a:lnSpc>
              <a:spcBef>
                <a:spcPts val="0"/>
              </a:spcBef>
              <a:spcAft>
                <a:spcPts val="0"/>
              </a:spcAft>
              <a:buNone/>
              <a:defRPr sz="2000">
                <a:solidFill>
                  <a:schemeClr val="bg1"/>
                </a:solidFill>
                <a:latin typeface="+mj-lt"/>
              </a:defRPr>
            </a:lvl4pPr>
            <a:lvl5pPr marL="0" indent="0">
              <a:lnSpc>
                <a:spcPct val="110000"/>
              </a:lnSpc>
              <a:spcBef>
                <a:spcPts val="0"/>
              </a:spcBef>
              <a:spcAft>
                <a:spcPts val="0"/>
              </a:spcAft>
              <a:buNone/>
              <a:defRPr sz="2000">
                <a:solidFill>
                  <a:schemeClr val="bg1"/>
                </a:solidFill>
                <a:latin typeface="+mj-lt"/>
              </a:defRPr>
            </a:lvl5pPr>
            <a:lvl6pPr marL="0" indent="0">
              <a:lnSpc>
                <a:spcPct val="110000"/>
              </a:lnSpc>
              <a:spcBef>
                <a:spcPts val="0"/>
              </a:spcBef>
              <a:spcAft>
                <a:spcPts val="0"/>
              </a:spcAft>
              <a:buNone/>
              <a:defRPr sz="2000">
                <a:solidFill>
                  <a:schemeClr val="bg1"/>
                </a:solidFill>
                <a:latin typeface="+mj-lt"/>
              </a:defRPr>
            </a:lvl6pPr>
            <a:lvl7pPr marL="0" indent="0">
              <a:lnSpc>
                <a:spcPct val="110000"/>
              </a:lnSpc>
              <a:spcBef>
                <a:spcPts val="0"/>
              </a:spcBef>
              <a:spcAft>
                <a:spcPts val="0"/>
              </a:spcAft>
              <a:buNone/>
              <a:defRPr sz="2000">
                <a:solidFill>
                  <a:schemeClr val="bg1"/>
                </a:solidFill>
                <a:latin typeface="+mj-lt"/>
              </a:defRPr>
            </a:lvl7pPr>
            <a:lvl8pPr marL="0" indent="0">
              <a:lnSpc>
                <a:spcPct val="110000"/>
              </a:lnSpc>
              <a:spcBef>
                <a:spcPts val="0"/>
              </a:spcBef>
              <a:spcAft>
                <a:spcPts val="0"/>
              </a:spcAft>
              <a:buNone/>
              <a:defRPr sz="2000">
                <a:solidFill>
                  <a:schemeClr val="bg1"/>
                </a:solidFill>
                <a:latin typeface="+mj-lt"/>
              </a:defRPr>
            </a:lvl8pPr>
            <a:lvl9pPr marL="0" indent="0">
              <a:lnSpc>
                <a:spcPct val="110000"/>
              </a:lnSpc>
              <a:spcBef>
                <a:spcPts val="0"/>
              </a:spcBef>
              <a:spcAft>
                <a:spcPts val="0"/>
              </a:spcAft>
              <a:buNone/>
              <a:defRPr sz="2000">
                <a:solidFill>
                  <a:schemeClr val="bg1"/>
                </a:solidFill>
                <a:latin typeface="+mj-lt"/>
              </a:defRPr>
            </a:lvl9pPr>
          </a:lstStyle>
          <a:p>
            <a:pPr lvl="0"/>
            <a:r>
              <a:rPr lang="de-DE" noProof="0" err="1"/>
              <a:t>Chapte</a:t>
            </a:r>
            <a:r>
              <a:rPr lang="de-DE" noProof="0"/>
              <a:t> </a:t>
            </a:r>
            <a:r>
              <a:rPr lang="de-DE" noProof="0" err="1"/>
              <a:t>r</a:t>
            </a:r>
            <a:r>
              <a:rPr lang="de-DE" noProof="0"/>
              <a:t> </a:t>
            </a:r>
            <a:r>
              <a:rPr lang="de-DE" noProof="0" err="1"/>
              <a:t>name</a:t>
            </a:r>
            <a:br>
              <a:rPr lang="de-DE" noProof="0"/>
            </a:br>
            <a:r>
              <a:rPr lang="de-DE" noProof="0"/>
              <a:t> (</a:t>
            </a:r>
            <a:r>
              <a:rPr lang="de-DE" noProof="0" err="1"/>
              <a:t>use</a:t>
            </a:r>
            <a:r>
              <a:rPr lang="de-DE" noProof="0"/>
              <a:t> </a:t>
            </a:r>
            <a:r>
              <a:rPr lang="de-DE" noProof="0" err="1"/>
              <a:t>the</a:t>
            </a:r>
            <a:r>
              <a:rPr lang="de-DE" noProof="0"/>
              <a:t> </a:t>
            </a:r>
            <a:r>
              <a:rPr lang="de-DE" noProof="0" err="1"/>
              <a:t>button</a:t>
            </a:r>
            <a:r>
              <a:rPr lang="de-DE" noProof="0"/>
              <a:t> “</a:t>
            </a:r>
            <a:r>
              <a:rPr lang="de-DE" noProof="0" err="1"/>
              <a:t>increase</a:t>
            </a:r>
            <a:r>
              <a:rPr lang="de-DE" noProof="0"/>
              <a:t> </a:t>
            </a:r>
            <a:r>
              <a:rPr lang="de-DE" noProof="0" err="1"/>
              <a:t>list</a:t>
            </a:r>
            <a:r>
              <a:rPr lang="de-DE" noProof="0"/>
              <a:t> </a:t>
            </a:r>
            <a:r>
              <a:rPr lang="de-DE" noProof="0" err="1"/>
              <a:t>level</a:t>
            </a:r>
            <a:r>
              <a:rPr lang="de-DE" noProof="0"/>
              <a:t>” </a:t>
            </a:r>
            <a:r>
              <a:rPr lang="de-DE" noProof="0" err="1"/>
              <a:t>to</a:t>
            </a:r>
            <a:r>
              <a:rPr lang="de-DE" noProof="0"/>
              <a:t> </a:t>
            </a:r>
            <a:r>
              <a:rPr lang="de-DE" noProof="0" err="1"/>
              <a:t>add</a:t>
            </a:r>
            <a:r>
              <a:rPr lang="de-DE" noProof="0"/>
              <a:t> optional </a:t>
            </a:r>
            <a:r>
              <a:rPr lang="de-DE" noProof="0" err="1"/>
              <a:t>information</a:t>
            </a:r>
            <a:r>
              <a:rPr lang="de-DE" noProof="0"/>
              <a:t>.)</a:t>
            </a:r>
          </a:p>
          <a:p>
            <a:pPr lvl="1"/>
            <a:r>
              <a:rPr lang="de-DE" noProof="0"/>
              <a:t>2. </a:t>
            </a:r>
            <a:r>
              <a:rPr lang="de-DE" noProof="0" err="1"/>
              <a:t>level</a:t>
            </a:r>
            <a:endParaRPr lang="de-DE" noProof="0"/>
          </a:p>
          <a:p>
            <a:pPr lvl="2"/>
            <a:r>
              <a:rPr lang="de-DE" noProof="0"/>
              <a:t>3. </a:t>
            </a:r>
            <a:r>
              <a:rPr lang="de-DE" noProof="0" err="1"/>
              <a:t>level</a:t>
            </a:r>
            <a:endParaRPr lang="de-DE" noProof="0"/>
          </a:p>
          <a:p>
            <a:pPr lvl="3"/>
            <a:r>
              <a:rPr lang="de-DE" noProof="0"/>
              <a:t>4. </a:t>
            </a:r>
            <a:r>
              <a:rPr lang="de-DE" noProof="0" err="1"/>
              <a:t>level</a:t>
            </a:r>
            <a:endParaRPr lang="de-DE" noProof="0"/>
          </a:p>
          <a:p>
            <a:pPr lvl="4"/>
            <a:r>
              <a:rPr lang="de-DE" noProof="0"/>
              <a:t>5. </a:t>
            </a:r>
            <a:r>
              <a:rPr lang="de-DE" noProof="0" err="1"/>
              <a:t>level</a:t>
            </a:r>
            <a:endParaRPr lang="de-DE" noProof="0"/>
          </a:p>
          <a:p>
            <a:pPr lvl="5"/>
            <a:r>
              <a:rPr lang="de-DE" noProof="0"/>
              <a:t>6. </a:t>
            </a:r>
            <a:r>
              <a:rPr lang="de-DE" noProof="0" err="1"/>
              <a:t>level</a:t>
            </a:r>
            <a:endParaRPr lang="de-DE" noProof="0"/>
          </a:p>
          <a:p>
            <a:pPr lvl="6"/>
            <a:r>
              <a:rPr lang="de-DE" noProof="0"/>
              <a:t>7. </a:t>
            </a:r>
            <a:r>
              <a:rPr lang="de-DE" noProof="0" err="1"/>
              <a:t>level</a:t>
            </a:r>
            <a:endParaRPr lang="de-DE" noProof="0"/>
          </a:p>
          <a:p>
            <a:pPr lvl="7"/>
            <a:r>
              <a:rPr lang="de-DE" noProof="0"/>
              <a:t>8. </a:t>
            </a:r>
            <a:r>
              <a:rPr lang="de-DE" noProof="0" err="1"/>
              <a:t>level</a:t>
            </a:r>
            <a:endParaRPr lang="de-DE" noProof="0"/>
          </a:p>
          <a:p>
            <a:pPr lvl="8"/>
            <a:r>
              <a:rPr lang="de-DE" noProof="0"/>
              <a:t>9. </a:t>
            </a:r>
            <a:r>
              <a:rPr lang="de-DE" noProof="0" err="1"/>
              <a:t>level</a:t>
            </a:r>
            <a:endParaRPr lang="de-DE" noProof="0"/>
          </a:p>
        </p:txBody>
      </p:sp>
      <p:sp>
        <p:nvSpPr>
          <p:cNvPr id="2" name="Fußzeilenplatzhalter 1">
            <a:extLst>
              <a:ext uri="{FF2B5EF4-FFF2-40B4-BE49-F238E27FC236}">
                <a16:creationId xmlns:a16="http://schemas.microsoft.com/office/drawing/2014/main" id="{F62F0615-8843-8C57-5CE6-0C378000552A}"/>
              </a:ext>
            </a:extLst>
          </p:cNvPr>
          <p:cNvSpPr>
            <a:spLocks noGrp="1"/>
          </p:cNvSpPr>
          <p:nvPr>
            <p:ph type="ftr" sz="quarter" idx="10"/>
          </p:nvPr>
        </p:nvSpPr>
        <p:spPr bwMode="gray"/>
        <p:txBody>
          <a:bodyPr/>
          <a:lstStyle>
            <a:lvl1pPr>
              <a:defRPr>
                <a:solidFill>
                  <a:schemeClr val="bg1"/>
                </a:solidFill>
              </a:defRPr>
            </a:lvl1pPr>
          </a:lstStyle>
          <a:p>
            <a:r>
              <a:rPr lang="de-DE"/>
              <a:t>Date dd.mm.yyyy  |  Security label</a:t>
            </a:r>
          </a:p>
        </p:txBody>
      </p:sp>
      <p:sp>
        <p:nvSpPr>
          <p:cNvPr id="6" name="Titel 5">
            <a:extLst>
              <a:ext uri="{FF2B5EF4-FFF2-40B4-BE49-F238E27FC236}">
                <a16:creationId xmlns:a16="http://schemas.microsoft.com/office/drawing/2014/main" id="{7BC2A7C5-70DF-273F-56BF-981269B7883A}"/>
              </a:ext>
            </a:extLst>
          </p:cNvPr>
          <p:cNvSpPr>
            <a:spLocks noGrp="1"/>
          </p:cNvSpPr>
          <p:nvPr>
            <p:ph type="title" hasCustomPrompt="1"/>
          </p:nvPr>
        </p:nvSpPr>
        <p:spPr bwMode="gray">
          <a:xfrm>
            <a:off x="6203950" y="2816932"/>
            <a:ext cx="6228754" cy="4041068"/>
          </a:xfrm>
        </p:spPr>
        <p:txBody>
          <a:bodyPr anchor="ctr">
            <a:noAutofit/>
          </a:bodyPr>
          <a:lstStyle>
            <a:lvl1pPr algn="r">
              <a:lnSpc>
                <a:spcPct val="100000"/>
              </a:lnSpc>
              <a:defRPr sz="40000" i="0">
                <a:solidFill>
                  <a:schemeClr val="bg1"/>
                </a:solidFill>
              </a:defRPr>
            </a:lvl1pPr>
          </a:lstStyle>
          <a:p>
            <a:r>
              <a:rPr lang="de-DE"/>
              <a:t>00</a:t>
            </a:r>
          </a:p>
        </p:txBody>
      </p:sp>
      <p:sp>
        <p:nvSpPr>
          <p:cNvPr id="5" name="Freihandform: Form 459">
            <a:extLst>
              <a:ext uri="{FF2B5EF4-FFF2-40B4-BE49-F238E27FC236}">
                <a16:creationId xmlns:a16="http://schemas.microsoft.com/office/drawing/2014/main" id="{11565787-C7C6-55FE-90B9-FF20083BA7CA}"/>
              </a:ext>
            </a:extLst>
          </p:cNvPr>
          <p:cNvSpPr txBox="1">
            <a:spLocks noChangeAspect="1"/>
          </p:cNvSpPr>
          <p:nvPr userDrawn="1"/>
        </p:nvSpPr>
        <p:spPr bwMode="gray">
          <a:xfrm>
            <a:off x="11352648" y="307218"/>
            <a:ext cx="576000" cy="313470"/>
          </a:xfrm>
          <a:custGeom>
            <a:avLst/>
            <a:gdLst>
              <a:gd name="connsiteX0" fmla="*/ 471895 w 4139828"/>
              <a:gd name="connsiteY0" fmla="*/ 507 h 2242189"/>
              <a:gd name="connsiteX1" fmla="*/ 1132548 w 4139828"/>
              <a:gd name="connsiteY1" fmla="*/ 507 h 2242189"/>
              <a:gd name="connsiteX2" fmla="*/ 1179737 w 4139828"/>
              <a:gd name="connsiteY2" fmla="*/ 47691 h 2242189"/>
              <a:gd name="connsiteX3" fmla="*/ 1179737 w 4139828"/>
              <a:gd name="connsiteY3" fmla="*/ 425671 h 2242189"/>
              <a:gd name="connsiteX4" fmla="*/ 1132548 w 4139828"/>
              <a:gd name="connsiteY4" fmla="*/ 472855 h 2242189"/>
              <a:gd name="connsiteX5" fmla="*/ 659508 w 4139828"/>
              <a:gd name="connsiteY5" fmla="*/ 472855 h 2242189"/>
              <a:gd name="connsiteX6" fmla="*/ 470750 w 4139828"/>
              <a:gd name="connsiteY6" fmla="*/ 661591 h 2242189"/>
              <a:gd name="connsiteX7" fmla="*/ 470750 w 4139828"/>
              <a:gd name="connsiteY7" fmla="*/ 728742 h 2242189"/>
              <a:gd name="connsiteX8" fmla="*/ 494281 w 4139828"/>
              <a:gd name="connsiteY8" fmla="*/ 752270 h 2242189"/>
              <a:gd name="connsiteX9" fmla="*/ 800059 w 4139828"/>
              <a:gd name="connsiteY9" fmla="*/ 752270 h 2242189"/>
              <a:gd name="connsiteX10" fmla="*/ 847248 w 4139828"/>
              <a:gd name="connsiteY10" fmla="*/ 799454 h 2242189"/>
              <a:gd name="connsiteX11" fmla="*/ 847248 w 4139828"/>
              <a:gd name="connsiteY11" fmla="*/ 1081668 h 2242189"/>
              <a:gd name="connsiteX12" fmla="*/ 800059 w 4139828"/>
              <a:gd name="connsiteY12" fmla="*/ 1128852 h 2242189"/>
              <a:gd name="connsiteX13" fmla="*/ 494281 w 4139828"/>
              <a:gd name="connsiteY13" fmla="*/ 1128852 h 2242189"/>
              <a:gd name="connsiteX14" fmla="*/ 470750 w 4139828"/>
              <a:gd name="connsiteY14" fmla="*/ 1152380 h 2242189"/>
              <a:gd name="connsiteX15" fmla="*/ 470750 w 4139828"/>
              <a:gd name="connsiteY15" fmla="*/ 1227671 h 2242189"/>
              <a:gd name="connsiteX16" fmla="*/ 659508 w 4139828"/>
              <a:gd name="connsiteY16" fmla="*/ 1416406 h 2242189"/>
              <a:gd name="connsiteX17" fmla="*/ 1297775 w 4139828"/>
              <a:gd name="connsiteY17" fmla="*/ 1416406 h 2242189"/>
              <a:gd name="connsiteX18" fmla="*/ 1297775 w 4139828"/>
              <a:gd name="connsiteY18" fmla="*/ 1413100 h 2242189"/>
              <a:gd name="connsiteX19" fmla="*/ 1297775 w 4139828"/>
              <a:gd name="connsiteY19" fmla="*/ 472728 h 2242189"/>
              <a:gd name="connsiteX20" fmla="*/ 1769797 w 4139828"/>
              <a:gd name="connsiteY20" fmla="*/ 889 h 2242189"/>
              <a:gd name="connsiteX21" fmla="*/ 2359729 w 4139828"/>
              <a:gd name="connsiteY21" fmla="*/ 889 h 2242189"/>
              <a:gd name="connsiteX22" fmla="*/ 2831624 w 4139828"/>
              <a:gd name="connsiteY22" fmla="*/ 472728 h 2242189"/>
              <a:gd name="connsiteX23" fmla="*/ 2831624 w 4139828"/>
              <a:gd name="connsiteY23" fmla="*/ 2195005 h 2242189"/>
              <a:gd name="connsiteX24" fmla="*/ 2784434 w 4139828"/>
              <a:gd name="connsiteY24" fmla="*/ 2242189 h 2242189"/>
              <a:gd name="connsiteX25" fmla="*/ 2408063 w 4139828"/>
              <a:gd name="connsiteY25" fmla="*/ 2242189 h 2242189"/>
              <a:gd name="connsiteX26" fmla="*/ 2360874 w 4139828"/>
              <a:gd name="connsiteY26" fmla="*/ 2195005 h 2242189"/>
              <a:gd name="connsiteX27" fmla="*/ 2360874 w 4139828"/>
              <a:gd name="connsiteY27" fmla="*/ 661336 h 2242189"/>
              <a:gd name="connsiteX28" fmla="*/ 2172116 w 4139828"/>
              <a:gd name="connsiteY28" fmla="*/ 472601 h 2242189"/>
              <a:gd name="connsiteX29" fmla="*/ 1957410 w 4139828"/>
              <a:gd name="connsiteY29" fmla="*/ 472601 h 2242189"/>
              <a:gd name="connsiteX30" fmla="*/ 1768652 w 4139828"/>
              <a:gd name="connsiteY30" fmla="*/ 661336 h 2242189"/>
              <a:gd name="connsiteX31" fmla="*/ 1768652 w 4139828"/>
              <a:gd name="connsiteY31" fmla="*/ 1227671 h 2242189"/>
              <a:gd name="connsiteX32" fmla="*/ 1957410 w 4139828"/>
              <a:gd name="connsiteY32" fmla="*/ 1416406 h 2242189"/>
              <a:gd name="connsiteX33" fmla="*/ 2219305 w 4139828"/>
              <a:gd name="connsiteY33" fmla="*/ 1416406 h 2242189"/>
              <a:gd name="connsiteX34" fmla="*/ 2242963 w 4139828"/>
              <a:gd name="connsiteY34" fmla="*/ 1439935 h 2242189"/>
              <a:gd name="connsiteX35" fmla="*/ 2242963 w 4139828"/>
              <a:gd name="connsiteY35" fmla="*/ 1864717 h 2242189"/>
              <a:gd name="connsiteX36" fmla="*/ 2219305 w 4139828"/>
              <a:gd name="connsiteY36" fmla="*/ 1888246 h 2242189"/>
              <a:gd name="connsiteX37" fmla="*/ 472022 w 4139828"/>
              <a:gd name="connsiteY37" fmla="*/ 1888246 h 2242189"/>
              <a:gd name="connsiteX38" fmla="*/ 0 w 4139828"/>
              <a:gd name="connsiteY38" fmla="*/ 1416406 h 2242189"/>
              <a:gd name="connsiteX39" fmla="*/ 0 w 4139828"/>
              <a:gd name="connsiteY39" fmla="*/ 472346 h 2242189"/>
              <a:gd name="connsiteX40" fmla="*/ 471895 w 4139828"/>
              <a:gd name="connsiteY40" fmla="*/ 507 h 2242189"/>
              <a:gd name="connsiteX41" fmla="*/ 3422701 w 4139828"/>
              <a:gd name="connsiteY41" fmla="*/ 0 h 2242189"/>
              <a:gd name="connsiteX42" fmla="*/ 4021918 w 4139828"/>
              <a:gd name="connsiteY42" fmla="*/ 0 h 2242189"/>
              <a:gd name="connsiteX43" fmla="*/ 4069108 w 4139828"/>
              <a:gd name="connsiteY43" fmla="*/ 47184 h 2242189"/>
              <a:gd name="connsiteX44" fmla="*/ 4069108 w 4139828"/>
              <a:gd name="connsiteY44" fmla="*/ 425546 h 2242189"/>
              <a:gd name="connsiteX45" fmla="*/ 4021918 w 4139828"/>
              <a:gd name="connsiteY45" fmla="*/ 472730 h 2242189"/>
              <a:gd name="connsiteX46" fmla="*/ 3532979 w 4139828"/>
              <a:gd name="connsiteY46" fmla="*/ 472730 h 2242189"/>
              <a:gd name="connsiteX47" fmla="*/ 3532852 w 4139828"/>
              <a:gd name="connsiteY47" fmla="*/ 472857 h 2242189"/>
              <a:gd name="connsiteX48" fmla="*/ 3488969 w 4139828"/>
              <a:gd name="connsiteY48" fmla="*/ 599147 h 2242189"/>
              <a:gd name="connsiteX49" fmla="*/ 3904008 w 4139828"/>
              <a:gd name="connsiteY49" fmla="*/ 927781 h 2242189"/>
              <a:gd name="connsiteX50" fmla="*/ 4139828 w 4139828"/>
              <a:gd name="connsiteY50" fmla="*/ 1415391 h 2242189"/>
              <a:gd name="connsiteX51" fmla="*/ 4001312 w 4139828"/>
              <a:gd name="connsiteY51" fmla="*/ 1749875 h 2242189"/>
              <a:gd name="connsiteX52" fmla="*/ 3666916 w 4139828"/>
              <a:gd name="connsiteY52" fmla="*/ 1888375 h 2242189"/>
              <a:gd name="connsiteX53" fmla="*/ 2973319 w 4139828"/>
              <a:gd name="connsiteY53" fmla="*/ 1888375 h 2242189"/>
              <a:gd name="connsiteX54" fmla="*/ 2949788 w 4139828"/>
              <a:gd name="connsiteY54" fmla="*/ 1864846 h 2242189"/>
              <a:gd name="connsiteX55" fmla="*/ 2949788 w 4139828"/>
              <a:gd name="connsiteY55" fmla="*/ 1439173 h 2242189"/>
              <a:gd name="connsiteX56" fmla="*/ 2973319 w 4139828"/>
              <a:gd name="connsiteY56" fmla="*/ 1415518 h 2242189"/>
              <a:gd name="connsiteX57" fmla="*/ 3556637 w 4139828"/>
              <a:gd name="connsiteY57" fmla="*/ 1415518 h 2242189"/>
              <a:gd name="connsiteX58" fmla="*/ 3600520 w 4139828"/>
              <a:gd name="connsiteY58" fmla="*/ 1289228 h 2242189"/>
              <a:gd name="connsiteX59" fmla="*/ 3185481 w 4139828"/>
              <a:gd name="connsiteY59" fmla="*/ 960594 h 2242189"/>
              <a:gd name="connsiteX60" fmla="*/ 2949661 w 4139828"/>
              <a:gd name="connsiteY60" fmla="*/ 472984 h 2242189"/>
              <a:gd name="connsiteX61" fmla="*/ 3422701 w 4139828"/>
              <a:gd name="connsiteY61" fmla="*/ 0 h 22421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4139828" h="2242189">
                <a:moveTo>
                  <a:pt x="471895" y="507"/>
                </a:moveTo>
                <a:lnTo>
                  <a:pt x="1132548" y="507"/>
                </a:lnTo>
                <a:cubicBezTo>
                  <a:pt x="1158623" y="507"/>
                  <a:pt x="1179737" y="21619"/>
                  <a:pt x="1179737" y="47691"/>
                </a:cubicBezTo>
                <a:lnTo>
                  <a:pt x="1179737" y="425671"/>
                </a:lnTo>
                <a:cubicBezTo>
                  <a:pt x="1179737" y="451743"/>
                  <a:pt x="1158623" y="472855"/>
                  <a:pt x="1132548" y="472855"/>
                </a:cubicBezTo>
                <a:lnTo>
                  <a:pt x="659508" y="472855"/>
                </a:lnTo>
                <a:cubicBezTo>
                  <a:pt x="555208" y="472855"/>
                  <a:pt x="470750" y="557303"/>
                  <a:pt x="470750" y="661591"/>
                </a:cubicBezTo>
                <a:lnTo>
                  <a:pt x="470750" y="728742"/>
                </a:lnTo>
                <a:cubicBezTo>
                  <a:pt x="470750" y="741714"/>
                  <a:pt x="481307" y="752270"/>
                  <a:pt x="494281" y="752270"/>
                </a:cubicBezTo>
                <a:lnTo>
                  <a:pt x="800059" y="752270"/>
                </a:lnTo>
                <a:cubicBezTo>
                  <a:pt x="826134" y="752270"/>
                  <a:pt x="847248" y="773382"/>
                  <a:pt x="847248" y="799454"/>
                </a:cubicBezTo>
                <a:lnTo>
                  <a:pt x="847248" y="1081668"/>
                </a:lnTo>
                <a:cubicBezTo>
                  <a:pt x="847248" y="1107740"/>
                  <a:pt x="826134" y="1128852"/>
                  <a:pt x="800059" y="1128852"/>
                </a:cubicBezTo>
                <a:lnTo>
                  <a:pt x="494281" y="1128852"/>
                </a:lnTo>
                <a:cubicBezTo>
                  <a:pt x="481307" y="1128852"/>
                  <a:pt x="470750" y="1139408"/>
                  <a:pt x="470750" y="1152380"/>
                </a:cubicBezTo>
                <a:lnTo>
                  <a:pt x="470750" y="1227671"/>
                </a:lnTo>
                <a:cubicBezTo>
                  <a:pt x="470750" y="1331832"/>
                  <a:pt x="555208" y="1416406"/>
                  <a:pt x="659508" y="1416406"/>
                </a:cubicBezTo>
                <a:lnTo>
                  <a:pt x="1297775" y="1416406"/>
                </a:lnTo>
                <a:cubicBezTo>
                  <a:pt x="1297775" y="1415389"/>
                  <a:pt x="1297775" y="1414244"/>
                  <a:pt x="1297775" y="1413100"/>
                </a:cubicBezTo>
                <a:lnTo>
                  <a:pt x="1297775" y="472728"/>
                </a:lnTo>
                <a:cubicBezTo>
                  <a:pt x="1297775" y="212135"/>
                  <a:pt x="1509173" y="889"/>
                  <a:pt x="1769797" y="889"/>
                </a:cubicBezTo>
                <a:lnTo>
                  <a:pt x="2359729" y="889"/>
                </a:lnTo>
                <a:cubicBezTo>
                  <a:pt x="2620352" y="889"/>
                  <a:pt x="2831624" y="212135"/>
                  <a:pt x="2831624" y="472728"/>
                </a:cubicBezTo>
                <a:lnTo>
                  <a:pt x="2831624" y="2195005"/>
                </a:lnTo>
                <a:cubicBezTo>
                  <a:pt x="2831624" y="2221077"/>
                  <a:pt x="2810509" y="2242189"/>
                  <a:pt x="2784434" y="2242189"/>
                </a:cubicBezTo>
                <a:lnTo>
                  <a:pt x="2408063" y="2242189"/>
                </a:lnTo>
                <a:cubicBezTo>
                  <a:pt x="2381988" y="2242189"/>
                  <a:pt x="2360874" y="2221077"/>
                  <a:pt x="2360874" y="2195005"/>
                </a:cubicBezTo>
                <a:lnTo>
                  <a:pt x="2360874" y="661336"/>
                </a:lnTo>
                <a:cubicBezTo>
                  <a:pt x="2360874" y="557176"/>
                  <a:pt x="2276289" y="472601"/>
                  <a:pt x="2172116" y="472601"/>
                </a:cubicBezTo>
                <a:lnTo>
                  <a:pt x="1957410" y="472601"/>
                </a:lnTo>
                <a:cubicBezTo>
                  <a:pt x="1853110" y="472601"/>
                  <a:pt x="1768652" y="557176"/>
                  <a:pt x="1768652" y="661336"/>
                </a:cubicBezTo>
                <a:lnTo>
                  <a:pt x="1768652" y="1227671"/>
                </a:lnTo>
                <a:cubicBezTo>
                  <a:pt x="1768652" y="1331832"/>
                  <a:pt x="1853110" y="1416406"/>
                  <a:pt x="1957410" y="1416406"/>
                </a:cubicBezTo>
                <a:lnTo>
                  <a:pt x="2219305" y="1416406"/>
                </a:lnTo>
                <a:cubicBezTo>
                  <a:pt x="2232406" y="1416406"/>
                  <a:pt x="2242963" y="1426962"/>
                  <a:pt x="2242963" y="1439935"/>
                </a:cubicBezTo>
                <a:lnTo>
                  <a:pt x="2242963" y="1864717"/>
                </a:lnTo>
                <a:cubicBezTo>
                  <a:pt x="2242963" y="1877690"/>
                  <a:pt x="2232406" y="1888246"/>
                  <a:pt x="2219305" y="1888246"/>
                </a:cubicBezTo>
                <a:lnTo>
                  <a:pt x="472022" y="1888246"/>
                </a:lnTo>
                <a:cubicBezTo>
                  <a:pt x="211272" y="1888246"/>
                  <a:pt x="0" y="1676999"/>
                  <a:pt x="0" y="1416406"/>
                </a:cubicBezTo>
                <a:lnTo>
                  <a:pt x="0" y="472346"/>
                </a:lnTo>
                <a:cubicBezTo>
                  <a:pt x="0" y="211754"/>
                  <a:pt x="211272" y="507"/>
                  <a:pt x="471895" y="507"/>
                </a:cubicBezTo>
                <a:close/>
                <a:moveTo>
                  <a:pt x="3422701" y="0"/>
                </a:moveTo>
                <a:lnTo>
                  <a:pt x="4021918" y="0"/>
                </a:lnTo>
                <a:cubicBezTo>
                  <a:pt x="4047993" y="0"/>
                  <a:pt x="4069108" y="21112"/>
                  <a:pt x="4069108" y="47184"/>
                </a:cubicBezTo>
                <a:lnTo>
                  <a:pt x="4069108" y="425546"/>
                </a:lnTo>
                <a:cubicBezTo>
                  <a:pt x="4069108" y="451618"/>
                  <a:pt x="4047993" y="472730"/>
                  <a:pt x="4021918" y="472730"/>
                </a:cubicBezTo>
                <a:lnTo>
                  <a:pt x="3532979" y="472730"/>
                </a:lnTo>
                <a:lnTo>
                  <a:pt x="3532852" y="472857"/>
                </a:lnTo>
                <a:cubicBezTo>
                  <a:pt x="3465693" y="472857"/>
                  <a:pt x="3436311" y="557432"/>
                  <a:pt x="3488969" y="599147"/>
                </a:cubicBezTo>
                <a:lnTo>
                  <a:pt x="3904008" y="927781"/>
                </a:lnTo>
                <a:cubicBezTo>
                  <a:pt x="4052954" y="1045804"/>
                  <a:pt x="4139828" y="1225383"/>
                  <a:pt x="4139828" y="1415391"/>
                </a:cubicBezTo>
                <a:cubicBezTo>
                  <a:pt x="4139828" y="1546005"/>
                  <a:pt x="4086915" y="1664156"/>
                  <a:pt x="4001312" y="1749875"/>
                </a:cubicBezTo>
                <a:cubicBezTo>
                  <a:pt x="3915710" y="1835468"/>
                  <a:pt x="3797418" y="1888375"/>
                  <a:pt x="3666916" y="1888375"/>
                </a:cubicBezTo>
                <a:lnTo>
                  <a:pt x="2973319" y="1888375"/>
                </a:lnTo>
                <a:cubicBezTo>
                  <a:pt x="2960346" y="1888375"/>
                  <a:pt x="2949788" y="1877819"/>
                  <a:pt x="2949788" y="1864846"/>
                </a:cubicBezTo>
                <a:lnTo>
                  <a:pt x="2949788" y="1439173"/>
                </a:lnTo>
                <a:cubicBezTo>
                  <a:pt x="2949788" y="1426201"/>
                  <a:pt x="2960346" y="1415518"/>
                  <a:pt x="2973319" y="1415518"/>
                </a:cubicBezTo>
                <a:lnTo>
                  <a:pt x="3556637" y="1415518"/>
                </a:lnTo>
                <a:cubicBezTo>
                  <a:pt x="3623797" y="1415518"/>
                  <a:pt x="3653179" y="1330943"/>
                  <a:pt x="3600520" y="1289228"/>
                </a:cubicBezTo>
                <a:lnTo>
                  <a:pt x="3185481" y="960594"/>
                </a:lnTo>
                <a:cubicBezTo>
                  <a:pt x="3036535" y="842570"/>
                  <a:pt x="2949661" y="662991"/>
                  <a:pt x="2949661" y="472984"/>
                </a:cubicBezTo>
                <a:cubicBezTo>
                  <a:pt x="2949661" y="211755"/>
                  <a:pt x="3161441" y="0"/>
                  <a:pt x="3422701" y="0"/>
                </a:cubicBezTo>
                <a:close/>
              </a:path>
            </a:pathLst>
          </a:custGeom>
          <a:solidFill>
            <a:schemeClr val="bg1"/>
          </a:solidFill>
          <a:ln w="127">
            <a:solidFill>
              <a:schemeClr val="bg1">
                <a:alpha val="0"/>
              </a:schemeClr>
            </a:solidFill>
          </a:ln>
        </p:spPr>
        <p:txBody>
          <a:bodyPr wrap="square">
            <a:noAutofit/>
          </a:bodyPr>
          <a:lstStyle>
            <a:lvl1pPr marL="0" indent="0" algn="l" defTabSz="914400" rtl="0" eaLnBrk="1" latinLnBrk="0" hangingPunct="1">
              <a:lnSpc>
                <a:spcPct val="110000"/>
              </a:lnSpc>
              <a:spcBef>
                <a:spcPts val="600"/>
              </a:spcBef>
              <a:spcAft>
                <a:spcPts val="600"/>
              </a:spcAft>
              <a:buFont typeface="Arial" panose="020B0604020202020204" pitchFamily="34" charset="0"/>
              <a:buNone/>
              <a:defRPr sz="2000" b="1" kern="1200">
                <a:solidFill>
                  <a:schemeClr val="tx1"/>
                </a:solidFill>
                <a:latin typeface="+mj-lt"/>
                <a:ea typeface="+mn-ea"/>
                <a:cs typeface="+mn-cs"/>
              </a:defRPr>
            </a:lvl1pPr>
            <a:lvl2pPr marL="0" indent="0" algn="l" defTabSz="914400" rtl="0" eaLnBrk="1" latinLnBrk="0" hangingPunct="1">
              <a:lnSpc>
                <a:spcPct val="110000"/>
              </a:lnSpc>
              <a:spcBef>
                <a:spcPts val="600"/>
              </a:spcBef>
              <a:spcAft>
                <a:spcPts val="600"/>
              </a:spcAft>
              <a:buFont typeface="Arial" panose="020B0604020202020204" pitchFamily="34" charset="0"/>
              <a:buNone/>
              <a:defRPr sz="2000" kern="1200">
                <a:solidFill>
                  <a:schemeClr val="tx1"/>
                </a:solidFill>
                <a:latin typeface="+mn-lt"/>
                <a:ea typeface="+mn-ea"/>
                <a:cs typeface="+mn-cs"/>
              </a:defRPr>
            </a:lvl2pPr>
            <a:lvl3pPr marL="361950" indent="-361950" algn="l" defTabSz="914400" rtl="0" eaLnBrk="1" latinLnBrk="0" hangingPunct="1">
              <a:lnSpc>
                <a:spcPct val="110000"/>
              </a:lnSpc>
              <a:spcBef>
                <a:spcPts val="600"/>
              </a:spcBef>
              <a:spcAft>
                <a:spcPts val="600"/>
              </a:spcAft>
              <a:buClr>
                <a:schemeClr val="accent1"/>
              </a:buClr>
              <a:buFontTx/>
              <a:buBlip>
                <a:blip r:embed="rId2"/>
              </a:buBlip>
              <a:defRPr sz="2000" kern="1200">
                <a:solidFill>
                  <a:schemeClr val="tx1"/>
                </a:solidFill>
                <a:latin typeface="+mn-lt"/>
                <a:ea typeface="+mn-ea"/>
                <a:cs typeface="+mn-cs"/>
              </a:defRPr>
            </a:lvl3pPr>
            <a:lvl4pPr marL="714375" indent="-352425" algn="l" defTabSz="914400" rtl="0" eaLnBrk="1" latinLnBrk="0" hangingPunct="1">
              <a:lnSpc>
                <a:spcPct val="110000"/>
              </a:lnSpc>
              <a:spcBef>
                <a:spcPts val="600"/>
              </a:spcBef>
              <a:spcAft>
                <a:spcPts val="600"/>
              </a:spcAft>
              <a:buClr>
                <a:schemeClr val="accent1"/>
              </a:buClr>
              <a:buFontTx/>
              <a:buBlip>
                <a:blip r:embed="rId2"/>
              </a:buBlip>
              <a:defRPr sz="2000" kern="1200">
                <a:solidFill>
                  <a:schemeClr val="tx1"/>
                </a:solidFill>
                <a:latin typeface="+mn-lt"/>
                <a:ea typeface="+mn-ea"/>
                <a:cs typeface="+mn-cs"/>
              </a:defRPr>
            </a:lvl4pPr>
            <a:lvl5pPr marL="0" indent="0" algn="l" defTabSz="914400" rtl="0" eaLnBrk="1" latinLnBrk="0" hangingPunct="1">
              <a:lnSpc>
                <a:spcPct val="110000"/>
              </a:lnSpc>
              <a:spcBef>
                <a:spcPts val="600"/>
              </a:spcBef>
              <a:spcAft>
                <a:spcPts val="600"/>
              </a:spcAft>
              <a:buClr>
                <a:schemeClr val="accent1"/>
              </a:buClr>
              <a:buFont typeface="Arial" panose="020B0604020202020204" pitchFamily="34" charset="0"/>
              <a:buNone/>
              <a:defRPr sz="2500" kern="1200">
                <a:solidFill>
                  <a:schemeClr val="tx1"/>
                </a:solidFill>
                <a:latin typeface="+mn-lt"/>
                <a:ea typeface="+mn-ea"/>
                <a:cs typeface="+mn-cs"/>
              </a:defRPr>
            </a:lvl5pPr>
            <a:lvl6pPr marL="361950" indent="-361950" algn="l" defTabSz="914400" rtl="0" eaLnBrk="1" latinLnBrk="0" hangingPunct="1">
              <a:lnSpc>
                <a:spcPct val="110000"/>
              </a:lnSpc>
              <a:spcBef>
                <a:spcPts val="600"/>
              </a:spcBef>
              <a:spcAft>
                <a:spcPts val="600"/>
              </a:spcAft>
              <a:buClr>
                <a:schemeClr val="accent1"/>
              </a:buClr>
              <a:buFontTx/>
              <a:buBlip>
                <a:blip r:embed="rId2"/>
              </a:buBlip>
              <a:defRPr sz="2500" kern="1200">
                <a:solidFill>
                  <a:schemeClr val="tx1"/>
                </a:solidFill>
                <a:latin typeface="+mn-lt"/>
                <a:ea typeface="+mn-ea"/>
                <a:cs typeface="+mn-cs"/>
              </a:defRPr>
            </a:lvl6pPr>
            <a:lvl7pPr marL="360000" indent="-360000" algn="l" defTabSz="914400" rtl="0" eaLnBrk="1" latinLnBrk="0" hangingPunct="1">
              <a:lnSpc>
                <a:spcPct val="110000"/>
              </a:lnSpc>
              <a:spcBef>
                <a:spcPts val="600"/>
              </a:spcBef>
              <a:spcAft>
                <a:spcPts val="600"/>
              </a:spcAft>
              <a:buClr>
                <a:schemeClr val="accent1"/>
              </a:buClr>
              <a:buFont typeface="+mj-lt"/>
              <a:buAutoNum type="arabicPeriod"/>
              <a:defRPr sz="2000" kern="1200">
                <a:solidFill>
                  <a:schemeClr val="tx1"/>
                </a:solidFill>
                <a:latin typeface="+mn-lt"/>
                <a:ea typeface="+mn-ea"/>
                <a:cs typeface="+mn-cs"/>
              </a:defRPr>
            </a:lvl7pPr>
            <a:lvl8pPr marL="714375" indent="-354013" algn="l" defTabSz="914400" rtl="0" eaLnBrk="1" latinLnBrk="0" hangingPunct="1">
              <a:lnSpc>
                <a:spcPct val="110000"/>
              </a:lnSpc>
              <a:spcBef>
                <a:spcPts val="600"/>
              </a:spcBef>
              <a:spcAft>
                <a:spcPts val="600"/>
              </a:spcAft>
              <a:buClr>
                <a:schemeClr val="accent1"/>
              </a:buClr>
              <a:buFontTx/>
              <a:buBlip>
                <a:blip r:embed="rId2"/>
              </a:buBlip>
              <a:defRPr sz="2000" kern="1200">
                <a:solidFill>
                  <a:schemeClr val="tx1"/>
                </a:solidFill>
                <a:latin typeface="+mn-lt"/>
                <a:ea typeface="+mn-ea"/>
                <a:cs typeface="+mn-cs"/>
              </a:defRPr>
            </a:lvl8pPr>
            <a:lvl9pPr marL="1076325" indent="-361950" algn="l" defTabSz="914400" rtl="0" eaLnBrk="1" latinLnBrk="0" hangingPunct="1">
              <a:lnSpc>
                <a:spcPct val="110000"/>
              </a:lnSpc>
              <a:spcBef>
                <a:spcPts val="600"/>
              </a:spcBef>
              <a:spcAft>
                <a:spcPts val="600"/>
              </a:spcAft>
              <a:buClr>
                <a:schemeClr val="accent1"/>
              </a:buClr>
              <a:buFontTx/>
              <a:buBlip>
                <a:blip r:embed="rId2"/>
              </a:buBlip>
              <a:defRPr sz="2000" kern="1200">
                <a:solidFill>
                  <a:schemeClr val="tx1"/>
                </a:solidFill>
                <a:latin typeface="+mn-lt"/>
                <a:ea typeface="+mn-ea"/>
                <a:cs typeface="+mn-cs"/>
              </a:defRPr>
            </a:lvl9pPr>
          </a:lstStyle>
          <a:p>
            <a:r>
              <a:rPr lang="de-DE"/>
              <a:t> </a:t>
            </a:r>
          </a:p>
        </p:txBody>
      </p:sp>
    </p:spTree>
    <p:extLst>
      <p:ext uri="{BB962C8B-B14F-4D97-AF65-F5344CB8AC3E}">
        <p14:creationId xmlns:p14="http://schemas.microsoft.com/office/powerpoint/2010/main" val="46612210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Divider | 5">
    <p:bg>
      <p:bgPr>
        <a:solidFill>
          <a:srgbClr val="25C7E0"/>
        </a:solidFill>
        <a:effectLst/>
      </p:bgPr>
    </p:bg>
    <p:spTree>
      <p:nvGrpSpPr>
        <p:cNvPr id="1" name=""/>
        <p:cNvGrpSpPr/>
        <p:nvPr/>
      </p:nvGrpSpPr>
      <p:grpSpPr>
        <a:xfrm>
          <a:off x="0" y="0"/>
          <a:ext cx="0" cy="0"/>
          <a:chOff x="0" y="0"/>
          <a:chExt cx="0" cy="0"/>
        </a:xfrm>
      </p:grpSpPr>
      <p:sp>
        <p:nvSpPr>
          <p:cNvPr id="3" name="Textplatzhalter 2"/>
          <p:cNvSpPr>
            <a:spLocks noGrp="1"/>
          </p:cNvSpPr>
          <p:nvPr>
            <p:ph type="body" idx="1" hasCustomPrompt="1"/>
          </p:nvPr>
        </p:nvSpPr>
        <p:spPr bwMode="gray">
          <a:xfrm>
            <a:off x="1092200" y="1412875"/>
            <a:ext cx="5111750" cy="4356385"/>
          </a:xfrm>
          <a:prstGeom prst="rect">
            <a:avLst/>
          </a:prstGeom>
        </p:spPr>
        <p:txBody>
          <a:bodyPr anchor="t"/>
          <a:lstStyle>
            <a:lvl1pPr marL="0" indent="0">
              <a:lnSpc>
                <a:spcPct val="100000"/>
              </a:lnSpc>
              <a:spcBef>
                <a:spcPts val="0"/>
              </a:spcBef>
              <a:buFont typeface="Yanone Kaffeesatz" pitchFamily="50" charset="0"/>
              <a:buNone/>
              <a:defRPr sz="3700" b="1" i="1" cap="none" baseline="0">
                <a:solidFill>
                  <a:schemeClr val="bg1"/>
                </a:solidFill>
                <a:latin typeface="Barlow ExtraBold" pitchFamily="2" charset="77"/>
              </a:defRPr>
            </a:lvl1pPr>
            <a:lvl2pPr marL="0" indent="0">
              <a:lnSpc>
                <a:spcPct val="110000"/>
              </a:lnSpc>
              <a:spcBef>
                <a:spcPts val="0"/>
              </a:spcBef>
              <a:spcAft>
                <a:spcPts val="0"/>
              </a:spcAft>
              <a:buNone/>
              <a:defRPr sz="2000">
                <a:solidFill>
                  <a:schemeClr val="bg1"/>
                </a:solidFill>
                <a:latin typeface="+mj-lt"/>
              </a:defRPr>
            </a:lvl2pPr>
            <a:lvl3pPr marL="0" indent="0">
              <a:lnSpc>
                <a:spcPct val="110000"/>
              </a:lnSpc>
              <a:spcBef>
                <a:spcPts val="0"/>
              </a:spcBef>
              <a:spcAft>
                <a:spcPts val="0"/>
              </a:spcAft>
              <a:buNone/>
              <a:defRPr sz="2000">
                <a:solidFill>
                  <a:schemeClr val="bg1"/>
                </a:solidFill>
                <a:latin typeface="+mj-lt"/>
              </a:defRPr>
            </a:lvl3pPr>
            <a:lvl4pPr marL="0" indent="0">
              <a:lnSpc>
                <a:spcPct val="110000"/>
              </a:lnSpc>
              <a:spcBef>
                <a:spcPts val="0"/>
              </a:spcBef>
              <a:spcAft>
                <a:spcPts val="0"/>
              </a:spcAft>
              <a:buNone/>
              <a:defRPr sz="2000">
                <a:solidFill>
                  <a:schemeClr val="bg1"/>
                </a:solidFill>
                <a:latin typeface="+mj-lt"/>
              </a:defRPr>
            </a:lvl4pPr>
            <a:lvl5pPr marL="0" indent="0">
              <a:lnSpc>
                <a:spcPct val="110000"/>
              </a:lnSpc>
              <a:spcBef>
                <a:spcPts val="0"/>
              </a:spcBef>
              <a:spcAft>
                <a:spcPts val="0"/>
              </a:spcAft>
              <a:buNone/>
              <a:defRPr sz="2000">
                <a:solidFill>
                  <a:schemeClr val="bg1"/>
                </a:solidFill>
                <a:latin typeface="+mj-lt"/>
              </a:defRPr>
            </a:lvl5pPr>
            <a:lvl6pPr marL="0" indent="0">
              <a:lnSpc>
                <a:spcPct val="110000"/>
              </a:lnSpc>
              <a:spcBef>
                <a:spcPts val="0"/>
              </a:spcBef>
              <a:spcAft>
                <a:spcPts val="0"/>
              </a:spcAft>
              <a:buNone/>
              <a:defRPr sz="2000">
                <a:solidFill>
                  <a:schemeClr val="bg1"/>
                </a:solidFill>
                <a:latin typeface="+mj-lt"/>
              </a:defRPr>
            </a:lvl6pPr>
            <a:lvl7pPr marL="0" indent="0">
              <a:lnSpc>
                <a:spcPct val="110000"/>
              </a:lnSpc>
              <a:spcBef>
                <a:spcPts val="0"/>
              </a:spcBef>
              <a:spcAft>
                <a:spcPts val="0"/>
              </a:spcAft>
              <a:buNone/>
              <a:defRPr sz="2000">
                <a:solidFill>
                  <a:schemeClr val="bg1"/>
                </a:solidFill>
                <a:latin typeface="+mj-lt"/>
              </a:defRPr>
            </a:lvl7pPr>
            <a:lvl8pPr marL="0" indent="0">
              <a:lnSpc>
                <a:spcPct val="110000"/>
              </a:lnSpc>
              <a:spcBef>
                <a:spcPts val="0"/>
              </a:spcBef>
              <a:spcAft>
                <a:spcPts val="0"/>
              </a:spcAft>
              <a:buNone/>
              <a:defRPr sz="2000">
                <a:solidFill>
                  <a:schemeClr val="bg1"/>
                </a:solidFill>
                <a:latin typeface="+mj-lt"/>
              </a:defRPr>
            </a:lvl8pPr>
            <a:lvl9pPr marL="0" indent="0">
              <a:lnSpc>
                <a:spcPct val="110000"/>
              </a:lnSpc>
              <a:spcBef>
                <a:spcPts val="0"/>
              </a:spcBef>
              <a:spcAft>
                <a:spcPts val="0"/>
              </a:spcAft>
              <a:buNone/>
              <a:defRPr sz="2000">
                <a:solidFill>
                  <a:schemeClr val="bg1"/>
                </a:solidFill>
                <a:latin typeface="+mj-lt"/>
              </a:defRPr>
            </a:lvl9pPr>
          </a:lstStyle>
          <a:p>
            <a:pPr lvl="0"/>
            <a:r>
              <a:rPr lang="de-DE" noProof="0" err="1"/>
              <a:t>Chapte</a:t>
            </a:r>
            <a:r>
              <a:rPr lang="de-DE" noProof="0"/>
              <a:t> </a:t>
            </a:r>
            <a:r>
              <a:rPr lang="de-DE" noProof="0" err="1"/>
              <a:t>r</a:t>
            </a:r>
            <a:r>
              <a:rPr lang="de-DE" noProof="0"/>
              <a:t> </a:t>
            </a:r>
            <a:r>
              <a:rPr lang="de-DE" noProof="0" err="1"/>
              <a:t>name</a:t>
            </a:r>
            <a:br>
              <a:rPr lang="de-DE" noProof="0"/>
            </a:br>
            <a:r>
              <a:rPr lang="de-DE" noProof="0"/>
              <a:t> (</a:t>
            </a:r>
            <a:r>
              <a:rPr lang="de-DE" noProof="0" err="1"/>
              <a:t>use</a:t>
            </a:r>
            <a:r>
              <a:rPr lang="de-DE" noProof="0"/>
              <a:t> </a:t>
            </a:r>
            <a:r>
              <a:rPr lang="de-DE" noProof="0" err="1"/>
              <a:t>the</a:t>
            </a:r>
            <a:r>
              <a:rPr lang="de-DE" noProof="0"/>
              <a:t> </a:t>
            </a:r>
            <a:r>
              <a:rPr lang="de-DE" noProof="0" err="1"/>
              <a:t>button</a:t>
            </a:r>
            <a:r>
              <a:rPr lang="de-DE" noProof="0"/>
              <a:t> “</a:t>
            </a:r>
            <a:r>
              <a:rPr lang="de-DE" noProof="0" err="1"/>
              <a:t>increase</a:t>
            </a:r>
            <a:r>
              <a:rPr lang="de-DE" noProof="0"/>
              <a:t> </a:t>
            </a:r>
            <a:r>
              <a:rPr lang="de-DE" noProof="0" err="1"/>
              <a:t>list</a:t>
            </a:r>
            <a:r>
              <a:rPr lang="de-DE" noProof="0"/>
              <a:t> </a:t>
            </a:r>
            <a:r>
              <a:rPr lang="de-DE" noProof="0" err="1"/>
              <a:t>level</a:t>
            </a:r>
            <a:r>
              <a:rPr lang="de-DE" noProof="0"/>
              <a:t>” </a:t>
            </a:r>
            <a:r>
              <a:rPr lang="de-DE" noProof="0" err="1"/>
              <a:t>to</a:t>
            </a:r>
            <a:r>
              <a:rPr lang="de-DE" noProof="0"/>
              <a:t> </a:t>
            </a:r>
            <a:r>
              <a:rPr lang="de-DE" noProof="0" err="1"/>
              <a:t>add</a:t>
            </a:r>
            <a:r>
              <a:rPr lang="de-DE" noProof="0"/>
              <a:t> optional </a:t>
            </a:r>
            <a:r>
              <a:rPr lang="de-DE" noProof="0" err="1"/>
              <a:t>information</a:t>
            </a:r>
            <a:r>
              <a:rPr lang="de-DE" noProof="0"/>
              <a:t>.)</a:t>
            </a:r>
          </a:p>
          <a:p>
            <a:pPr lvl="1"/>
            <a:r>
              <a:rPr lang="de-DE" noProof="0"/>
              <a:t>2. </a:t>
            </a:r>
            <a:r>
              <a:rPr lang="de-DE" noProof="0" err="1"/>
              <a:t>level</a:t>
            </a:r>
            <a:endParaRPr lang="de-DE" noProof="0"/>
          </a:p>
          <a:p>
            <a:pPr lvl="2"/>
            <a:r>
              <a:rPr lang="de-DE" noProof="0"/>
              <a:t>3. </a:t>
            </a:r>
            <a:r>
              <a:rPr lang="de-DE" noProof="0" err="1"/>
              <a:t>level</a:t>
            </a:r>
            <a:endParaRPr lang="de-DE" noProof="0"/>
          </a:p>
          <a:p>
            <a:pPr lvl="3"/>
            <a:r>
              <a:rPr lang="de-DE" noProof="0"/>
              <a:t>4. </a:t>
            </a:r>
            <a:r>
              <a:rPr lang="de-DE" noProof="0" err="1"/>
              <a:t>level</a:t>
            </a:r>
            <a:endParaRPr lang="de-DE" noProof="0"/>
          </a:p>
          <a:p>
            <a:pPr lvl="4"/>
            <a:r>
              <a:rPr lang="de-DE" noProof="0"/>
              <a:t>5. </a:t>
            </a:r>
            <a:r>
              <a:rPr lang="de-DE" noProof="0" err="1"/>
              <a:t>level</a:t>
            </a:r>
            <a:endParaRPr lang="de-DE" noProof="0"/>
          </a:p>
          <a:p>
            <a:pPr lvl="5"/>
            <a:r>
              <a:rPr lang="de-DE" noProof="0"/>
              <a:t>6. </a:t>
            </a:r>
            <a:r>
              <a:rPr lang="de-DE" noProof="0" err="1"/>
              <a:t>level</a:t>
            </a:r>
            <a:endParaRPr lang="de-DE" noProof="0"/>
          </a:p>
          <a:p>
            <a:pPr lvl="6"/>
            <a:r>
              <a:rPr lang="de-DE" noProof="0"/>
              <a:t>7. </a:t>
            </a:r>
            <a:r>
              <a:rPr lang="de-DE" noProof="0" err="1"/>
              <a:t>level</a:t>
            </a:r>
            <a:endParaRPr lang="de-DE" noProof="0"/>
          </a:p>
          <a:p>
            <a:pPr lvl="7"/>
            <a:r>
              <a:rPr lang="de-DE" noProof="0"/>
              <a:t>8. </a:t>
            </a:r>
            <a:r>
              <a:rPr lang="de-DE" noProof="0" err="1"/>
              <a:t>level</a:t>
            </a:r>
            <a:endParaRPr lang="de-DE" noProof="0"/>
          </a:p>
          <a:p>
            <a:pPr lvl="8"/>
            <a:r>
              <a:rPr lang="de-DE" noProof="0"/>
              <a:t>9. </a:t>
            </a:r>
            <a:r>
              <a:rPr lang="de-DE" noProof="0" err="1"/>
              <a:t>level</a:t>
            </a:r>
            <a:endParaRPr lang="de-DE" noProof="0"/>
          </a:p>
        </p:txBody>
      </p:sp>
      <p:sp>
        <p:nvSpPr>
          <p:cNvPr id="2" name="Fußzeilenplatzhalter 1">
            <a:extLst>
              <a:ext uri="{FF2B5EF4-FFF2-40B4-BE49-F238E27FC236}">
                <a16:creationId xmlns:a16="http://schemas.microsoft.com/office/drawing/2014/main" id="{F62F0615-8843-8C57-5CE6-0C378000552A}"/>
              </a:ext>
            </a:extLst>
          </p:cNvPr>
          <p:cNvSpPr>
            <a:spLocks noGrp="1"/>
          </p:cNvSpPr>
          <p:nvPr>
            <p:ph type="ftr" sz="quarter" idx="10"/>
          </p:nvPr>
        </p:nvSpPr>
        <p:spPr bwMode="gray"/>
        <p:txBody>
          <a:bodyPr/>
          <a:lstStyle>
            <a:lvl1pPr>
              <a:defRPr>
                <a:solidFill>
                  <a:schemeClr val="bg1"/>
                </a:solidFill>
              </a:defRPr>
            </a:lvl1pPr>
          </a:lstStyle>
          <a:p>
            <a:r>
              <a:rPr lang="de-DE"/>
              <a:t>Date dd.mm.yyyy  |  Security label</a:t>
            </a:r>
          </a:p>
        </p:txBody>
      </p:sp>
      <p:sp>
        <p:nvSpPr>
          <p:cNvPr id="6" name="Titel 5">
            <a:extLst>
              <a:ext uri="{FF2B5EF4-FFF2-40B4-BE49-F238E27FC236}">
                <a16:creationId xmlns:a16="http://schemas.microsoft.com/office/drawing/2014/main" id="{7BC2A7C5-70DF-273F-56BF-981269B7883A}"/>
              </a:ext>
            </a:extLst>
          </p:cNvPr>
          <p:cNvSpPr>
            <a:spLocks noGrp="1"/>
          </p:cNvSpPr>
          <p:nvPr>
            <p:ph type="title" hasCustomPrompt="1"/>
          </p:nvPr>
        </p:nvSpPr>
        <p:spPr bwMode="gray">
          <a:xfrm>
            <a:off x="6203950" y="2816932"/>
            <a:ext cx="6228754" cy="4041068"/>
          </a:xfrm>
        </p:spPr>
        <p:txBody>
          <a:bodyPr anchor="ctr">
            <a:noAutofit/>
          </a:bodyPr>
          <a:lstStyle>
            <a:lvl1pPr algn="r">
              <a:lnSpc>
                <a:spcPct val="100000"/>
              </a:lnSpc>
              <a:defRPr sz="40000" i="0">
                <a:solidFill>
                  <a:schemeClr val="bg1"/>
                </a:solidFill>
              </a:defRPr>
            </a:lvl1pPr>
          </a:lstStyle>
          <a:p>
            <a:r>
              <a:rPr lang="de-DE"/>
              <a:t>00</a:t>
            </a:r>
          </a:p>
        </p:txBody>
      </p:sp>
      <p:sp>
        <p:nvSpPr>
          <p:cNvPr id="5" name="Freihandform: Form 459">
            <a:extLst>
              <a:ext uri="{FF2B5EF4-FFF2-40B4-BE49-F238E27FC236}">
                <a16:creationId xmlns:a16="http://schemas.microsoft.com/office/drawing/2014/main" id="{11565787-C7C6-55FE-90B9-FF20083BA7CA}"/>
              </a:ext>
            </a:extLst>
          </p:cNvPr>
          <p:cNvSpPr txBox="1">
            <a:spLocks noChangeAspect="1"/>
          </p:cNvSpPr>
          <p:nvPr userDrawn="1"/>
        </p:nvSpPr>
        <p:spPr bwMode="gray">
          <a:xfrm>
            <a:off x="11352648" y="307218"/>
            <a:ext cx="576000" cy="313470"/>
          </a:xfrm>
          <a:custGeom>
            <a:avLst/>
            <a:gdLst>
              <a:gd name="connsiteX0" fmla="*/ 471895 w 4139828"/>
              <a:gd name="connsiteY0" fmla="*/ 507 h 2242189"/>
              <a:gd name="connsiteX1" fmla="*/ 1132548 w 4139828"/>
              <a:gd name="connsiteY1" fmla="*/ 507 h 2242189"/>
              <a:gd name="connsiteX2" fmla="*/ 1179737 w 4139828"/>
              <a:gd name="connsiteY2" fmla="*/ 47691 h 2242189"/>
              <a:gd name="connsiteX3" fmla="*/ 1179737 w 4139828"/>
              <a:gd name="connsiteY3" fmla="*/ 425671 h 2242189"/>
              <a:gd name="connsiteX4" fmla="*/ 1132548 w 4139828"/>
              <a:gd name="connsiteY4" fmla="*/ 472855 h 2242189"/>
              <a:gd name="connsiteX5" fmla="*/ 659508 w 4139828"/>
              <a:gd name="connsiteY5" fmla="*/ 472855 h 2242189"/>
              <a:gd name="connsiteX6" fmla="*/ 470750 w 4139828"/>
              <a:gd name="connsiteY6" fmla="*/ 661591 h 2242189"/>
              <a:gd name="connsiteX7" fmla="*/ 470750 w 4139828"/>
              <a:gd name="connsiteY7" fmla="*/ 728742 h 2242189"/>
              <a:gd name="connsiteX8" fmla="*/ 494281 w 4139828"/>
              <a:gd name="connsiteY8" fmla="*/ 752270 h 2242189"/>
              <a:gd name="connsiteX9" fmla="*/ 800059 w 4139828"/>
              <a:gd name="connsiteY9" fmla="*/ 752270 h 2242189"/>
              <a:gd name="connsiteX10" fmla="*/ 847248 w 4139828"/>
              <a:gd name="connsiteY10" fmla="*/ 799454 h 2242189"/>
              <a:gd name="connsiteX11" fmla="*/ 847248 w 4139828"/>
              <a:gd name="connsiteY11" fmla="*/ 1081668 h 2242189"/>
              <a:gd name="connsiteX12" fmla="*/ 800059 w 4139828"/>
              <a:gd name="connsiteY12" fmla="*/ 1128852 h 2242189"/>
              <a:gd name="connsiteX13" fmla="*/ 494281 w 4139828"/>
              <a:gd name="connsiteY13" fmla="*/ 1128852 h 2242189"/>
              <a:gd name="connsiteX14" fmla="*/ 470750 w 4139828"/>
              <a:gd name="connsiteY14" fmla="*/ 1152380 h 2242189"/>
              <a:gd name="connsiteX15" fmla="*/ 470750 w 4139828"/>
              <a:gd name="connsiteY15" fmla="*/ 1227671 h 2242189"/>
              <a:gd name="connsiteX16" fmla="*/ 659508 w 4139828"/>
              <a:gd name="connsiteY16" fmla="*/ 1416406 h 2242189"/>
              <a:gd name="connsiteX17" fmla="*/ 1297775 w 4139828"/>
              <a:gd name="connsiteY17" fmla="*/ 1416406 h 2242189"/>
              <a:gd name="connsiteX18" fmla="*/ 1297775 w 4139828"/>
              <a:gd name="connsiteY18" fmla="*/ 1413100 h 2242189"/>
              <a:gd name="connsiteX19" fmla="*/ 1297775 w 4139828"/>
              <a:gd name="connsiteY19" fmla="*/ 472728 h 2242189"/>
              <a:gd name="connsiteX20" fmla="*/ 1769797 w 4139828"/>
              <a:gd name="connsiteY20" fmla="*/ 889 h 2242189"/>
              <a:gd name="connsiteX21" fmla="*/ 2359729 w 4139828"/>
              <a:gd name="connsiteY21" fmla="*/ 889 h 2242189"/>
              <a:gd name="connsiteX22" fmla="*/ 2831624 w 4139828"/>
              <a:gd name="connsiteY22" fmla="*/ 472728 h 2242189"/>
              <a:gd name="connsiteX23" fmla="*/ 2831624 w 4139828"/>
              <a:gd name="connsiteY23" fmla="*/ 2195005 h 2242189"/>
              <a:gd name="connsiteX24" fmla="*/ 2784434 w 4139828"/>
              <a:gd name="connsiteY24" fmla="*/ 2242189 h 2242189"/>
              <a:gd name="connsiteX25" fmla="*/ 2408063 w 4139828"/>
              <a:gd name="connsiteY25" fmla="*/ 2242189 h 2242189"/>
              <a:gd name="connsiteX26" fmla="*/ 2360874 w 4139828"/>
              <a:gd name="connsiteY26" fmla="*/ 2195005 h 2242189"/>
              <a:gd name="connsiteX27" fmla="*/ 2360874 w 4139828"/>
              <a:gd name="connsiteY27" fmla="*/ 661336 h 2242189"/>
              <a:gd name="connsiteX28" fmla="*/ 2172116 w 4139828"/>
              <a:gd name="connsiteY28" fmla="*/ 472601 h 2242189"/>
              <a:gd name="connsiteX29" fmla="*/ 1957410 w 4139828"/>
              <a:gd name="connsiteY29" fmla="*/ 472601 h 2242189"/>
              <a:gd name="connsiteX30" fmla="*/ 1768652 w 4139828"/>
              <a:gd name="connsiteY30" fmla="*/ 661336 h 2242189"/>
              <a:gd name="connsiteX31" fmla="*/ 1768652 w 4139828"/>
              <a:gd name="connsiteY31" fmla="*/ 1227671 h 2242189"/>
              <a:gd name="connsiteX32" fmla="*/ 1957410 w 4139828"/>
              <a:gd name="connsiteY32" fmla="*/ 1416406 h 2242189"/>
              <a:gd name="connsiteX33" fmla="*/ 2219305 w 4139828"/>
              <a:gd name="connsiteY33" fmla="*/ 1416406 h 2242189"/>
              <a:gd name="connsiteX34" fmla="*/ 2242963 w 4139828"/>
              <a:gd name="connsiteY34" fmla="*/ 1439935 h 2242189"/>
              <a:gd name="connsiteX35" fmla="*/ 2242963 w 4139828"/>
              <a:gd name="connsiteY35" fmla="*/ 1864717 h 2242189"/>
              <a:gd name="connsiteX36" fmla="*/ 2219305 w 4139828"/>
              <a:gd name="connsiteY36" fmla="*/ 1888246 h 2242189"/>
              <a:gd name="connsiteX37" fmla="*/ 472022 w 4139828"/>
              <a:gd name="connsiteY37" fmla="*/ 1888246 h 2242189"/>
              <a:gd name="connsiteX38" fmla="*/ 0 w 4139828"/>
              <a:gd name="connsiteY38" fmla="*/ 1416406 h 2242189"/>
              <a:gd name="connsiteX39" fmla="*/ 0 w 4139828"/>
              <a:gd name="connsiteY39" fmla="*/ 472346 h 2242189"/>
              <a:gd name="connsiteX40" fmla="*/ 471895 w 4139828"/>
              <a:gd name="connsiteY40" fmla="*/ 507 h 2242189"/>
              <a:gd name="connsiteX41" fmla="*/ 3422701 w 4139828"/>
              <a:gd name="connsiteY41" fmla="*/ 0 h 2242189"/>
              <a:gd name="connsiteX42" fmla="*/ 4021918 w 4139828"/>
              <a:gd name="connsiteY42" fmla="*/ 0 h 2242189"/>
              <a:gd name="connsiteX43" fmla="*/ 4069108 w 4139828"/>
              <a:gd name="connsiteY43" fmla="*/ 47184 h 2242189"/>
              <a:gd name="connsiteX44" fmla="*/ 4069108 w 4139828"/>
              <a:gd name="connsiteY44" fmla="*/ 425546 h 2242189"/>
              <a:gd name="connsiteX45" fmla="*/ 4021918 w 4139828"/>
              <a:gd name="connsiteY45" fmla="*/ 472730 h 2242189"/>
              <a:gd name="connsiteX46" fmla="*/ 3532979 w 4139828"/>
              <a:gd name="connsiteY46" fmla="*/ 472730 h 2242189"/>
              <a:gd name="connsiteX47" fmla="*/ 3532852 w 4139828"/>
              <a:gd name="connsiteY47" fmla="*/ 472857 h 2242189"/>
              <a:gd name="connsiteX48" fmla="*/ 3488969 w 4139828"/>
              <a:gd name="connsiteY48" fmla="*/ 599147 h 2242189"/>
              <a:gd name="connsiteX49" fmla="*/ 3904008 w 4139828"/>
              <a:gd name="connsiteY49" fmla="*/ 927781 h 2242189"/>
              <a:gd name="connsiteX50" fmla="*/ 4139828 w 4139828"/>
              <a:gd name="connsiteY50" fmla="*/ 1415391 h 2242189"/>
              <a:gd name="connsiteX51" fmla="*/ 4001312 w 4139828"/>
              <a:gd name="connsiteY51" fmla="*/ 1749875 h 2242189"/>
              <a:gd name="connsiteX52" fmla="*/ 3666916 w 4139828"/>
              <a:gd name="connsiteY52" fmla="*/ 1888375 h 2242189"/>
              <a:gd name="connsiteX53" fmla="*/ 2973319 w 4139828"/>
              <a:gd name="connsiteY53" fmla="*/ 1888375 h 2242189"/>
              <a:gd name="connsiteX54" fmla="*/ 2949788 w 4139828"/>
              <a:gd name="connsiteY54" fmla="*/ 1864846 h 2242189"/>
              <a:gd name="connsiteX55" fmla="*/ 2949788 w 4139828"/>
              <a:gd name="connsiteY55" fmla="*/ 1439173 h 2242189"/>
              <a:gd name="connsiteX56" fmla="*/ 2973319 w 4139828"/>
              <a:gd name="connsiteY56" fmla="*/ 1415518 h 2242189"/>
              <a:gd name="connsiteX57" fmla="*/ 3556637 w 4139828"/>
              <a:gd name="connsiteY57" fmla="*/ 1415518 h 2242189"/>
              <a:gd name="connsiteX58" fmla="*/ 3600520 w 4139828"/>
              <a:gd name="connsiteY58" fmla="*/ 1289228 h 2242189"/>
              <a:gd name="connsiteX59" fmla="*/ 3185481 w 4139828"/>
              <a:gd name="connsiteY59" fmla="*/ 960594 h 2242189"/>
              <a:gd name="connsiteX60" fmla="*/ 2949661 w 4139828"/>
              <a:gd name="connsiteY60" fmla="*/ 472984 h 2242189"/>
              <a:gd name="connsiteX61" fmla="*/ 3422701 w 4139828"/>
              <a:gd name="connsiteY61" fmla="*/ 0 h 22421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4139828" h="2242189">
                <a:moveTo>
                  <a:pt x="471895" y="507"/>
                </a:moveTo>
                <a:lnTo>
                  <a:pt x="1132548" y="507"/>
                </a:lnTo>
                <a:cubicBezTo>
                  <a:pt x="1158623" y="507"/>
                  <a:pt x="1179737" y="21619"/>
                  <a:pt x="1179737" y="47691"/>
                </a:cubicBezTo>
                <a:lnTo>
                  <a:pt x="1179737" y="425671"/>
                </a:lnTo>
                <a:cubicBezTo>
                  <a:pt x="1179737" y="451743"/>
                  <a:pt x="1158623" y="472855"/>
                  <a:pt x="1132548" y="472855"/>
                </a:cubicBezTo>
                <a:lnTo>
                  <a:pt x="659508" y="472855"/>
                </a:lnTo>
                <a:cubicBezTo>
                  <a:pt x="555208" y="472855"/>
                  <a:pt x="470750" y="557303"/>
                  <a:pt x="470750" y="661591"/>
                </a:cubicBezTo>
                <a:lnTo>
                  <a:pt x="470750" y="728742"/>
                </a:lnTo>
                <a:cubicBezTo>
                  <a:pt x="470750" y="741714"/>
                  <a:pt x="481307" y="752270"/>
                  <a:pt x="494281" y="752270"/>
                </a:cubicBezTo>
                <a:lnTo>
                  <a:pt x="800059" y="752270"/>
                </a:lnTo>
                <a:cubicBezTo>
                  <a:pt x="826134" y="752270"/>
                  <a:pt x="847248" y="773382"/>
                  <a:pt x="847248" y="799454"/>
                </a:cubicBezTo>
                <a:lnTo>
                  <a:pt x="847248" y="1081668"/>
                </a:lnTo>
                <a:cubicBezTo>
                  <a:pt x="847248" y="1107740"/>
                  <a:pt x="826134" y="1128852"/>
                  <a:pt x="800059" y="1128852"/>
                </a:cubicBezTo>
                <a:lnTo>
                  <a:pt x="494281" y="1128852"/>
                </a:lnTo>
                <a:cubicBezTo>
                  <a:pt x="481307" y="1128852"/>
                  <a:pt x="470750" y="1139408"/>
                  <a:pt x="470750" y="1152380"/>
                </a:cubicBezTo>
                <a:lnTo>
                  <a:pt x="470750" y="1227671"/>
                </a:lnTo>
                <a:cubicBezTo>
                  <a:pt x="470750" y="1331832"/>
                  <a:pt x="555208" y="1416406"/>
                  <a:pt x="659508" y="1416406"/>
                </a:cubicBezTo>
                <a:lnTo>
                  <a:pt x="1297775" y="1416406"/>
                </a:lnTo>
                <a:cubicBezTo>
                  <a:pt x="1297775" y="1415389"/>
                  <a:pt x="1297775" y="1414244"/>
                  <a:pt x="1297775" y="1413100"/>
                </a:cubicBezTo>
                <a:lnTo>
                  <a:pt x="1297775" y="472728"/>
                </a:lnTo>
                <a:cubicBezTo>
                  <a:pt x="1297775" y="212135"/>
                  <a:pt x="1509173" y="889"/>
                  <a:pt x="1769797" y="889"/>
                </a:cubicBezTo>
                <a:lnTo>
                  <a:pt x="2359729" y="889"/>
                </a:lnTo>
                <a:cubicBezTo>
                  <a:pt x="2620352" y="889"/>
                  <a:pt x="2831624" y="212135"/>
                  <a:pt x="2831624" y="472728"/>
                </a:cubicBezTo>
                <a:lnTo>
                  <a:pt x="2831624" y="2195005"/>
                </a:lnTo>
                <a:cubicBezTo>
                  <a:pt x="2831624" y="2221077"/>
                  <a:pt x="2810509" y="2242189"/>
                  <a:pt x="2784434" y="2242189"/>
                </a:cubicBezTo>
                <a:lnTo>
                  <a:pt x="2408063" y="2242189"/>
                </a:lnTo>
                <a:cubicBezTo>
                  <a:pt x="2381988" y="2242189"/>
                  <a:pt x="2360874" y="2221077"/>
                  <a:pt x="2360874" y="2195005"/>
                </a:cubicBezTo>
                <a:lnTo>
                  <a:pt x="2360874" y="661336"/>
                </a:lnTo>
                <a:cubicBezTo>
                  <a:pt x="2360874" y="557176"/>
                  <a:pt x="2276289" y="472601"/>
                  <a:pt x="2172116" y="472601"/>
                </a:cubicBezTo>
                <a:lnTo>
                  <a:pt x="1957410" y="472601"/>
                </a:lnTo>
                <a:cubicBezTo>
                  <a:pt x="1853110" y="472601"/>
                  <a:pt x="1768652" y="557176"/>
                  <a:pt x="1768652" y="661336"/>
                </a:cubicBezTo>
                <a:lnTo>
                  <a:pt x="1768652" y="1227671"/>
                </a:lnTo>
                <a:cubicBezTo>
                  <a:pt x="1768652" y="1331832"/>
                  <a:pt x="1853110" y="1416406"/>
                  <a:pt x="1957410" y="1416406"/>
                </a:cubicBezTo>
                <a:lnTo>
                  <a:pt x="2219305" y="1416406"/>
                </a:lnTo>
                <a:cubicBezTo>
                  <a:pt x="2232406" y="1416406"/>
                  <a:pt x="2242963" y="1426962"/>
                  <a:pt x="2242963" y="1439935"/>
                </a:cubicBezTo>
                <a:lnTo>
                  <a:pt x="2242963" y="1864717"/>
                </a:lnTo>
                <a:cubicBezTo>
                  <a:pt x="2242963" y="1877690"/>
                  <a:pt x="2232406" y="1888246"/>
                  <a:pt x="2219305" y="1888246"/>
                </a:cubicBezTo>
                <a:lnTo>
                  <a:pt x="472022" y="1888246"/>
                </a:lnTo>
                <a:cubicBezTo>
                  <a:pt x="211272" y="1888246"/>
                  <a:pt x="0" y="1676999"/>
                  <a:pt x="0" y="1416406"/>
                </a:cubicBezTo>
                <a:lnTo>
                  <a:pt x="0" y="472346"/>
                </a:lnTo>
                <a:cubicBezTo>
                  <a:pt x="0" y="211754"/>
                  <a:pt x="211272" y="507"/>
                  <a:pt x="471895" y="507"/>
                </a:cubicBezTo>
                <a:close/>
                <a:moveTo>
                  <a:pt x="3422701" y="0"/>
                </a:moveTo>
                <a:lnTo>
                  <a:pt x="4021918" y="0"/>
                </a:lnTo>
                <a:cubicBezTo>
                  <a:pt x="4047993" y="0"/>
                  <a:pt x="4069108" y="21112"/>
                  <a:pt x="4069108" y="47184"/>
                </a:cubicBezTo>
                <a:lnTo>
                  <a:pt x="4069108" y="425546"/>
                </a:lnTo>
                <a:cubicBezTo>
                  <a:pt x="4069108" y="451618"/>
                  <a:pt x="4047993" y="472730"/>
                  <a:pt x="4021918" y="472730"/>
                </a:cubicBezTo>
                <a:lnTo>
                  <a:pt x="3532979" y="472730"/>
                </a:lnTo>
                <a:lnTo>
                  <a:pt x="3532852" y="472857"/>
                </a:lnTo>
                <a:cubicBezTo>
                  <a:pt x="3465693" y="472857"/>
                  <a:pt x="3436311" y="557432"/>
                  <a:pt x="3488969" y="599147"/>
                </a:cubicBezTo>
                <a:lnTo>
                  <a:pt x="3904008" y="927781"/>
                </a:lnTo>
                <a:cubicBezTo>
                  <a:pt x="4052954" y="1045804"/>
                  <a:pt x="4139828" y="1225383"/>
                  <a:pt x="4139828" y="1415391"/>
                </a:cubicBezTo>
                <a:cubicBezTo>
                  <a:pt x="4139828" y="1546005"/>
                  <a:pt x="4086915" y="1664156"/>
                  <a:pt x="4001312" y="1749875"/>
                </a:cubicBezTo>
                <a:cubicBezTo>
                  <a:pt x="3915710" y="1835468"/>
                  <a:pt x="3797418" y="1888375"/>
                  <a:pt x="3666916" y="1888375"/>
                </a:cubicBezTo>
                <a:lnTo>
                  <a:pt x="2973319" y="1888375"/>
                </a:lnTo>
                <a:cubicBezTo>
                  <a:pt x="2960346" y="1888375"/>
                  <a:pt x="2949788" y="1877819"/>
                  <a:pt x="2949788" y="1864846"/>
                </a:cubicBezTo>
                <a:lnTo>
                  <a:pt x="2949788" y="1439173"/>
                </a:lnTo>
                <a:cubicBezTo>
                  <a:pt x="2949788" y="1426201"/>
                  <a:pt x="2960346" y="1415518"/>
                  <a:pt x="2973319" y="1415518"/>
                </a:cubicBezTo>
                <a:lnTo>
                  <a:pt x="3556637" y="1415518"/>
                </a:lnTo>
                <a:cubicBezTo>
                  <a:pt x="3623797" y="1415518"/>
                  <a:pt x="3653179" y="1330943"/>
                  <a:pt x="3600520" y="1289228"/>
                </a:cubicBezTo>
                <a:lnTo>
                  <a:pt x="3185481" y="960594"/>
                </a:lnTo>
                <a:cubicBezTo>
                  <a:pt x="3036535" y="842570"/>
                  <a:pt x="2949661" y="662991"/>
                  <a:pt x="2949661" y="472984"/>
                </a:cubicBezTo>
                <a:cubicBezTo>
                  <a:pt x="2949661" y="211755"/>
                  <a:pt x="3161441" y="0"/>
                  <a:pt x="3422701" y="0"/>
                </a:cubicBezTo>
                <a:close/>
              </a:path>
            </a:pathLst>
          </a:custGeom>
          <a:solidFill>
            <a:schemeClr val="bg1"/>
          </a:solidFill>
          <a:ln w="127">
            <a:solidFill>
              <a:schemeClr val="bg1">
                <a:alpha val="0"/>
              </a:schemeClr>
            </a:solidFill>
          </a:ln>
        </p:spPr>
        <p:txBody>
          <a:bodyPr wrap="square">
            <a:noAutofit/>
          </a:bodyPr>
          <a:lstStyle>
            <a:lvl1pPr marL="0" indent="0" algn="l" defTabSz="914400" rtl="0" eaLnBrk="1" latinLnBrk="0" hangingPunct="1">
              <a:lnSpc>
                <a:spcPct val="110000"/>
              </a:lnSpc>
              <a:spcBef>
                <a:spcPts val="600"/>
              </a:spcBef>
              <a:spcAft>
                <a:spcPts val="600"/>
              </a:spcAft>
              <a:buFont typeface="Arial" panose="020B0604020202020204" pitchFamily="34" charset="0"/>
              <a:buNone/>
              <a:defRPr sz="2000" b="1" kern="1200">
                <a:solidFill>
                  <a:schemeClr val="tx1"/>
                </a:solidFill>
                <a:latin typeface="+mj-lt"/>
                <a:ea typeface="+mn-ea"/>
                <a:cs typeface="+mn-cs"/>
              </a:defRPr>
            </a:lvl1pPr>
            <a:lvl2pPr marL="0" indent="0" algn="l" defTabSz="914400" rtl="0" eaLnBrk="1" latinLnBrk="0" hangingPunct="1">
              <a:lnSpc>
                <a:spcPct val="110000"/>
              </a:lnSpc>
              <a:spcBef>
                <a:spcPts val="600"/>
              </a:spcBef>
              <a:spcAft>
                <a:spcPts val="600"/>
              </a:spcAft>
              <a:buFont typeface="Arial" panose="020B0604020202020204" pitchFamily="34" charset="0"/>
              <a:buNone/>
              <a:defRPr sz="2000" kern="1200">
                <a:solidFill>
                  <a:schemeClr val="tx1"/>
                </a:solidFill>
                <a:latin typeface="+mn-lt"/>
                <a:ea typeface="+mn-ea"/>
                <a:cs typeface="+mn-cs"/>
              </a:defRPr>
            </a:lvl2pPr>
            <a:lvl3pPr marL="361950" indent="-361950" algn="l" defTabSz="914400" rtl="0" eaLnBrk="1" latinLnBrk="0" hangingPunct="1">
              <a:lnSpc>
                <a:spcPct val="110000"/>
              </a:lnSpc>
              <a:spcBef>
                <a:spcPts val="600"/>
              </a:spcBef>
              <a:spcAft>
                <a:spcPts val="600"/>
              </a:spcAft>
              <a:buClr>
                <a:schemeClr val="accent1"/>
              </a:buClr>
              <a:buFontTx/>
              <a:buBlip>
                <a:blip r:embed="rId2"/>
              </a:buBlip>
              <a:defRPr sz="2000" kern="1200">
                <a:solidFill>
                  <a:schemeClr val="tx1"/>
                </a:solidFill>
                <a:latin typeface="+mn-lt"/>
                <a:ea typeface="+mn-ea"/>
                <a:cs typeface="+mn-cs"/>
              </a:defRPr>
            </a:lvl3pPr>
            <a:lvl4pPr marL="714375" indent="-352425" algn="l" defTabSz="914400" rtl="0" eaLnBrk="1" latinLnBrk="0" hangingPunct="1">
              <a:lnSpc>
                <a:spcPct val="110000"/>
              </a:lnSpc>
              <a:spcBef>
                <a:spcPts val="600"/>
              </a:spcBef>
              <a:spcAft>
                <a:spcPts val="600"/>
              </a:spcAft>
              <a:buClr>
                <a:schemeClr val="accent1"/>
              </a:buClr>
              <a:buFontTx/>
              <a:buBlip>
                <a:blip r:embed="rId2"/>
              </a:buBlip>
              <a:defRPr sz="2000" kern="1200">
                <a:solidFill>
                  <a:schemeClr val="tx1"/>
                </a:solidFill>
                <a:latin typeface="+mn-lt"/>
                <a:ea typeface="+mn-ea"/>
                <a:cs typeface="+mn-cs"/>
              </a:defRPr>
            </a:lvl4pPr>
            <a:lvl5pPr marL="0" indent="0" algn="l" defTabSz="914400" rtl="0" eaLnBrk="1" latinLnBrk="0" hangingPunct="1">
              <a:lnSpc>
                <a:spcPct val="110000"/>
              </a:lnSpc>
              <a:spcBef>
                <a:spcPts val="600"/>
              </a:spcBef>
              <a:spcAft>
                <a:spcPts val="600"/>
              </a:spcAft>
              <a:buClr>
                <a:schemeClr val="accent1"/>
              </a:buClr>
              <a:buFont typeface="Arial" panose="020B0604020202020204" pitchFamily="34" charset="0"/>
              <a:buNone/>
              <a:defRPr sz="2500" kern="1200">
                <a:solidFill>
                  <a:schemeClr val="tx1"/>
                </a:solidFill>
                <a:latin typeface="+mn-lt"/>
                <a:ea typeface="+mn-ea"/>
                <a:cs typeface="+mn-cs"/>
              </a:defRPr>
            </a:lvl5pPr>
            <a:lvl6pPr marL="361950" indent="-361950" algn="l" defTabSz="914400" rtl="0" eaLnBrk="1" latinLnBrk="0" hangingPunct="1">
              <a:lnSpc>
                <a:spcPct val="110000"/>
              </a:lnSpc>
              <a:spcBef>
                <a:spcPts val="600"/>
              </a:spcBef>
              <a:spcAft>
                <a:spcPts val="600"/>
              </a:spcAft>
              <a:buClr>
                <a:schemeClr val="accent1"/>
              </a:buClr>
              <a:buFontTx/>
              <a:buBlip>
                <a:blip r:embed="rId2"/>
              </a:buBlip>
              <a:defRPr sz="2500" kern="1200">
                <a:solidFill>
                  <a:schemeClr val="tx1"/>
                </a:solidFill>
                <a:latin typeface="+mn-lt"/>
                <a:ea typeface="+mn-ea"/>
                <a:cs typeface="+mn-cs"/>
              </a:defRPr>
            </a:lvl6pPr>
            <a:lvl7pPr marL="360000" indent="-360000" algn="l" defTabSz="914400" rtl="0" eaLnBrk="1" latinLnBrk="0" hangingPunct="1">
              <a:lnSpc>
                <a:spcPct val="110000"/>
              </a:lnSpc>
              <a:spcBef>
                <a:spcPts val="600"/>
              </a:spcBef>
              <a:spcAft>
                <a:spcPts val="600"/>
              </a:spcAft>
              <a:buClr>
                <a:schemeClr val="accent1"/>
              </a:buClr>
              <a:buFont typeface="+mj-lt"/>
              <a:buAutoNum type="arabicPeriod"/>
              <a:defRPr sz="2000" kern="1200">
                <a:solidFill>
                  <a:schemeClr val="tx1"/>
                </a:solidFill>
                <a:latin typeface="+mn-lt"/>
                <a:ea typeface="+mn-ea"/>
                <a:cs typeface="+mn-cs"/>
              </a:defRPr>
            </a:lvl7pPr>
            <a:lvl8pPr marL="714375" indent="-354013" algn="l" defTabSz="914400" rtl="0" eaLnBrk="1" latinLnBrk="0" hangingPunct="1">
              <a:lnSpc>
                <a:spcPct val="110000"/>
              </a:lnSpc>
              <a:spcBef>
                <a:spcPts val="600"/>
              </a:spcBef>
              <a:spcAft>
                <a:spcPts val="600"/>
              </a:spcAft>
              <a:buClr>
                <a:schemeClr val="accent1"/>
              </a:buClr>
              <a:buFontTx/>
              <a:buBlip>
                <a:blip r:embed="rId2"/>
              </a:buBlip>
              <a:defRPr sz="2000" kern="1200">
                <a:solidFill>
                  <a:schemeClr val="tx1"/>
                </a:solidFill>
                <a:latin typeface="+mn-lt"/>
                <a:ea typeface="+mn-ea"/>
                <a:cs typeface="+mn-cs"/>
              </a:defRPr>
            </a:lvl8pPr>
            <a:lvl9pPr marL="1076325" indent="-361950" algn="l" defTabSz="914400" rtl="0" eaLnBrk="1" latinLnBrk="0" hangingPunct="1">
              <a:lnSpc>
                <a:spcPct val="110000"/>
              </a:lnSpc>
              <a:spcBef>
                <a:spcPts val="600"/>
              </a:spcBef>
              <a:spcAft>
                <a:spcPts val="600"/>
              </a:spcAft>
              <a:buClr>
                <a:schemeClr val="accent1"/>
              </a:buClr>
              <a:buFontTx/>
              <a:buBlip>
                <a:blip r:embed="rId2"/>
              </a:buBlip>
              <a:defRPr sz="2000" kern="1200">
                <a:solidFill>
                  <a:schemeClr val="tx1"/>
                </a:solidFill>
                <a:latin typeface="+mn-lt"/>
                <a:ea typeface="+mn-ea"/>
                <a:cs typeface="+mn-cs"/>
              </a:defRPr>
            </a:lvl9pPr>
          </a:lstStyle>
          <a:p>
            <a:r>
              <a:rPr lang="de-DE"/>
              <a:t> </a:t>
            </a:r>
          </a:p>
        </p:txBody>
      </p:sp>
    </p:spTree>
    <p:extLst>
      <p:ext uri="{BB962C8B-B14F-4D97-AF65-F5344CB8AC3E}">
        <p14:creationId xmlns:p14="http://schemas.microsoft.com/office/powerpoint/2010/main" val="2783166654"/>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tags" Target="../tags/tag2.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image" Target="../media/image3.png"/><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image" Target="../media/image2.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image" Target="../media/image4.svg"/><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BB1D222B-2AE8-294D-7F5B-6726DAE2C2C6}"/>
              </a:ext>
            </a:extLst>
          </p:cNvPr>
          <p:cNvGraphicFramePr>
            <a:graphicFrameLocks noChangeAspect="1"/>
          </p:cNvGraphicFramePr>
          <p:nvPr userDrawn="1">
            <p:custDataLst>
              <p:tags r:id="rId39"/>
            </p:custDataLst>
            <p:extLst>
              <p:ext uri="{D42A27DB-BD31-4B8C-83A1-F6EECF244321}">
                <p14:modId xmlns:p14="http://schemas.microsoft.com/office/powerpoint/2010/main" val="13982919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0" imgW="306" imgH="306" progId="TCLayout.ActiveDocument.1">
                  <p:embed/>
                </p:oleObj>
              </mc:Choice>
              <mc:Fallback>
                <p:oleObj name="think-cell Folie" r:id="rId40" imgW="306" imgH="306" progId="TCLayout.ActiveDocument.1">
                  <p:embed/>
                  <p:pic>
                    <p:nvPicPr>
                      <p:cNvPr id="6" name="think-cell data - do not delete" hidden="1">
                        <a:extLst>
                          <a:ext uri="{FF2B5EF4-FFF2-40B4-BE49-F238E27FC236}">
                            <a16:creationId xmlns:a16="http://schemas.microsoft.com/office/drawing/2014/main" id="{BB1D222B-2AE8-294D-7F5B-6726DAE2C2C6}"/>
                          </a:ext>
                        </a:extLst>
                      </p:cNvPr>
                      <p:cNvPicPr/>
                      <p:nvPr/>
                    </p:nvPicPr>
                    <p:blipFill>
                      <a:blip r:embed="rId41"/>
                      <a:stretch>
                        <a:fillRect/>
                      </a:stretch>
                    </p:blipFill>
                    <p:spPr>
                      <a:xfrm>
                        <a:off x="1588" y="1588"/>
                        <a:ext cx="1588" cy="1588"/>
                      </a:xfrm>
                      <a:prstGeom prst="rect">
                        <a:avLst/>
                      </a:prstGeom>
                    </p:spPr>
                  </p:pic>
                </p:oleObj>
              </mc:Fallback>
            </mc:AlternateContent>
          </a:graphicData>
        </a:graphic>
      </p:graphicFrame>
      <p:pic>
        <p:nvPicPr>
          <p:cNvPr id="458" name="Grafik 457" hidden="1">
            <a:extLst>
              <a:ext uri="{FF2B5EF4-FFF2-40B4-BE49-F238E27FC236}">
                <a16:creationId xmlns:a16="http://schemas.microsoft.com/office/drawing/2014/main" id="{01A09C75-235A-7CE7-C6E0-1FC67430B156}"/>
              </a:ext>
            </a:extLst>
          </p:cNvPr>
          <p:cNvPicPr>
            <a:picLocks noChangeAspect="1"/>
          </p:cNvPicPr>
          <p:nvPr userDrawn="1"/>
        </p:nvPicPr>
        <p:blipFill>
          <a:blip r:embed="rId42">
            <a:extLst>
              <a:ext uri="{96DAC541-7B7A-43D3-8B79-37D633B846F1}">
                <asvg:svgBlip xmlns:asvg="http://schemas.microsoft.com/office/drawing/2016/SVG/main" r:embed="rId43"/>
              </a:ext>
            </a:extLst>
          </a:blip>
          <a:stretch>
            <a:fillRect/>
          </a:stretch>
        </p:blipFill>
        <p:spPr bwMode="gray">
          <a:xfrm>
            <a:off x="3699" y="0"/>
            <a:ext cx="12184602" cy="6858000"/>
          </a:xfrm>
          <a:prstGeom prst="rect">
            <a:avLst/>
          </a:prstGeom>
        </p:spPr>
      </p:pic>
      <p:sp>
        <p:nvSpPr>
          <p:cNvPr id="2" name="Titelplatzhalter 1"/>
          <p:cNvSpPr>
            <a:spLocks noGrp="1"/>
          </p:cNvSpPr>
          <p:nvPr>
            <p:ph type="title"/>
          </p:nvPr>
        </p:nvSpPr>
        <p:spPr bwMode="gray">
          <a:xfrm>
            <a:off x="1092200" y="789687"/>
            <a:ext cx="10007600" cy="604039"/>
          </a:xfrm>
          <a:prstGeom prst="rect">
            <a:avLst/>
          </a:prstGeom>
        </p:spPr>
        <p:txBody>
          <a:bodyPr vert="horz" lIns="0" tIns="0" rIns="0" bIns="0" rtlCol="0" anchor="t">
            <a:normAutofit/>
          </a:bodyPr>
          <a:lstStyle/>
          <a:p>
            <a:r>
              <a:rPr lang="de-DE" noProof="0"/>
              <a:t>Slide title (max. 2 </a:t>
            </a:r>
            <a:r>
              <a:rPr lang="de-DE" noProof="0" err="1"/>
              <a:t>lines</a:t>
            </a:r>
            <a:r>
              <a:rPr lang="de-DE" noProof="0"/>
              <a:t>) </a:t>
            </a:r>
          </a:p>
        </p:txBody>
      </p:sp>
      <p:sp>
        <p:nvSpPr>
          <p:cNvPr id="3" name="Textplatzhalter 2"/>
          <p:cNvSpPr>
            <a:spLocks noGrp="1"/>
          </p:cNvSpPr>
          <p:nvPr>
            <p:ph type="body" idx="1"/>
          </p:nvPr>
        </p:nvSpPr>
        <p:spPr bwMode="gray">
          <a:xfrm>
            <a:off x="1092200" y="2312876"/>
            <a:ext cx="10007600" cy="3745024"/>
          </a:xfrm>
          <a:prstGeom prst="rect">
            <a:avLst/>
          </a:prstGeom>
        </p:spPr>
        <p:txBody>
          <a:bodyPr vert="horz" lIns="0" tIns="0" rIns="0" bIns="0" rtlCol="0">
            <a:normAutofit/>
          </a:bodyPr>
          <a:lstStyle/>
          <a:p>
            <a:pPr lvl="0"/>
            <a:r>
              <a:rPr lang="de-DE" noProof="0" err="1"/>
              <a:t>You</a:t>
            </a:r>
            <a:r>
              <a:rPr lang="de-DE" noProof="0"/>
              <a:t> </a:t>
            </a:r>
            <a:r>
              <a:rPr lang="de-DE" noProof="0" err="1"/>
              <a:t>can</a:t>
            </a:r>
            <a:r>
              <a:rPr lang="de-DE" noProof="0"/>
              <a:t> </a:t>
            </a:r>
            <a:r>
              <a:rPr lang="de-DE" noProof="0" err="1"/>
              <a:t>use</a:t>
            </a:r>
            <a:r>
              <a:rPr lang="de-DE" noProof="0"/>
              <a:t> </a:t>
            </a:r>
            <a:r>
              <a:rPr lang="de-DE" noProof="0" err="1"/>
              <a:t>this</a:t>
            </a:r>
            <a:r>
              <a:rPr lang="de-DE" noProof="0"/>
              <a:t> </a:t>
            </a:r>
            <a:r>
              <a:rPr lang="de-DE" noProof="0" err="1"/>
              <a:t>field</a:t>
            </a:r>
            <a:r>
              <a:rPr lang="de-DE" noProof="0"/>
              <a:t> </a:t>
            </a:r>
            <a:r>
              <a:rPr lang="de-DE" noProof="0" err="1"/>
              <a:t>to</a:t>
            </a:r>
            <a:r>
              <a:rPr lang="de-DE" noProof="0"/>
              <a:t> </a:t>
            </a:r>
            <a:r>
              <a:rPr lang="de-DE" noProof="0" err="1"/>
              <a:t>enter</a:t>
            </a:r>
            <a:r>
              <a:rPr lang="de-DE" noProof="0"/>
              <a:t> </a:t>
            </a:r>
            <a:r>
              <a:rPr lang="de-DE" noProof="0" err="1"/>
              <a:t>text</a:t>
            </a:r>
            <a:r>
              <a:rPr lang="de-DE" noProof="0"/>
              <a:t>, a </a:t>
            </a:r>
            <a:r>
              <a:rPr lang="de-DE" noProof="0" err="1"/>
              <a:t>table</a:t>
            </a:r>
            <a:r>
              <a:rPr lang="de-DE" noProof="0"/>
              <a:t>, a </a:t>
            </a:r>
            <a:r>
              <a:rPr lang="de-DE" noProof="0" err="1"/>
              <a:t>diagram</a:t>
            </a:r>
            <a:r>
              <a:rPr lang="de-DE" noProof="0"/>
              <a:t> </a:t>
            </a:r>
            <a:r>
              <a:rPr lang="de-DE" noProof="0" err="1"/>
              <a:t>or</a:t>
            </a:r>
            <a:r>
              <a:rPr lang="de-DE" noProof="0"/>
              <a:t> </a:t>
            </a:r>
            <a:r>
              <a:rPr lang="de-DE" noProof="0" err="1"/>
              <a:t>SmartArts</a:t>
            </a:r>
            <a:r>
              <a:rPr lang="de-DE" noProof="0"/>
              <a:t>. Use </a:t>
            </a:r>
            <a:r>
              <a:rPr lang="de-DE" noProof="0" err="1"/>
              <a:t>the</a:t>
            </a:r>
            <a:r>
              <a:rPr lang="de-DE" noProof="0"/>
              <a:t> </a:t>
            </a:r>
            <a:r>
              <a:rPr lang="de-DE" noProof="0" err="1"/>
              <a:t>buttons</a:t>
            </a:r>
            <a:r>
              <a:rPr lang="de-DE" noProof="0"/>
              <a:t> “</a:t>
            </a:r>
            <a:r>
              <a:rPr lang="de-DE" noProof="0" err="1"/>
              <a:t>increase</a:t>
            </a:r>
            <a:r>
              <a:rPr lang="de-DE" noProof="0"/>
              <a:t> </a:t>
            </a:r>
            <a:r>
              <a:rPr lang="de-DE" noProof="0" err="1"/>
              <a:t>list</a:t>
            </a:r>
            <a:r>
              <a:rPr lang="de-DE" noProof="0"/>
              <a:t> </a:t>
            </a:r>
            <a:r>
              <a:rPr lang="de-DE" noProof="0" err="1"/>
              <a:t>level</a:t>
            </a:r>
            <a:r>
              <a:rPr lang="de-DE" noProof="0"/>
              <a:t>” </a:t>
            </a:r>
            <a:r>
              <a:rPr lang="de-DE" noProof="0" err="1"/>
              <a:t>for</a:t>
            </a:r>
            <a:r>
              <a:rPr lang="de-DE" noProof="0"/>
              <a:t> </a:t>
            </a:r>
            <a:r>
              <a:rPr lang="de-DE" noProof="0" err="1"/>
              <a:t>copytext</a:t>
            </a:r>
            <a:r>
              <a:rPr lang="de-DE" noProof="0"/>
              <a:t> </a:t>
            </a:r>
            <a:r>
              <a:rPr lang="de-DE" noProof="0" err="1"/>
              <a:t>or</a:t>
            </a:r>
            <a:r>
              <a:rPr lang="de-DE" noProof="0"/>
              <a:t> </a:t>
            </a:r>
            <a:r>
              <a:rPr lang="de-DE" noProof="0" err="1"/>
              <a:t>bullet</a:t>
            </a:r>
            <a:r>
              <a:rPr lang="de-DE" noProof="0"/>
              <a:t> </a:t>
            </a:r>
            <a:r>
              <a:rPr lang="de-DE" noProof="0" err="1"/>
              <a:t>levels</a:t>
            </a:r>
            <a:r>
              <a:rPr lang="de-DE" noProof="0"/>
              <a:t>. Use </a:t>
            </a:r>
            <a:r>
              <a:rPr lang="de-DE" noProof="0" err="1"/>
              <a:t>the</a:t>
            </a:r>
            <a:r>
              <a:rPr lang="de-DE" noProof="0"/>
              <a:t> </a:t>
            </a:r>
            <a:r>
              <a:rPr lang="de-DE" noProof="0" err="1"/>
              <a:t>icons</a:t>
            </a:r>
            <a:r>
              <a:rPr lang="de-DE" noProof="0"/>
              <a:t> </a:t>
            </a:r>
            <a:r>
              <a:rPr lang="de-DE" noProof="0" err="1"/>
              <a:t>below</a:t>
            </a:r>
            <a:r>
              <a:rPr lang="de-DE" noProof="0"/>
              <a:t> </a:t>
            </a:r>
            <a:r>
              <a:rPr lang="de-DE" noProof="0" err="1"/>
              <a:t>to</a:t>
            </a:r>
            <a:r>
              <a:rPr lang="de-DE" noProof="0"/>
              <a:t> </a:t>
            </a:r>
            <a:r>
              <a:rPr lang="de-DE" noProof="0" err="1"/>
              <a:t>create</a:t>
            </a:r>
            <a:r>
              <a:rPr lang="de-DE" noProof="0"/>
              <a:t> </a:t>
            </a:r>
            <a:r>
              <a:rPr lang="de-DE" noProof="0" err="1"/>
              <a:t>visual</a:t>
            </a:r>
            <a:r>
              <a:rPr lang="de-DE" noProof="0"/>
              <a:t> </a:t>
            </a:r>
            <a:r>
              <a:rPr lang="de-DE" noProof="0" err="1"/>
              <a:t>content</a:t>
            </a:r>
            <a:r>
              <a:rPr lang="de-DE" noProof="0"/>
              <a:t>.</a:t>
            </a:r>
          </a:p>
          <a:p>
            <a:pPr lvl="1"/>
            <a:r>
              <a:rPr lang="de-DE" noProof="0"/>
              <a:t>2. </a:t>
            </a:r>
            <a:r>
              <a:rPr lang="de-DE" noProof="0" err="1"/>
              <a:t>level</a:t>
            </a:r>
            <a:endParaRPr lang="de-DE" noProof="0"/>
          </a:p>
          <a:p>
            <a:pPr lvl="2"/>
            <a:r>
              <a:rPr lang="de-DE" noProof="0"/>
              <a:t>3. </a:t>
            </a:r>
            <a:r>
              <a:rPr lang="de-DE" noProof="0" err="1"/>
              <a:t>level</a:t>
            </a:r>
            <a:endParaRPr lang="de-DE" noProof="0"/>
          </a:p>
          <a:p>
            <a:pPr lvl="3"/>
            <a:r>
              <a:rPr lang="de-DE" noProof="0"/>
              <a:t>4. </a:t>
            </a:r>
            <a:r>
              <a:rPr lang="de-DE" noProof="0" err="1"/>
              <a:t>level</a:t>
            </a:r>
            <a:endParaRPr lang="de-DE" noProof="0"/>
          </a:p>
          <a:p>
            <a:pPr lvl="4"/>
            <a:r>
              <a:rPr lang="de-DE" noProof="0"/>
              <a:t>5. </a:t>
            </a:r>
            <a:r>
              <a:rPr lang="de-DE" noProof="0" err="1"/>
              <a:t>level</a:t>
            </a:r>
            <a:endParaRPr lang="de-DE" noProof="0"/>
          </a:p>
          <a:p>
            <a:pPr lvl="5"/>
            <a:r>
              <a:rPr lang="de-DE" noProof="0"/>
              <a:t>6. </a:t>
            </a:r>
            <a:r>
              <a:rPr lang="de-DE" noProof="0" err="1"/>
              <a:t>level</a:t>
            </a:r>
            <a:endParaRPr lang="de-DE" noProof="0"/>
          </a:p>
          <a:p>
            <a:pPr lvl="6"/>
            <a:r>
              <a:rPr lang="de-DE" noProof="0"/>
              <a:t>7. </a:t>
            </a:r>
            <a:r>
              <a:rPr lang="de-DE" noProof="0" err="1"/>
              <a:t>level</a:t>
            </a:r>
            <a:endParaRPr lang="de-DE" noProof="0"/>
          </a:p>
          <a:p>
            <a:pPr lvl="7"/>
            <a:r>
              <a:rPr lang="de-DE" noProof="0"/>
              <a:t>8. </a:t>
            </a:r>
            <a:r>
              <a:rPr lang="de-DE" noProof="0" err="1"/>
              <a:t>level</a:t>
            </a:r>
            <a:endParaRPr lang="de-DE" noProof="0"/>
          </a:p>
          <a:p>
            <a:pPr lvl="8"/>
            <a:r>
              <a:rPr lang="de-DE" noProof="0"/>
              <a:t>9. </a:t>
            </a:r>
            <a:r>
              <a:rPr lang="de-DE" noProof="0" err="1"/>
              <a:t>level</a:t>
            </a:r>
            <a:endParaRPr lang="de-DE" noProof="0"/>
          </a:p>
        </p:txBody>
      </p:sp>
      <p:sp>
        <p:nvSpPr>
          <p:cNvPr id="5" name="Fußzeilenplatzhalter 4"/>
          <p:cNvSpPr>
            <a:spLocks noGrp="1"/>
          </p:cNvSpPr>
          <p:nvPr>
            <p:ph type="ftr" sz="quarter" idx="3"/>
          </p:nvPr>
        </p:nvSpPr>
        <p:spPr bwMode="gray">
          <a:xfrm>
            <a:off x="1092201" y="6417356"/>
            <a:ext cx="4895850" cy="216000"/>
          </a:xfrm>
          <a:prstGeom prst="rect">
            <a:avLst/>
          </a:prstGeom>
        </p:spPr>
        <p:txBody>
          <a:bodyPr vert="horz" lIns="0" tIns="0" rIns="0" bIns="46800" rtlCol="0" anchor="b">
            <a:noAutofit/>
          </a:bodyPr>
          <a:lstStyle>
            <a:lvl1pPr algn="l">
              <a:defRPr sz="750">
                <a:solidFill>
                  <a:srgbClr val="9BA4BF"/>
                </a:solidFill>
                <a:latin typeface="+mn-lt"/>
              </a:defRPr>
            </a:lvl1pPr>
          </a:lstStyle>
          <a:p>
            <a:r>
              <a:rPr lang="de-DE"/>
              <a:t>Date dd.mm.yyyy  |  Security label</a:t>
            </a:r>
          </a:p>
        </p:txBody>
      </p:sp>
      <p:grpSp>
        <p:nvGrpSpPr>
          <p:cNvPr id="26" name="Gruppieren 25"/>
          <p:cNvGrpSpPr/>
          <p:nvPr/>
        </p:nvGrpSpPr>
        <p:grpSpPr bwMode="gray">
          <a:xfrm>
            <a:off x="1091444" y="-243408"/>
            <a:ext cx="10009112" cy="72000"/>
            <a:chOff x="1091444" y="-1395536"/>
            <a:chExt cx="10009112" cy="936104"/>
          </a:xfrm>
        </p:grpSpPr>
        <p:cxnSp>
          <p:nvCxnSpPr>
            <p:cNvPr id="16" name="Gerader Verbinder 15"/>
            <p:cNvCxnSpPr/>
            <p:nvPr userDrawn="1"/>
          </p:nvCxnSpPr>
          <p:spPr bwMode="gray">
            <a:xfrm>
              <a:off x="1091444" y="-1395536"/>
              <a:ext cx="0" cy="936104"/>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 name="Gerader Verbinder 16"/>
            <p:cNvCxnSpPr/>
            <p:nvPr userDrawn="1"/>
          </p:nvCxnSpPr>
          <p:spPr bwMode="gray">
            <a:xfrm>
              <a:off x="3323692" y="-1395536"/>
              <a:ext cx="0" cy="936104"/>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 name="Gerader Verbinder 17"/>
            <p:cNvCxnSpPr/>
            <p:nvPr userDrawn="1"/>
          </p:nvCxnSpPr>
          <p:spPr bwMode="gray">
            <a:xfrm>
              <a:off x="3683732" y="-1395536"/>
              <a:ext cx="0" cy="936104"/>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 name="Gerader Verbinder 18"/>
            <p:cNvCxnSpPr/>
            <p:nvPr userDrawn="1"/>
          </p:nvCxnSpPr>
          <p:spPr bwMode="gray">
            <a:xfrm>
              <a:off x="5915980" y="-1395536"/>
              <a:ext cx="0" cy="936104"/>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 name="Gerader Verbinder 19"/>
            <p:cNvCxnSpPr/>
            <p:nvPr userDrawn="1"/>
          </p:nvCxnSpPr>
          <p:spPr bwMode="gray">
            <a:xfrm>
              <a:off x="6096000" y="-1395536"/>
              <a:ext cx="0" cy="936104"/>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1" name="Gerader Verbinder 20"/>
            <p:cNvCxnSpPr/>
            <p:nvPr userDrawn="1"/>
          </p:nvCxnSpPr>
          <p:spPr bwMode="gray">
            <a:xfrm>
              <a:off x="6276020" y="-1395536"/>
              <a:ext cx="0" cy="936104"/>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2" name="Gerader Verbinder 21"/>
            <p:cNvCxnSpPr/>
            <p:nvPr userDrawn="1"/>
          </p:nvCxnSpPr>
          <p:spPr bwMode="gray">
            <a:xfrm>
              <a:off x="8508268" y="-1395536"/>
              <a:ext cx="0" cy="936104"/>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 name="Gerader Verbinder 22"/>
            <p:cNvCxnSpPr/>
            <p:nvPr userDrawn="1"/>
          </p:nvCxnSpPr>
          <p:spPr bwMode="gray">
            <a:xfrm>
              <a:off x="8868308" y="-1395536"/>
              <a:ext cx="0" cy="936104"/>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4" name="Gerader Verbinder 23"/>
            <p:cNvCxnSpPr/>
            <p:nvPr userDrawn="1"/>
          </p:nvCxnSpPr>
          <p:spPr bwMode="gray">
            <a:xfrm>
              <a:off x="11100556" y="-1395536"/>
              <a:ext cx="0" cy="936104"/>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29" name="Gruppieren 28"/>
          <p:cNvGrpSpPr/>
          <p:nvPr/>
        </p:nvGrpSpPr>
        <p:grpSpPr bwMode="gray">
          <a:xfrm>
            <a:off x="-240696" y="908720"/>
            <a:ext cx="72000" cy="5148572"/>
            <a:chOff x="-1320824" y="908720"/>
            <a:chExt cx="936104" cy="5148572"/>
          </a:xfrm>
        </p:grpSpPr>
        <p:cxnSp>
          <p:nvCxnSpPr>
            <p:cNvPr id="25" name="Gerader Verbinder 24"/>
            <p:cNvCxnSpPr>
              <a:cxnSpLocks/>
            </p:cNvCxnSpPr>
            <p:nvPr userDrawn="1"/>
          </p:nvCxnSpPr>
          <p:spPr bwMode="gray">
            <a:xfrm rot="5400000">
              <a:off x="-852772" y="1844824"/>
              <a:ext cx="0" cy="936104"/>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7" name="Gerader Verbinder 26"/>
            <p:cNvCxnSpPr>
              <a:cxnSpLocks/>
            </p:cNvCxnSpPr>
            <p:nvPr userDrawn="1"/>
          </p:nvCxnSpPr>
          <p:spPr bwMode="gray">
            <a:xfrm rot="5400000">
              <a:off x="-852772" y="440668"/>
              <a:ext cx="0" cy="936104"/>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8" name="Gerader Verbinder 27"/>
            <p:cNvCxnSpPr>
              <a:cxnSpLocks/>
            </p:cNvCxnSpPr>
            <p:nvPr userDrawn="1"/>
          </p:nvCxnSpPr>
          <p:spPr bwMode="gray">
            <a:xfrm rot="5400000">
              <a:off x="-852772" y="5589240"/>
              <a:ext cx="0" cy="936104"/>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488" name="Slide Number Placeholder 487">
            <a:extLst>
              <a:ext uri="{FF2B5EF4-FFF2-40B4-BE49-F238E27FC236}">
                <a16:creationId xmlns:a16="http://schemas.microsoft.com/office/drawing/2014/main" id="{1A39904C-E48C-2F2D-AC1F-52E9BD6534E7}"/>
              </a:ext>
            </a:extLst>
          </p:cNvPr>
          <p:cNvSpPr>
            <a:spLocks noGrp="1"/>
          </p:cNvSpPr>
          <p:nvPr>
            <p:ph type="sldNum" sz="quarter" idx="4"/>
          </p:nvPr>
        </p:nvSpPr>
        <p:spPr bwMode="gray">
          <a:xfrm>
            <a:off x="11526329" y="6198777"/>
            <a:ext cx="665672" cy="659223"/>
          </a:xfrm>
          <a:custGeom>
            <a:avLst/>
            <a:gdLst>
              <a:gd name="connsiteX0" fmla="*/ 393815 w 665672"/>
              <a:gd name="connsiteY0" fmla="*/ 145 h 659223"/>
              <a:gd name="connsiteX1" fmla="*/ 458876 w 665672"/>
              <a:gd name="connsiteY1" fmla="*/ 24763 h 659223"/>
              <a:gd name="connsiteX2" fmla="*/ 552955 w 665672"/>
              <a:gd name="connsiteY2" fmla="*/ 77751 h 659223"/>
              <a:gd name="connsiteX3" fmla="*/ 665672 w 665672"/>
              <a:gd name="connsiteY3" fmla="*/ 141387 h 659223"/>
              <a:gd name="connsiteX4" fmla="*/ 665672 w 665672"/>
              <a:gd name="connsiteY4" fmla="*/ 659223 h 659223"/>
              <a:gd name="connsiteX5" fmla="*/ 264886 w 665672"/>
              <a:gd name="connsiteY5" fmla="*/ 659223 h 659223"/>
              <a:gd name="connsiteX6" fmla="*/ 204788 w 665672"/>
              <a:gd name="connsiteY6" fmla="*/ 626011 h 659223"/>
              <a:gd name="connsiteX7" fmla="*/ 7881 w 665672"/>
              <a:gd name="connsiteY7" fmla="*/ 285012 h 659223"/>
              <a:gd name="connsiteX8" fmla="*/ 29436 w 665672"/>
              <a:gd name="connsiteY8" fmla="*/ 204770 h 659223"/>
              <a:gd name="connsiteX9" fmla="*/ 370503 w 665672"/>
              <a:gd name="connsiteY9" fmla="*/ 7903 h 659223"/>
              <a:gd name="connsiteX10" fmla="*/ 393815 w 665672"/>
              <a:gd name="connsiteY10" fmla="*/ 145 h 6592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65672" h="659223">
                <a:moveTo>
                  <a:pt x="393815" y="145"/>
                </a:moveTo>
                <a:cubicBezTo>
                  <a:pt x="416821" y="-1596"/>
                  <a:pt x="438811" y="12689"/>
                  <a:pt x="458876" y="24763"/>
                </a:cubicBezTo>
                <a:cubicBezTo>
                  <a:pt x="490320" y="42257"/>
                  <a:pt x="521638" y="60004"/>
                  <a:pt x="552955" y="77751"/>
                </a:cubicBezTo>
                <a:cubicBezTo>
                  <a:pt x="590485" y="98921"/>
                  <a:pt x="628142" y="120218"/>
                  <a:pt x="665672" y="141387"/>
                </a:cubicBezTo>
                <a:lnTo>
                  <a:pt x="665672" y="659223"/>
                </a:lnTo>
                <a:lnTo>
                  <a:pt x="264886" y="659223"/>
                </a:lnTo>
                <a:cubicBezTo>
                  <a:pt x="241556" y="654152"/>
                  <a:pt x="217467" y="649335"/>
                  <a:pt x="204788" y="626011"/>
                </a:cubicBezTo>
                <a:lnTo>
                  <a:pt x="7881" y="285012"/>
                </a:lnTo>
                <a:cubicBezTo>
                  <a:pt x="-8348" y="256870"/>
                  <a:pt x="1288" y="220996"/>
                  <a:pt x="29436" y="204770"/>
                </a:cubicBezTo>
                <a:cubicBezTo>
                  <a:pt x="29436" y="204770"/>
                  <a:pt x="370503" y="7903"/>
                  <a:pt x="370503" y="7903"/>
                </a:cubicBezTo>
                <a:cubicBezTo>
                  <a:pt x="378364" y="3086"/>
                  <a:pt x="386146" y="725"/>
                  <a:pt x="393815" y="145"/>
                </a:cubicBezTo>
                <a:close/>
              </a:path>
            </a:pathLst>
          </a:custGeom>
          <a:solidFill>
            <a:schemeClr val="accent1"/>
          </a:solidFill>
          <a:ln w="3175">
            <a:solidFill>
              <a:schemeClr val="accent1"/>
            </a:solidFill>
          </a:ln>
        </p:spPr>
        <p:txBody>
          <a:bodyPr vert="horz" wrap="square" lIns="0" tIns="0" rIns="288000" bIns="252000" rtlCol="0" anchor="b" anchorCtr="0">
            <a:noAutofit/>
          </a:bodyPr>
          <a:lstStyle>
            <a:lvl1pPr algn="r">
              <a:defRPr sz="1100">
                <a:solidFill>
                  <a:schemeClr val="bg1"/>
                </a:solidFill>
                <a:latin typeface="Barlow Black" panose="00000A00000000000000" pitchFamily="2" charset="0"/>
              </a:defRPr>
            </a:lvl1pPr>
          </a:lstStyle>
          <a:p>
            <a:fld id="{44661A95-0089-4306-9485-D330C59FE3ED}" type="slidenum">
              <a:rPr lang="de-DE" smtClean="0"/>
              <a:pPr/>
              <a:t>‹#›</a:t>
            </a:fld>
            <a:endParaRPr lang="de-DE"/>
          </a:p>
        </p:txBody>
      </p:sp>
      <p:sp>
        <p:nvSpPr>
          <p:cNvPr id="460" name="Freihandform: Form 459">
            <a:extLst>
              <a:ext uri="{FF2B5EF4-FFF2-40B4-BE49-F238E27FC236}">
                <a16:creationId xmlns:a16="http://schemas.microsoft.com/office/drawing/2014/main" id="{AAC53D55-E73B-F50B-F031-098F41F76F60}"/>
              </a:ext>
            </a:extLst>
          </p:cNvPr>
          <p:cNvSpPr txBox="1">
            <a:spLocks noChangeAspect="1"/>
          </p:cNvSpPr>
          <p:nvPr userDrawn="1"/>
        </p:nvSpPr>
        <p:spPr bwMode="gray">
          <a:xfrm>
            <a:off x="11352648" y="307218"/>
            <a:ext cx="576000" cy="313470"/>
          </a:xfrm>
          <a:custGeom>
            <a:avLst/>
            <a:gdLst>
              <a:gd name="connsiteX0" fmla="*/ 471895 w 4139828"/>
              <a:gd name="connsiteY0" fmla="*/ 507 h 2242189"/>
              <a:gd name="connsiteX1" fmla="*/ 1132548 w 4139828"/>
              <a:gd name="connsiteY1" fmla="*/ 507 h 2242189"/>
              <a:gd name="connsiteX2" fmla="*/ 1179737 w 4139828"/>
              <a:gd name="connsiteY2" fmla="*/ 47691 h 2242189"/>
              <a:gd name="connsiteX3" fmla="*/ 1179737 w 4139828"/>
              <a:gd name="connsiteY3" fmla="*/ 425671 h 2242189"/>
              <a:gd name="connsiteX4" fmla="*/ 1132548 w 4139828"/>
              <a:gd name="connsiteY4" fmla="*/ 472855 h 2242189"/>
              <a:gd name="connsiteX5" fmla="*/ 659508 w 4139828"/>
              <a:gd name="connsiteY5" fmla="*/ 472855 h 2242189"/>
              <a:gd name="connsiteX6" fmla="*/ 470750 w 4139828"/>
              <a:gd name="connsiteY6" fmla="*/ 661591 h 2242189"/>
              <a:gd name="connsiteX7" fmla="*/ 470750 w 4139828"/>
              <a:gd name="connsiteY7" fmla="*/ 728742 h 2242189"/>
              <a:gd name="connsiteX8" fmla="*/ 494281 w 4139828"/>
              <a:gd name="connsiteY8" fmla="*/ 752270 h 2242189"/>
              <a:gd name="connsiteX9" fmla="*/ 800059 w 4139828"/>
              <a:gd name="connsiteY9" fmla="*/ 752270 h 2242189"/>
              <a:gd name="connsiteX10" fmla="*/ 847248 w 4139828"/>
              <a:gd name="connsiteY10" fmla="*/ 799454 h 2242189"/>
              <a:gd name="connsiteX11" fmla="*/ 847248 w 4139828"/>
              <a:gd name="connsiteY11" fmla="*/ 1081668 h 2242189"/>
              <a:gd name="connsiteX12" fmla="*/ 800059 w 4139828"/>
              <a:gd name="connsiteY12" fmla="*/ 1128852 h 2242189"/>
              <a:gd name="connsiteX13" fmla="*/ 494281 w 4139828"/>
              <a:gd name="connsiteY13" fmla="*/ 1128852 h 2242189"/>
              <a:gd name="connsiteX14" fmla="*/ 470750 w 4139828"/>
              <a:gd name="connsiteY14" fmla="*/ 1152380 h 2242189"/>
              <a:gd name="connsiteX15" fmla="*/ 470750 w 4139828"/>
              <a:gd name="connsiteY15" fmla="*/ 1227671 h 2242189"/>
              <a:gd name="connsiteX16" fmla="*/ 659508 w 4139828"/>
              <a:gd name="connsiteY16" fmla="*/ 1416406 h 2242189"/>
              <a:gd name="connsiteX17" fmla="*/ 1297775 w 4139828"/>
              <a:gd name="connsiteY17" fmla="*/ 1416406 h 2242189"/>
              <a:gd name="connsiteX18" fmla="*/ 1297775 w 4139828"/>
              <a:gd name="connsiteY18" fmla="*/ 1413100 h 2242189"/>
              <a:gd name="connsiteX19" fmla="*/ 1297775 w 4139828"/>
              <a:gd name="connsiteY19" fmla="*/ 472728 h 2242189"/>
              <a:gd name="connsiteX20" fmla="*/ 1769797 w 4139828"/>
              <a:gd name="connsiteY20" fmla="*/ 889 h 2242189"/>
              <a:gd name="connsiteX21" fmla="*/ 2359729 w 4139828"/>
              <a:gd name="connsiteY21" fmla="*/ 889 h 2242189"/>
              <a:gd name="connsiteX22" fmla="*/ 2831624 w 4139828"/>
              <a:gd name="connsiteY22" fmla="*/ 472728 h 2242189"/>
              <a:gd name="connsiteX23" fmla="*/ 2831624 w 4139828"/>
              <a:gd name="connsiteY23" fmla="*/ 2195005 h 2242189"/>
              <a:gd name="connsiteX24" fmla="*/ 2784434 w 4139828"/>
              <a:gd name="connsiteY24" fmla="*/ 2242189 h 2242189"/>
              <a:gd name="connsiteX25" fmla="*/ 2408063 w 4139828"/>
              <a:gd name="connsiteY25" fmla="*/ 2242189 h 2242189"/>
              <a:gd name="connsiteX26" fmla="*/ 2360874 w 4139828"/>
              <a:gd name="connsiteY26" fmla="*/ 2195005 h 2242189"/>
              <a:gd name="connsiteX27" fmla="*/ 2360874 w 4139828"/>
              <a:gd name="connsiteY27" fmla="*/ 661336 h 2242189"/>
              <a:gd name="connsiteX28" fmla="*/ 2172116 w 4139828"/>
              <a:gd name="connsiteY28" fmla="*/ 472601 h 2242189"/>
              <a:gd name="connsiteX29" fmla="*/ 1957410 w 4139828"/>
              <a:gd name="connsiteY29" fmla="*/ 472601 h 2242189"/>
              <a:gd name="connsiteX30" fmla="*/ 1768652 w 4139828"/>
              <a:gd name="connsiteY30" fmla="*/ 661336 h 2242189"/>
              <a:gd name="connsiteX31" fmla="*/ 1768652 w 4139828"/>
              <a:gd name="connsiteY31" fmla="*/ 1227671 h 2242189"/>
              <a:gd name="connsiteX32" fmla="*/ 1957410 w 4139828"/>
              <a:gd name="connsiteY32" fmla="*/ 1416406 h 2242189"/>
              <a:gd name="connsiteX33" fmla="*/ 2219305 w 4139828"/>
              <a:gd name="connsiteY33" fmla="*/ 1416406 h 2242189"/>
              <a:gd name="connsiteX34" fmla="*/ 2242963 w 4139828"/>
              <a:gd name="connsiteY34" fmla="*/ 1439935 h 2242189"/>
              <a:gd name="connsiteX35" fmla="*/ 2242963 w 4139828"/>
              <a:gd name="connsiteY35" fmla="*/ 1864717 h 2242189"/>
              <a:gd name="connsiteX36" fmla="*/ 2219305 w 4139828"/>
              <a:gd name="connsiteY36" fmla="*/ 1888246 h 2242189"/>
              <a:gd name="connsiteX37" fmla="*/ 472022 w 4139828"/>
              <a:gd name="connsiteY37" fmla="*/ 1888246 h 2242189"/>
              <a:gd name="connsiteX38" fmla="*/ 0 w 4139828"/>
              <a:gd name="connsiteY38" fmla="*/ 1416406 h 2242189"/>
              <a:gd name="connsiteX39" fmla="*/ 0 w 4139828"/>
              <a:gd name="connsiteY39" fmla="*/ 472346 h 2242189"/>
              <a:gd name="connsiteX40" fmla="*/ 471895 w 4139828"/>
              <a:gd name="connsiteY40" fmla="*/ 507 h 2242189"/>
              <a:gd name="connsiteX41" fmla="*/ 3422701 w 4139828"/>
              <a:gd name="connsiteY41" fmla="*/ 0 h 2242189"/>
              <a:gd name="connsiteX42" fmla="*/ 4021918 w 4139828"/>
              <a:gd name="connsiteY42" fmla="*/ 0 h 2242189"/>
              <a:gd name="connsiteX43" fmla="*/ 4069108 w 4139828"/>
              <a:gd name="connsiteY43" fmla="*/ 47184 h 2242189"/>
              <a:gd name="connsiteX44" fmla="*/ 4069108 w 4139828"/>
              <a:gd name="connsiteY44" fmla="*/ 425546 h 2242189"/>
              <a:gd name="connsiteX45" fmla="*/ 4021918 w 4139828"/>
              <a:gd name="connsiteY45" fmla="*/ 472730 h 2242189"/>
              <a:gd name="connsiteX46" fmla="*/ 3532979 w 4139828"/>
              <a:gd name="connsiteY46" fmla="*/ 472730 h 2242189"/>
              <a:gd name="connsiteX47" fmla="*/ 3532852 w 4139828"/>
              <a:gd name="connsiteY47" fmla="*/ 472857 h 2242189"/>
              <a:gd name="connsiteX48" fmla="*/ 3488969 w 4139828"/>
              <a:gd name="connsiteY48" fmla="*/ 599147 h 2242189"/>
              <a:gd name="connsiteX49" fmla="*/ 3904008 w 4139828"/>
              <a:gd name="connsiteY49" fmla="*/ 927781 h 2242189"/>
              <a:gd name="connsiteX50" fmla="*/ 4139828 w 4139828"/>
              <a:gd name="connsiteY50" fmla="*/ 1415391 h 2242189"/>
              <a:gd name="connsiteX51" fmla="*/ 4001312 w 4139828"/>
              <a:gd name="connsiteY51" fmla="*/ 1749875 h 2242189"/>
              <a:gd name="connsiteX52" fmla="*/ 3666916 w 4139828"/>
              <a:gd name="connsiteY52" fmla="*/ 1888375 h 2242189"/>
              <a:gd name="connsiteX53" fmla="*/ 2973319 w 4139828"/>
              <a:gd name="connsiteY53" fmla="*/ 1888375 h 2242189"/>
              <a:gd name="connsiteX54" fmla="*/ 2949788 w 4139828"/>
              <a:gd name="connsiteY54" fmla="*/ 1864846 h 2242189"/>
              <a:gd name="connsiteX55" fmla="*/ 2949788 w 4139828"/>
              <a:gd name="connsiteY55" fmla="*/ 1439173 h 2242189"/>
              <a:gd name="connsiteX56" fmla="*/ 2973319 w 4139828"/>
              <a:gd name="connsiteY56" fmla="*/ 1415518 h 2242189"/>
              <a:gd name="connsiteX57" fmla="*/ 3556637 w 4139828"/>
              <a:gd name="connsiteY57" fmla="*/ 1415518 h 2242189"/>
              <a:gd name="connsiteX58" fmla="*/ 3600520 w 4139828"/>
              <a:gd name="connsiteY58" fmla="*/ 1289228 h 2242189"/>
              <a:gd name="connsiteX59" fmla="*/ 3185481 w 4139828"/>
              <a:gd name="connsiteY59" fmla="*/ 960594 h 2242189"/>
              <a:gd name="connsiteX60" fmla="*/ 2949661 w 4139828"/>
              <a:gd name="connsiteY60" fmla="*/ 472984 h 2242189"/>
              <a:gd name="connsiteX61" fmla="*/ 3422701 w 4139828"/>
              <a:gd name="connsiteY61" fmla="*/ 0 h 22421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4139828" h="2242189">
                <a:moveTo>
                  <a:pt x="471895" y="507"/>
                </a:moveTo>
                <a:lnTo>
                  <a:pt x="1132548" y="507"/>
                </a:lnTo>
                <a:cubicBezTo>
                  <a:pt x="1158623" y="507"/>
                  <a:pt x="1179737" y="21619"/>
                  <a:pt x="1179737" y="47691"/>
                </a:cubicBezTo>
                <a:lnTo>
                  <a:pt x="1179737" y="425671"/>
                </a:lnTo>
                <a:cubicBezTo>
                  <a:pt x="1179737" y="451743"/>
                  <a:pt x="1158623" y="472855"/>
                  <a:pt x="1132548" y="472855"/>
                </a:cubicBezTo>
                <a:lnTo>
                  <a:pt x="659508" y="472855"/>
                </a:lnTo>
                <a:cubicBezTo>
                  <a:pt x="555208" y="472855"/>
                  <a:pt x="470750" y="557303"/>
                  <a:pt x="470750" y="661591"/>
                </a:cubicBezTo>
                <a:lnTo>
                  <a:pt x="470750" y="728742"/>
                </a:lnTo>
                <a:cubicBezTo>
                  <a:pt x="470750" y="741714"/>
                  <a:pt x="481307" y="752270"/>
                  <a:pt x="494281" y="752270"/>
                </a:cubicBezTo>
                <a:lnTo>
                  <a:pt x="800059" y="752270"/>
                </a:lnTo>
                <a:cubicBezTo>
                  <a:pt x="826134" y="752270"/>
                  <a:pt x="847248" y="773382"/>
                  <a:pt x="847248" y="799454"/>
                </a:cubicBezTo>
                <a:lnTo>
                  <a:pt x="847248" y="1081668"/>
                </a:lnTo>
                <a:cubicBezTo>
                  <a:pt x="847248" y="1107740"/>
                  <a:pt x="826134" y="1128852"/>
                  <a:pt x="800059" y="1128852"/>
                </a:cubicBezTo>
                <a:lnTo>
                  <a:pt x="494281" y="1128852"/>
                </a:lnTo>
                <a:cubicBezTo>
                  <a:pt x="481307" y="1128852"/>
                  <a:pt x="470750" y="1139408"/>
                  <a:pt x="470750" y="1152380"/>
                </a:cubicBezTo>
                <a:lnTo>
                  <a:pt x="470750" y="1227671"/>
                </a:lnTo>
                <a:cubicBezTo>
                  <a:pt x="470750" y="1331832"/>
                  <a:pt x="555208" y="1416406"/>
                  <a:pt x="659508" y="1416406"/>
                </a:cubicBezTo>
                <a:lnTo>
                  <a:pt x="1297775" y="1416406"/>
                </a:lnTo>
                <a:cubicBezTo>
                  <a:pt x="1297775" y="1415389"/>
                  <a:pt x="1297775" y="1414244"/>
                  <a:pt x="1297775" y="1413100"/>
                </a:cubicBezTo>
                <a:lnTo>
                  <a:pt x="1297775" y="472728"/>
                </a:lnTo>
                <a:cubicBezTo>
                  <a:pt x="1297775" y="212135"/>
                  <a:pt x="1509173" y="889"/>
                  <a:pt x="1769797" y="889"/>
                </a:cubicBezTo>
                <a:lnTo>
                  <a:pt x="2359729" y="889"/>
                </a:lnTo>
                <a:cubicBezTo>
                  <a:pt x="2620352" y="889"/>
                  <a:pt x="2831624" y="212135"/>
                  <a:pt x="2831624" y="472728"/>
                </a:cubicBezTo>
                <a:lnTo>
                  <a:pt x="2831624" y="2195005"/>
                </a:lnTo>
                <a:cubicBezTo>
                  <a:pt x="2831624" y="2221077"/>
                  <a:pt x="2810509" y="2242189"/>
                  <a:pt x="2784434" y="2242189"/>
                </a:cubicBezTo>
                <a:lnTo>
                  <a:pt x="2408063" y="2242189"/>
                </a:lnTo>
                <a:cubicBezTo>
                  <a:pt x="2381988" y="2242189"/>
                  <a:pt x="2360874" y="2221077"/>
                  <a:pt x="2360874" y="2195005"/>
                </a:cubicBezTo>
                <a:lnTo>
                  <a:pt x="2360874" y="661336"/>
                </a:lnTo>
                <a:cubicBezTo>
                  <a:pt x="2360874" y="557176"/>
                  <a:pt x="2276289" y="472601"/>
                  <a:pt x="2172116" y="472601"/>
                </a:cubicBezTo>
                <a:lnTo>
                  <a:pt x="1957410" y="472601"/>
                </a:lnTo>
                <a:cubicBezTo>
                  <a:pt x="1853110" y="472601"/>
                  <a:pt x="1768652" y="557176"/>
                  <a:pt x="1768652" y="661336"/>
                </a:cubicBezTo>
                <a:lnTo>
                  <a:pt x="1768652" y="1227671"/>
                </a:lnTo>
                <a:cubicBezTo>
                  <a:pt x="1768652" y="1331832"/>
                  <a:pt x="1853110" y="1416406"/>
                  <a:pt x="1957410" y="1416406"/>
                </a:cubicBezTo>
                <a:lnTo>
                  <a:pt x="2219305" y="1416406"/>
                </a:lnTo>
                <a:cubicBezTo>
                  <a:pt x="2232406" y="1416406"/>
                  <a:pt x="2242963" y="1426962"/>
                  <a:pt x="2242963" y="1439935"/>
                </a:cubicBezTo>
                <a:lnTo>
                  <a:pt x="2242963" y="1864717"/>
                </a:lnTo>
                <a:cubicBezTo>
                  <a:pt x="2242963" y="1877690"/>
                  <a:pt x="2232406" y="1888246"/>
                  <a:pt x="2219305" y="1888246"/>
                </a:cubicBezTo>
                <a:lnTo>
                  <a:pt x="472022" y="1888246"/>
                </a:lnTo>
                <a:cubicBezTo>
                  <a:pt x="211272" y="1888246"/>
                  <a:pt x="0" y="1676999"/>
                  <a:pt x="0" y="1416406"/>
                </a:cubicBezTo>
                <a:lnTo>
                  <a:pt x="0" y="472346"/>
                </a:lnTo>
                <a:cubicBezTo>
                  <a:pt x="0" y="211754"/>
                  <a:pt x="211272" y="507"/>
                  <a:pt x="471895" y="507"/>
                </a:cubicBezTo>
                <a:close/>
                <a:moveTo>
                  <a:pt x="3422701" y="0"/>
                </a:moveTo>
                <a:lnTo>
                  <a:pt x="4021918" y="0"/>
                </a:lnTo>
                <a:cubicBezTo>
                  <a:pt x="4047993" y="0"/>
                  <a:pt x="4069108" y="21112"/>
                  <a:pt x="4069108" y="47184"/>
                </a:cubicBezTo>
                <a:lnTo>
                  <a:pt x="4069108" y="425546"/>
                </a:lnTo>
                <a:cubicBezTo>
                  <a:pt x="4069108" y="451618"/>
                  <a:pt x="4047993" y="472730"/>
                  <a:pt x="4021918" y="472730"/>
                </a:cubicBezTo>
                <a:lnTo>
                  <a:pt x="3532979" y="472730"/>
                </a:lnTo>
                <a:lnTo>
                  <a:pt x="3532852" y="472857"/>
                </a:lnTo>
                <a:cubicBezTo>
                  <a:pt x="3465693" y="472857"/>
                  <a:pt x="3436311" y="557432"/>
                  <a:pt x="3488969" y="599147"/>
                </a:cubicBezTo>
                <a:lnTo>
                  <a:pt x="3904008" y="927781"/>
                </a:lnTo>
                <a:cubicBezTo>
                  <a:pt x="4052954" y="1045804"/>
                  <a:pt x="4139828" y="1225383"/>
                  <a:pt x="4139828" y="1415391"/>
                </a:cubicBezTo>
                <a:cubicBezTo>
                  <a:pt x="4139828" y="1546005"/>
                  <a:pt x="4086915" y="1664156"/>
                  <a:pt x="4001312" y="1749875"/>
                </a:cubicBezTo>
                <a:cubicBezTo>
                  <a:pt x="3915710" y="1835468"/>
                  <a:pt x="3797418" y="1888375"/>
                  <a:pt x="3666916" y="1888375"/>
                </a:cubicBezTo>
                <a:lnTo>
                  <a:pt x="2973319" y="1888375"/>
                </a:lnTo>
                <a:cubicBezTo>
                  <a:pt x="2960346" y="1888375"/>
                  <a:pt x="2949788" y="1877819"/>
                  <a:pt x="2949788" y="1864846"/>
                </a:cubicBezTo>
                <a:lnTo>
                  <a:pt x="2949788" y="1439173"/>
                </a:lnTo>
                <a:cubicBezTo>
                  <a:pt x="2949788" y="1426201"/>
                  <a:pt x="2960346" y="1415518"/>
                  <a:pt x="2973319" y="1415518"/>
                </a:cubicBezTo>
                <a:lnTo>
                  <a:pt x="3556637" y="1415518"/>
                </a:lnTo>
                <a:cubicBezTo>
                  <a:pt x="3623797" y="1415518"/>
                  <a:pt x="3653179" y="1330943"/>
                  <a:pt x="3600520" y="1289228"/>
                </a:cubicBezTo>
                <a:lnTo>
                  <a:pt x="3185481" y="960594"/>
                </a:lnTo>
                <a:cubicBezTo>
                  <a:pt x="3036535" y="842570"/>
                  <a:pt x="2949661" y="662991"/>
                  <a:pt x="2949661" y="472984"/>
                </a:cubicBezTo>
                <a:cubicBezTo>
                  <a:pt x="2949661" y="211755"/>
                  <a:pt x="3161441" y="0"/>
                  <a:pt x="3422701" y="0"/>
                </a:cubicBezTo>
                <a:close/>
              </a:path>
            </a:pathLst>
          </a:custGeom>
          <a:solidFill>
            <a:srgbClr val="E90055"/>
          </a:solidFill>
          <a:ln w="127">
            <a:solidFill>
              <a:schemeClr val="bg1">
                <a:alpha val="0"/>
              </a:schemeClr>
            </a:solidFill>
          </a:ln>
        </p:spPr>
        <p:txBody>
          <a:bodyPr wrap="square">
            <a:noAutofit/>
          </a:bodyPr>
          <a:lstStyle>
            <a:lvl1pPr marL="0" indent="0" algn="l" defTabSz="914400" rtl="0" eaLnBrk="1" latinLnBrk="0" hangingPunct="1">
              <a:lnSpc>
                <a:spcPct val="110000"/>
              </a:lnSpc>
              <a:spcBef>
                <a:spcPts val="600"/>
              </a:spcBef>
              <a:spcAft>
                <a:spcPts val="600"/>
              </a:spcAft>
              <a:buFont typeface="Arial" panose="020B0604020202020204" pitchFamily="34" charset="0"/>
              <a:buNone/>
              <a:defRPr sz="2000" b="1" kern="1200">
                <a:solidFill>
                  <a:schemeClr val="tx1"/>
                </a:solidFill>
                <a:latin typeface="+mj-lt"/>
                <a:ea typeface="+mn-ea"/>
                <a:cs typeface="+mn-cs"/>
              </a:defRPr>
            </a:lvl1pPr>
            <a:lvl2pPr marL="0" indent="0" algn="l" defTabSz="914400" rtl="0" eaLnBrk="1" latinLnBrk="0" hangingPunct="1">
              <a:lnSpc>
                <a:spcPct val="110000"/>
              </a:lnSpc>
              <a:spcBef>
                <a:spcPts val="600"/>
              </a:spcBef>
              <a:spcAft>
                <a:spcPts val="600"/>
              </a:spcAft>
              <a:buFont typeface="Arial" panose="020B0604020202020204" pitchFamily="34" charset="0"/>
              <a:buNone/>
              <a:defRPr sz="2000" kern="1200">
                <a:solidFill>
                  <a:schemeClr val="tx1"/>
                </a:solidFill>
                <a:latin typeface="+mn-lt"/>
                <a:ea typeface="+mn-ea"/>
                <a:cs typeface="+mn-cs"/>
              </a:defRPr>
            </a:lvl2pPr>
            <a:lvl3pPr marL="361950" indent="-361950" algn="l" defTabSz="914400" rtl="0" eaLnBrk="1" latinLnBrk="0" hangingPunct="1">
              <a:lnSpc>
                <a:spcPct val="110000"/>
              </a:lnSpc>
              <a:spcBef>
                <a:spcPts val="600"/>
              </a:spcBef>
              <a:spcAft>
                <a:spcPts val="600"/>
              </a:spcAft>
              <a:buClr>
                <a:schemeClr val="accent1"/>
              </a:buClr>
              <a:buFontTx/>
              <a:buBlip>
                <a:blip r:embed="rId44"/>
              </a:buBlip>
              <a:defRPr sz="2000" kern="1200">
                <a:solidFill>
                  <a:schemeClr val="tx1"/>
                </a:solidFill>
                <a:latin typeface="+mn-lt"/>
                <a:ea typeface="+mn-ea"/>
                <a:cs typeface="+mn-cs"/>
              </a:defRPr>
            </a:lvl3pPr>
            <a:lvl4pPr marL="714375" indent="-352425" algn="l" defTabSz="914400" rtl="0" eaLnBrk="1" latinLnBrk="0" hangingPunct="1">
              <a:lnSpc>
                <a:spcPct val="110000"/>
              </a:lnSpc>
              <a:spcBef>
                <a:spcPts val="600"/>
              </a:spcBef>
              <a:spcAft>
                <a:spcPts val="600"/>
              </a:spcAft>
              <a:buClr>
                <a:schemeClr val="accent1"/>
              </a:buClr>
              <a:buFontTx/>
              <a:buBlip>
                <a:blip r:embed="rId44"/>
              </a:buBlip>
              <a:defRPr sz="2000" kern="1200">
                <a:solidFill>
                  <a:schemeClr val="tx1"/>
                </a:solidFill>
                <a:latin typeface="+mn-lt"/>
                <a:ea typeface="+mn-ea"/>
                <a:cs typeface="+mn-cs"/>
              </a:defRPr>
            </a:lvl4pPr>
            <a:lvl5pPr marL="0" indent="0" algn="l" defTabSz="914400" rtl="0" eaLnBrk="1" latinLnBrk="0" hangingPunct="1">
              <a:lnSpc>
                <a:spcPct val="110000"/>
              </a:lnSpc>
              <a:spcBef>
                <a:spcPts val="600"/>
              </a:spcBef>
              <a:spcAft>
                <a:spcPts val="600"/>
              </a:spcAft>
              <a:buClr>
                <a:schemeClr val="accent1"/>
              </a:buClr>
              <a:buFont typeface="Arial" panose="020B0604020202020204" pitchFamily="34" charset="0"/>
              <a:buNone/>
              <a:defRPr sz="2500" kern="1200">
                <a:solidFill>
                  <a:schemeClr val="tx1"/>
                </a:solidFill>
                <a:latin typeface="+mn-lt"/>
                <a:ea typeface="+mn-ea"/>
                <a:cs typeface="+mn-cs"/>
              </a:defRPr>
            </a:lvl5pPr>
            <a:lvl6pPr marL="361950" indent="-361950" algn="l" defTabSz="914400" rtl="0" eaLnBrk="1" latinLnBrk="0" hangingPunct="1">
              <a:lnSpc>
                <a:spcPct val="110000"/>
              </a:lnSpc>
              <a:spcBef>
                <a:spcPts val="600"/>
              </a:spcBef>
              <a:spcAft>
                <a:spcPts val="600"/>
              </a:spcAft>
              <a:buClr>
                <a:schemeClr val="accent1"/>
              </a:buClr>
              <a:buFontTx/>
              <a:buBlip>
                <a:blip r:embed="rId44"/>
              </a:buBlip>
              <a:defRPr sz="2500" kern="1200">
                <a:solidFill>
                  <a:schemeClr val="tx1"/>
                </a:solidFill>
                <a:latin typeface="+mn-lt"/>
                <a:ea typeface="+mn-ea"/>
                <a:cs typeface="+mn-cs"/>
              </a:defRPr>
            </a:lvl6pPr>
            <a:lvl7pPr marL="360000" indent="-360000" algn="l" defTabSz="914400" rtl="0" eaLnBrk="1" latinLnBrk="0" hangingPunct="1">
              <a:lnSpc>
                <a:spcPct val="110000"/>
              </a:lnSpc>
              <a:spcBef>
                <a:spcPts val="600"/>
              </a:spcBef>
              <a:spcAft>
                <a:spcPts val="600"/>
              </a:spcAft>
              <a:buClr>
                <a:schemeClr val="accent1"/>
              </a:buClr>
              <a:buFont typeface="+mj-lt"/>
              <a:buAutoNum type="arabicPeriod"/>
              <a:defRPr sz="2000" kern="1200">
                <a:solidFill>
                  <a:schemeClr val="tx1"/>
                </a:solidFill>
                <a:latin typeface="+mn-lt"/>
                <a:ea typeface="+mn-ea"/>
                <a:cs typeface="+mn-cs"/>
              </a:defRPr>
            </a:lvl7pPr>
            <a:lvl8pPr marL="714375" indent="-354013" algn="l" defTabSz="914400" rtl="0" eaLnBrk="1" latinLnBrk="0" hangingPunct="1">
              <a:lnSpc>
                <a:spcPct val="110000"/>
              </a:lnSpc>
              <a:spcBef>
                <a:spcPts val="600"/>
              </a:spcBef>
              <a:spcAft>
                <a:spcPts val="600"/>
              </a:spcAft>
              <a:buClr>
                <a:schemeClr val="accent1"/>
              </a:buClr>
              <a:buFontTx/>
              <a:buBlip>
                <a:blip r:embed="rId44"/>
              </a:buBlip>
              <a:defRPr sz="2000" kern="1200">
                <a:solidFill>
                  <a:schemeClr val="tx1"/>
                </a:solidFill>
                <a:latin typeface="+mn-lt"/>
                <a:ea typeface="+mn-ea"/>
                <a:cs typeface="+mn-cs"/>
              </a:defRPr>
            </a:lvl8pPr>
            <a:lvl9pPr marL="1076325" indent="-361950" algn="l" defTabSz="914400" rtl="0" eaLnBrk="1" latinLnBrk="0" hangingPunct="1">
              <a:lnSpc>
                <a:spcPct val="110000"/>
              </a:lnSpc>
              <a:spcBef>
                <a:spcPts val="600"/>
              </a:spcBef>
              <a:spcAft>
                <a:spcPts val="600"/>
              </a:spcAft>
              <a:buClr>
                <a:schemeClr val="accent1"/>
              </a:buClr>
              <a:buFontTx/>
              <a:buBlip>
                <a:blip r:embed="rId44"/>
              </a:buBlip>
              <a:defRPr sz="2000" kern="1200">
                <a:solidFill>
                  <a:schemeClr val="tx1"/>
                </a:solidFill>
                <a:latin typeface="+mn-lt"/>
                <a:ea typeface="+mn-ea"/>
                <a:cs typeface="+mn-cs"/>
              </a:defRPr>
            </a:lvl9pPr>
          </a:lstStyle>
          <a:p>
            <a:r>
              <a:rPr lang="de-DE"/>
              <a:t> </a:t>
            </a:r>
          </a:p>
        </p:txBody>
      </p:sp>
      <p:sp>
        <p:nvSpPr>
          <p:cNvPr id="55" name="Rectangle 54">
            <a:extLst>
              <a:ext uri="{FF2B5EF4-FFF2-40B4-BE49-F238E27FC236}">
                <a16:creationId xmlns:a16="http://schemas.microsoft.com/office/drawing/2014/main" id="{1AB32761-2FEC-FD92-C3BD-EC3881859036}"/>
              </a:ext>
            </a:extLst>
          </p:cNvPr>
          <p:cNvSpPr/>
          <p:nvPr userDrawn="1"/>
        </p:nvSpPr>
        <p:spPr bwMode="gray">
          <a:xfrm>
            <a:off x="1091444" y="-151766"/>
            <a:ext cx="504000" cy="88378"/>
          </a:xfrm>
          <a:prstGeom prst="rect">
            <a:avLst/>
          </a:prstGeom>
          <a:solidFill>
            <a:schemeClr val="tx1"/>
          </a:solidFill>
          <a:ln w="139700" cap="rnd">
            <a:noFill/>
            <a:roun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e-DE" sz="2000">
              <a:solidFill>
                <a:schemeClr val="tx1"/>
              </a:solidFill>
            </a:endParaRPr>
          </a:p>
        </p:txBody>
      </p:sp>
      <p:sp>
        <p:nvSpPr>
          <p:cNvPr id="56" name="Rectangle 55">
            <a:extLst>
              <a:ext uri="{FF2B5EF4-FFF2-40B4-BE49-F238E27FC236}">
                <a16:creationId xmlns:a16="http://schemas.microsoft.com/office/drawing/2014/main" id="{5208992C-AE65-1EBC-B6F5-9DEE6E1E5AA5}"/>
              </a:ext>
            </a:extLst>
          </p:cNvPr>
          <p:cNvSpPr/>
          <p:nvPr userDrawn="1"/>
        </p:nvSpPr>
        <p:spPr bwMode="gray">
          <a:xfrm>
            <a:off x="1955604" y="-151766"/>
            <a:ext cx="504000" cy="88378"/>
          </a:xfrm>
          <a:prstGeom prst="rect">
            <a:avLst/>
          </a:prstGeom>
          <a:solidFill>
            <a:schemeClr val="tx1"/>
          </a:solidFill>
          <a:ln w="139700" cap="rnd">
            <a:noFill/>
            <a:roun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e-DE" sz="2000">
              <a:solidFill>
                <a:schemeClr val="tx1"/>
              </a:solidFill>
            </a:endParaRPr>
          </a:p>
        </p:txBody>
      </p:sp>
      <p:sp>
        <p:nvSpPr>
          <p:cNvPr id="57" name="Rectangle 56">
            <a:extLst>
              <a:ext uri="{FF2B5EF4-FFF2-40B4-BE49-F238E27FC236}">
                <a16:creationId xmlns:a16="http://schemas.microsoft.com/office/drawing/2014/main" id="{FFA3A4F6-C522-A8C6-D8A9-7FEEAC6B1FB3}"/>
              </a:ext>
            </a:extLst>
          </p:cNvPr>
          <p:cNvSpPr/>
          <p:nvPr userDrawn="1"/>
        </p:nvSpPr>
        <p:spPr bwMode="gray">
          <a:xfrm>
            <a:off x="2819700" y="-151766"/>
            <a:ext cx="504000" cy="88378"/>
          </a:xfrm>
          <a:prstGeom prst="rect">
            <a:avLst/>
          </a:prstGeom>
          <a:solidFill>
            <a:schemeClr val="tx1"/>
          </a:solidFill>
          <a:ln w="139700" cap="rnd">
            <a:noFill/>
            <a:roun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e-DE" sz="2000">
              <a:solidFill>
                <a:schemeClr val="tx1"/>
              </a:solidFill>
            </a:endParaRPr>
          </a:p>
        </p:txBody>
      </p:sp>
      <p:sp>
        <p:nvSpPr>
          <p:cNvPr id="58" name="Rectangle 57">
            <a:extLst>
              <a:ext uri="{FF2B5EF4-FFF2-40B4-BE49-F238E27FC236}">
                <a16:creationId xmlns:a16="http://schemas.microsoft.com/office/drawing/2014/main" id="{20E51828-A600-B814-4D38-BA297AD4C4D4}"/>
              </a:ext>
            </a:extLst>
          </p:cNvPr>
          <p:cNvSpPr/>
          <p:nvPr userDrawn="1"/>
        </p:nvSpPr>
        <p:spPr bwMode="gray">
          <a:xfrm>
            <a:off x="3683796" y="-151766"/>
            <a:ext cx="504000" cy="88378"/>
          </a:xfrm>
          <a:prstGeom prst="rect">
            <a:avLst/>
          </a:prstGeom>
          <a:solidFill>
            <a:schemeClr val="tx1"/>
          </a:solidFill>
          <a:ln w="139700" cap="rnd">
            <a:noFill/>
            <a:roun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e-DE" sz="2000">
              <a:solidFill>
                <a:schemeClr val="tx1"/>
              </a:solidFill>
            </a:endParaRPr>
          </a:p>
        </p:txBody>
      </p:sp>
      <p:sp>
        <p:nvSpPr>
          <p:cNvPr id="59" name="Rectangle 58">
            <a:extLst>
              <a:ext uri="{FF2B5EF4-FFF2-40B4-BE49-F238E27FC236}">
                <a16:creationId xmlns:a16="http://schemas.microsoft.com/office/drawing/2014/main" id="{1A5B4EC1-6B8C-715B-6139-A51EE96DED17}"/>
              </a:ext>
            </a:extLst>
          </p:cNvPr>
          <p:cNvSpPr/>
          <p:nvPr userDrawn="1"/>
        </p:nvSpPr>
        <p:spPr bwMode="gray">
          <a:xfrm>
            <a:off x="4547892" y="-151766"/>
            <a:ext cx="504000" cy="88378"/>
          </a:xfrm>
          <a:prstGeom prst="rect">
            <a:avLst/>
          </a:prstGeom>
          <a:solidFill>
            <a:schemeClr val="tx1"/>
          </a:solidFill>
          <a:ln w="139700" cap="rnd">
            <a:noFill/>
            <a:roun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e-DE" sz="2000">
              <a:solidFill>
                <a:schemeClr val="tx1"/>
              </a:solidFill>
            </a:endParaRPr>
          </a:p>
        </p:txBody>
      </p:sp>
      <p:sp>
        <p:nvSpPr>
          <p:cNvPr id="60" name="Rectangle 59">
            <a:extLst>
              <a:ext uri="{FF2B5EF4-FFF2-40B4-BE49-F238E27FC236}">
                <a16:creationId xmlns:a16="http://schemas.microsoft.com/office/drawing/2014/main" id="{2174E1B8-EA62-1AE6-1DA9-E6432FA037E6}"/>
              </a:ext>
            </a:extLst>
          </p:cNvPr>
          <p:cNvSpPr/>
          <p:nvPr userDrawn="1"/>
        </p:nvSpPr>
        <p:spPr bwMode="gray">
          <a:xfrm>
            <a:off x="5411988" y="-151766"/>
            <a:ext cx="504000" cy="88378"/>
          </a:xfrm>
          <a:prstGeom prst="rect">
            <a:avLst/>
          </a:prstGeom>
          <a:solidFill>
            <a:schemeClr val="tx1"/>
          </a:solidFill>
          <a:ln w="139700" cap="rnd">
            <a:noFill/>
            <a:roun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e-DE" sz="2000">
              <a:solidFill>
                <a:schemeClr val="tx1"/>
              </a:solidFill>
            </a:endParaRPr>
          </a:p>
        </p:txBody>
      </p:sp>
      <p:sp>
        <p:nvSpPr>
          <p:cNvPr id="61" name="Rectangle 60">
            <a:extLst>
              <a:ext uri="{FF2B5EF4-FFF2-40B4-BE49-F238E27FC236}">
                <a16:creationId xmlns:a16="http://schemas.microsoft.com/office/drawing/2014/main" id="{D4A9A57D-0A3C-834D-D895-C1748A9CB61E}"/>
              </a:ext>
            </a:extLst>
          </p:cNvPr>
          <p:cNvSpPr/>
          <p:nvPr userDrawn="1"/>
        </p:nvSpPr>
        <p:spPr bwMode="gray">
          <a:xfrm>
            <a:off x="6276084" y="-151766"/>
            <a:ext cx="504000" cy="88378"/>
          </a:xfrm>
          <a:prstGeom prst="rect">
            <a:avLst/>
          </a:prstGeom>
          <a:solidFill>
            <a:schemeClr val="tx1"/>
          </a:solidFill>
          <a:ln w="139700" cap="rnd">
            <a:noFill/>
            <a:roun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e-DE" sz="2000">
              <a:solidFill>
                <a:schemeClr val="tx1"/>
              </a:solidFill>
            </a:endParaRPr>
          </a:p>
        </p:txBody>
      </p:sp>
      <p:sp>
        <p:nvSpPr>
          <p:cNvPr id="62" name="Rectangle 61">
            <a:extLst>
              <a:ext uri="{FF2B5EF4-FFF2-40B4-BE49-F238E27FC236}">
                <a16:creationId xmlns:a16="http://schemas.microsoft.com/office/drawing/2014/main" id="{1BE0769C-74AD-29A1-CBB9-A2CC842518CE}"/>
              </a:ext>
            </a:extLst>
          </p:cNvPr>
          <p:cNvSpPr/>
          <p:nvPr userDrawn="1"/>
        </p:nvSpPr>
        <p:spPr bwMode="gray">
          <a:xfrm>
            <a:off x="7140180" y="-151766"/>
            <a:ext cx="504000" cy="88378"/>
          </a:xfrm>
          <a:prstGeom prst="rect">
            <a:avLst/>
          </a:prstGeom>
          <a:solidFill>
            <a:schemeClr val="tx1"/>
          </a:solidFill>
          <a:ln w="139700" cap="rnd">
            <a:noFill/>
            <a:roun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e-DE" sz="2000">
              <a:solidFill>
                <a:schemeClr val="tx1"/>
              </a:solidFill>
            </a:endParaRPr>
          </a:p>
        </p:txBody>
      </p:sp>
      <p:sp>
        <p:nvSpPr>
          <p:cNvPr id="63" name="Rectangle 62">
            <a:extLst>
              <a:ext uri="{FF2B5EF4-FFF2-40B4-BE49-F238E27FC236}">
                <a16:creationId xmlns:a16="http://schemas.microsoft.com/office/drawing/2014/main" id="{941B619C-2B91-9A66-AC73-6C6F7EA37B89}"/>
              </a:ext>
            </a:extLst>
          </p:cNvPr>
          <p:cNvSpPr/>
          <p:nvPr userDrawn="1"/>
        </p:nvSpPr>
        <p:spPr bwMode="gray">
          <a:xfrm>
            <a:off x="8004276" y="-151766"/>
            <a:ext cx="504000" cy="88378"/>
          </a:xfrm>
          <a:prstGeom prst="rect">
            <a:avLst/>
          </a:prstGeom>
          <a:solidFill>
            <a:schemeClr val="tx1"/>
          </a:solidFill>
          <a:ln w="139700" cap="rnd">
            <a:noFill/>
            <a:roun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e-DE" sz="2000">
              <a:solidFill>
                <a:schemeClr val="tx1"/>
              </a:solidFill>
            </a:endParaRPr>
          </a:p>
        </p:txBody>
      </p:sp>
      <p:sp>
        <p:nvSpPr>
          <p:cNvPr id="448" name="Rectangle 447">
            <a:extLst>
              <a:ext uri="{FF2B5EF4-FFF2-40B4-BE49-F238E27FC236}">
                <a16:creationId xmlns:a16="http://schemas.microsoft.com/office/drawing/2014/main" id="{495F7236-C570-91D3-2DCF-1CA178076DC9}"/>
              </a:ext>
            </a:extLst>
          </p:cNvPr>
          <p:cNvSpPr/>
          <p:nvPr userDrawn="1"/>
        </p:nvSpPr>
        <p:spPr bwMode="gray">
          <a:xfrm>
            <a:off x="8868372" y="-151766"/>
            <a:ext cx="504000" cy="88378"/>
          </a:xfrm>
          <a:prstGeom prst="rect">
            <a:avLst/>
          </a:prstGeom>
          <a:solidFill>
            <a:schemeClr val="tx1"/>
          </a:solidFill>
          <a:ln w="139700" cap="rnd">
            <a:noFill/>
            <a:roun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e-DE" sz="2000">
              <a:solidFill>
                <a:schemeClr val="tx1"/>
              </a:solidFill>
            </a:endParaRPr>
          </a:p>
        </p:txBody>
      </p:sp>
      <p:sp>
        <p:nvSpPr>
          <p:cNvPr id="449" name="Rectangle 448">
            <a:extLst>
              <a:ext uri="{FF2B5EF4-FFF2-40B4-BE49-F238E27FC236}">
                <a16:creationId xmlns:a16="http://schemas.microsoft.com/office/drawing/2014/main" id="{3DE6BC66-9F57-6740-E36C-76946E33D903}"/>
              </a:ext>
            </a:extLst>
          </p:cNvPr>
          <p:cNvSpPr/>
          <p:nvPr userDrawn="1"/>
        </p:nvSpPr>
        <p:spPr bwMode="gray">
          <a:xfrm>
            <a:off x="9732468" y="-151766"/>
            <a:ext cx="504000" cy="88378"/>
          </a:xfrm>
          <a:prstGeom prst="rect">
            <a:avLst/>
          </a:prstGeom>
          <a:solidFill>
            <a:schemeClr val="tx1"/>
          </a:solidFill>
          <a:ln w="139700" cap="rnd">
            <a:noFill/>
            <a:roun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e-DE" sz="2000">
              <a:solidFill>
                <a:schemeClr val="tx1"/>
              </a:solidFill>
            </a:endParaRPr>
          </a:p>
        </p:txBody>
      </p:sp>
      <p:sp>
        <p:nvSpPr>
          <p:cNvPr id="450" name="Rectangle 449">
            <a:extLst>
              <a:ext uri="{FF2B5EF4-FFF2-40B4-BE49-F238E27FC236}">
                <a16:creationId xmlns:a16="http://schemas.microsoft.com/office/drawing/2014/main" id="{388DC935-3E09-C95E-8F1A-B874377E54E6}"/>
              </a:ext>
            </a:extLst>
          </p:cNvPr>
          <p:cNvSpPr/>
          <p:nvPr userDrawn="1"/>
        </p:nvSpPr>
        <p:spPr bwMode="gray">
          <a:xfrm>
            <a:off x="10596564" y="-151766"/>
            <a:ext cx="504000" cy="88378"/>
          </a:xfrm>
          <a:prstGeom prst="rect">
            <a:avLst/>
          </a:prstGeom>
          <a:solidFill>
            <a:schemeClr val="tx1"/>
          </a:solidFill>
          <a:ln w="139700" cap="rnd">
            <a:noFill/>
            <a:roun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e-DE" sz="2000">
              <a:solidFill>
                <a:schemeClr val="tx1"/>
              </a:solidFill>
            </a:endParaRPr>
          </a:p>
        </p:txBody>
      </p:sp>
    </p:spTree>
    <p:extLst>
      <p:ext uri="{BB962C8B-B14F-4D97-AF65-F5344CB8AC3E}">
        <p14:creationId xmlns:p14="http://schemas.microsoft.com/office/powerpoint/2010/main" val="2034006992"/>
      </p:ext>
    </p:extLst>
  </p:cSld>
  <p:clrMap bg1="lt1" tx1="dk1" bg2="lt2" tx2="dk2" accent1="accent1" accent2="accent2" accent3="accent3" accent4="accent4" accent5="accent5" accent6="accent6" hlink="hlink" folHlink="folHlink"/>
  <p:sldLayoutIdLst>
    <p:sldLayoutId id="2147483649" r:id="rId1"/>
    <p:sldLayoutId id="2147483678" r:id="rId2"/>
    <p:sldLayoutId id="2147483667" r:id="rId3"/>
    <p:sldLayoutId id="2147483666" r:id="rId4"/>
    <p:sldLayoutId id="2147483672" r:id="rId5"/>
    <p:sldLayoutId id="2147483692" r:id="rId6"/>
    <p:sldLayoutId id="2147483693" r:id="rId7"/>
    <p:sldLayoutId id="2147483694" r:id="rId8"/>
    <p:sldLayoutId id="2147483695" r:id="rId9"/>
    <p:sldLayoutId id="2147483696" r:id="rId10"/>
    <p:sldLayoutId id="2147483697" r:id="rId11"/>
    <p:sldLayoutId id="2147483650" r:id="rId12"/>
    <p:sldLayoutId id="2147483691" r:id="rId13"/>
    <p:sldLayoutId id="2147483652" r:id="rId14"/>
    <p:sldLayoutId id="2147483660" r:id="rId15"/>
    <p:sldLayoutId id="2147483654" r:id="rId16"/>
    <p:sldLayoutId id="2147483655" r:id="rId17"/>
    <p:sldLayoutId id="2147483659" r:id="rId18"/>
    <p:sldLayoutId id="2147483681" r:id="rId19"/>
    <p:sldLayoutId id="2147483658" r:id="rId20"/>
    <p:sldLayoutId id="2147483670" r:id="rId21"/>
    <p:sldLayoutId id="2147483680" r:id="rId22"/>
    <p:sldLayoutId id="2147483669" r:id="rId23"/>
    <p:sldLayoutId id="2147483683" r:id="rId24"/>
    <p:sldLayoutId id="2147483684" r:id="rId25"/>
    <p:sldLayoutId id="2147483686" r:id="rId26"/>
    <p:sldLayoutId id="2147483656" r:id="rId27"/>
    <p:sldLayoutId id="2147483657" r:id="rId28"/>
    <p:sldLayoutId id="2147483664" r:id="rId29"/>
    <p:sldLayoutId id="2147483675" r:id="rId30"/>
    <p:sldLayoutId id="2147483685" r:id="rId31"/>
    <p:sldLayoutId id="2147483679" r:id="rId32"/>
    <p:sldLayoutId id="2147483688" r:id="rId33"/>
    <p:sldLayoutId id="2147483689" r:id="rId34"/>
    <p:sldLayoutId id="2147483690" r:id="rId35"/>
    <p:sldLayoutId id="2147483687" r:id="rId36"/>
    <p:sldLayoutId id="2147483677" r:id="rId37"/>
  </p:sldLayoutIdLst>
  <p:hf hdr="0" dt="0"/>
  <p:txStyles>
    <p:titleStyle>
      <a:lvl1pPr marL="0" indent="0" algn="l" defTabSz="914400" rtl="0" eaLnBrk="1" latinLnBrk="0" hangingPunct="1">
        <a:lnSpc>
          <a:spcPct val="95000"/>
        </a:lnSpc>
        <a:spcBef>
          <a:spcPct val="0"/>
        </a:spcBef>
        <a:buFont typeface="Yanone Kaffeesatz" panose="00000500000000000000" pitchFamily="50" charset="0"/>
        <a:buNone/>
        <a:defRPr sz="3700" b="1" i="1" kern="1200" cap="none" baseline="0">
          <a:solidFill>
            <a:schemeClr val="tx1"/>
          </a:solidFill>
          <a:latin typeface="Barlow ExtraBold" pitchFamily="2" charset="77"/>
          <a:ea typeface="+mj-ea"/>
          <a:cs typeface="+mj-cs"/>
        </a:defRPr>
      </a:lvl1pPr>
    </p:titleStyle>
    <p:bodyStyle>
      <a:lvl1pPr marL="0" indent="0" algn="l" defTabSz="914400" rtl="0" eaLnBrk="1" latinLnBrk="0" hangingPunct="1">
        <a:lnSpc>
          <a:spcPct val="110000"/>
        </a:lnSpc>
        <a:spcBef>
          <a:spcPts val="600"/>
        </a:spcBef>
        <a:spcAft>
          <a:spcPts val="0"/>
        </a:spcAft>
        <a:buFont typeface="Arial" panose="020B0604020202020204" pitchFamily="34" charset="0"/>
        <a:buNone/>
        <a:defRPr sz="2000" b="0" kern="1200">
          <a:solidFill>
            <a:schemeClr val="tx1"/>
          </a:solidFill>
          <a:latin typeface="+mj-lt"/>
          <a:ea typeface="+mn-ea"/>
          <a:cs typeface="+mn-cs"/>
        </a:defRPr>
      </a:lvl1pPr>
      <a:lvl2pPr marL="0" indent="0" algn="l" defTabSz="914400" rtl="0" eaLnBrk="1" latinLnBrk="0" hangingPunct="1">
        <a:lnSpc>
          <a:spcPct val="110000"/>
        </a:lnSpc>
        <a:spcBef>
          <a:spcPts val="600"/>
        </a:spcBef>
        <a:spcAft>
          <a:spcPts val="0"/>
        </a:spcAft>
        <a:buFont typeface="Arial" panose="020B0604020202020204" pitchFamily="34" charset="0"/>
        <a:buNone/>
        <a:defRPr sz="2000" kern="1200">
          <a:solidFill>
            <a:schemeClr val="tx1"/>
          </a:solidFill>
          <a:latin typeface="+mn-lt"/>
          <a:ea typeface="+mn-ea"/>
          <a:cs typeface="+mn-cs"/>
        </a:defRPr>
      </a:lvl2pPr>
      <a:lvl3pPr marL="269875" indent="-269875" algn="l" defTabSz="914400" rtl="0" eaLnBrk="1" latinLnBrk="0" hangingPunct="1">
        <a:lnSpc>
          <a:spcPct val="110000"/>
        </a:lnSpc>
        <a:spcBef>
          <a:spcPts val="600"/>
        </a:spcBef>
        <a:spcAft>
          <a:spcPts val="0"/>
        </a:spcAft>
        <a:buClr>
          <a:schemeClr val="accent1"/>
        </a:buClr>
        <a:buSzPct val="80000"/>
        <a:buFontTx/>
        <a:buBlip>
          <a:blip r:embed="rId44"/>
        </a:buBlip>
        <a:defRPr sz="2000" kern="1200">
          <a:solidFill>
            <a:schemeClr val="tx1"/>
          </a:solidFill>
          <a:latin typeface="+mn-lt"/>
          <a:ea typeface="+mn-ea"/>
          <a:cs typeface="+mn-cs"/>
        </a:defRPr>
      </a:lvl3pPr>
      <a:lvl4pPr marL="541338" indent="-271463" algn="l" defTabSz="914400" rtl="0" eaLnBrk="1" latinLnBrk="0" hangingPunct="1">
        <a:lnSpc>
          <a:spcPct val="110000"/>
        </a:lnSpc>
        <a:spcBef>
          <a:spcPts val="600"/>
        </a:spcBef>
        <a:spcAft>
          <a:spcPts val="0"/>
        </a:spcAft>
        <a:buClr>
          <a:schemeClr val="accent1"/>
        </a:buClr>
        <a:buSzPct val="80000"/>
        <a:buFontTx/>
        <a:buBlip>
          <a:blip r:embed="rId44"/>
        </a:buBlip>
        <a:defRPr sz="2000" kern="1200">
          <a:solidFill>
            <a:schemeClr val="tx1"/>
          </a:solidFill>
          <a:latin typeface="+mn-lt"/>
          <a:ea typeface="+mn-ea"/>
          <a:cs typeface="+mn-cs"/>
        </a:defRPr>
      </a:lvl4pPr>
      <a:lvl5pPr marL="0" indent="0" algn="l" defTabSz="914400" rtl="0" eaLnBrk="1" latinLnBrk="0" hangingPunct="1">
        <a:lnSpc>
          <a:spcPct val="110000"/>
        </a:lnSpc>
        <a:spcBef>
          <a:spcPts val="600"/>
        </a:spcBef>
        <a:spcAft>
          <a:spcPts val="0"/>
        </a:spcAft>
        <a:buClr>
          <a:schemeClr val="accent1"/>
        </a:buClr>
        <a:buFont typeface="Arial" panose="020B0604020202020204" pitchFamily="34" charset="0"/>
        <a:buNone/>
        <a:defRPr sz="3000" kern="1200">
          <a:solidFill>
            <a:schemeClr val="tx1"/>
          </a:solidFill>
          <a:latin typeface="Barlow Light" panose="00000400000000000000" pitchFamily="2" charset="0"/>
          <a:ea typeface="+mn-ea"/>
          <a:cs typeface="+mn-cs"/>
        </a:defRPr>
      </a:lvl5pPr>
      <a:lvl6pPr marL="361950" indent="-361950" algn="l" defTabSz="914400" rtl="0" eaLnBrk="1" latinLnBrk="0" hangingPunct="1">
        <a:lnSpc>
          <a:spcPct val="110000"/>
        </a:lnSpc>
        <a:spcBef>
          <a:spcPts val="600"/>
        </a:spcBef>
        <a:spcAft>
          <a:spcPts val="0"/>
        </a:spcAft>
        <a:buClr>
          <a:schemeClr val="accent1"/>
        </a:buClr>
        <a:buSzPct val="80000"/>
        <a:buFontTx/>
        <a:buBlip>
          <a:blip r:embed="rId44"/>
        </a:buBlip>
        <a:defRPr sz="2500" kern="1200">
          <a:solidFill>
            <a:schemeClr val="tx1"/>
          </a:solidFill>
          <a:latin typeface="+mn-lt"/>
          <a:ea typeface="+mn-ea"/>
          <a:cs typeface="+mn-cs"/>
        </a:defRPr>
      </a:lvl6pPr>
      <a:lvl7pPr marL="360000" indent="-360000" algn="l" defTabSz="914400" rtl="0" eaLnBrk="1" latinLnBrk="0" hangingPunct="1">
        <a:lnSpc>
          <a:spcPct val="110000"/>
        </a:lnSpc>
        <a:spcBef>
          <a:spcPts val="600"/>
        </a:spcBef>
        <a:spcAft>
          <a:spcPts val="0"/>
        </a:spcAft>
        <a:buClr>
          <a:schemeClr val="accent1"/>
        </a:buClr>
        <a:buFont typeface="+mj-lt"/>
        <a:buAutoNum type="arabicPeriod"/>
        <a:defRPr sz="2000" kern="1200">
          <a:solidFill>
            <a:schemeClr val="tx1"/>
          </a:solidFill>
          <a:latin typeface="+mn-lt"/>
          <a:ea typeface="+mn-ea"/>
          <a:cs typeface="+mn-cs"/>
        </a:defRPr>
      </a:lvl7pPr>
      <a:lvl8pPr marL="625475" indent="-265113" algn="l" defTabSz="914400" rtl="0" eaLnBrk="1" latinLnBrk="0" hangingPunct="1">
        <a:lnSpc>
          <a:spcPct val="110000"/>
        </a:lnSpc>
        <a:spcBef>
          <a:spcPts val="600"/>
        </a:spcBef>
        <a:spcAft>
          <a:spcPts val="0"/>
        </a:spcAft>
        <a:buClr>
          <a:schemeClr val="accent1"/>
        </a:buClr>
        <a:buSzPct val="80000"/>
        <a:buFontTx/>
        <a:buBlip>
          <a:blip r:embed="rId44"/>
        </a:buBlip>
        <a:defRPr sz="2000" kern="1200">
          <a:solidFill>
            <a:schemeClr val="tx1"/>
          </a:solidFill>
          <a:latin typeface="+mn-lt"/>
          <a:ea typeface="+mn-ea"/>
          <a:cs typeface="+mn-cs"/>
        </a:defRPr>
      </a:lvl8pPr>
      <a:lvl9pPr marL="895350" indent="-269875" algn="l" defTabSz="914400" rtl="0" eaLnBrk="1" latinLnBrk="0" hangingPunct="1">
        <a:lnSpc>
          <a:spcPct val="110000"/>
        </a:lnSpc>
        <a:spcBef>
          <a:spcPts val="600"/>
        </a:spcBef>
        <a:spcAft>
          <a:spcPts val="0"/>
        </a:spcAft>
        <a:buClr>
          <a:schemeClr val="accent1"/>
        </a:buClr>
        <a:buSzPct val="80000"/>
        <a:buFontTx/>
        <a:buBlip>
          <a:blip r:embed="rId44"/>
        </a:buBlip>
        <a:defRPr sz="2000" kern="1200">
          <a:solidFill>
            <a:schemeClr val="tx1"/>
          </a:solidFill>
          <a:latin typeface="+mn-lt"/>
          <a:ea typeface="+mn-ea"/>
          <a:cs typeface="+mn-cs"/>
        </a:defRPr>
      </a:lvl9pPr>
    </p:bodyStyle>
    <p:otherStyle>
      <a:defPPr>
        <a:defRPr lang="de-DE"/>
      </a:defPPr>
      <a:lvl1pPr marL="0" algn="l" defTabSz="914400" rtl="0" eaLnBrk="1" latinLnBrk="0" hangingPunct="1">
        <a:defRPr sz="1600" kern="1200">
          <a:solidFill>
            <a:schemeClr val="tx1"/>
          </a:solidFill>
          <a:latin typeface="+mn-lt"/>
          <a:ea typeface="+mn-ea"/>
          <a:cs typeface="+mn-cs"/>
        </a:defRPr>
      </a:lvl1pPr>
      <a:lvl2pPr marL="457200" algn="l" defTabSz="914400" rtl="0" eaLnBrk="1" latinLnBrk="0" hangingPunct="1">
        <a:defRPr sz="1600" kern="1200">
          <a:solidFill>
            <a:schemeClr val="tx1"/>
          </a:solidFill>
          <a:latin typeface="+mn-lt"/>
          <a:ea typeface="+mn-ea"/>
          <a:cs typeface="+mn-cs"/>
        </a:defRPr>
      </a:lvl2pPr>
      <a:lvl3pPr marL="914400" algn="l" defTabSz="914400" rtl="0" eaLnBrk="1" latinLnBrk="0" hangingPunct="1">
        <a:defRPr sz="1600" kern="1200">
          <a:solidFill>
            <a:schemeClr val="tx1"/>
          </a:solidFill>
          <a:latin typeface="+mn-lt"/>
          <a:ea typeface="+mn-ea"/>
          <a:cs typeface="+mn-cs"/>
        </a:defRPr>
      </a:lvl3pPr>
      <a:lvl4pPr marL="1371600" algn="l" defTabSz="914400" rtl="0" eaLnBrk="1" latinLnBrk="0" hangingPunct="1">
        <a:defRPr sz="1600" kern="1200">
          <a:solidFill>
            <a:schemeClr val="tx1"/>
          </a:solidFill>
          <a:latin typeface="+mn-lt"/>
          <a:ea typeface="+mn-ea"/>
          <a:cs typeface="+mn-cs"/>
        </a:defRPr>
      </a:lvl4pPr>
      <a:lvl5pPr marL="1828800" algn="l" defTabSz="914400" rtl="0" eaLnBrk="1" latinLnBrk="0" hangingPunct="1">
        <a:defRPr sz="1600" kern="1200">
          <a:solidFill>
            <a:schemeClr val="tx1"/>
          </a:solidFill>
          <a:latin typeface="+mn-lt"/>
          <a:ea typeface="+mn-ea"/>
          <a:cs typeface="+mn-cs"/>
        </a:defRPr>
      </a:lvl5pPr>
      <a:lvl6pPr marL="2286000" algn="l" defTabSz="914400" rtl="0" eaLnBrk="1" latinLnBrk="0" hangingPunct="1">
        <a:defRPr sz="1600" kern="1200">
          <a:solidFill>
            <a:schemeClr val="tx1"/>
          </a:solidFill>
          <a:latin typeface="+mn-lt"/>
          <a:ea typeface="+mn-ea"/>
          <a:cs typeface="+mn-cs"/>
        </a:defRPr>
      </a:lvl6pPr>
      <a:lvl7pPr marL="2743200" algn="l" defTabSz="914400" rtl="0" eaLnBrk="1" latinLnBrk="0" hangingPunct="1">
        <a:defRPr sz="1600" kern="1200">
          <a:solidFill>
            <a:schemeClr val="tx1"/>
          </a:solidFill>
          <a:latin typeface="+mn-lt"/>
          <a:ea typeface="+mn-ea"/>
          <a:cs typeface="+mn-cs"/>
        </a:defRPr>
      </a:lvl7pPr>
      <a:lvl8pPr marL="3200400" algn="l" defTabSz="914400" rtl="0" eaLnBrk="1" latinLnBrk="0" hangingPunct="1">
        <a:defRPr sz="1600" kern="1200">
          <a:solidFill>
            <a:schemeClr val="tx1"/>
          </a:solidFill>
          <a:latin typeface="+mn-lt"/>
          <a:ea typeface="+mn-ea"/>
          <a:cs typeface="+mn-cs"/>
        </a:defRPr>
      </a:lvl8pPr>
      <a:lvl9pPr marL="3657600" algn="l" defTabSz="914400" rtl="0" eaLnBrk="1" latinLnBrk="0" hangingPunct="1">
        <a:defRPr sz="16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688" userDrawn="1">
          <p15:clr>
            <a:srgbClr val="FBAE40"/>
          </p15:clr>
        </p15:guide>
        <p15:guide id="2" pos="6992" userDrawn="1">
          <p15:clr>
            <a:srgbClr val="FBAE40"/>
          </p15:clr>
        </p15:guide>
        <p15:guide id="3" orient="horz" pos="1457" userDrawn="1">
          <p15:clr>
            <a:srgbClr val="FBAE40"/>
          </p15:clr>
        </p15:guide>
        <p15:guide id="4" orient="horz" pos="3816" userDrawn="1">
          <p15:clr>
            <a:srgbClr val="FBAE40"/>
          </p15:clr>
        </p15:guide>
        <p15:guide id="5" orient="horz" pos="572" userDrawn="1">
          <p15:clr>
            <a:srgbClr val="A4A3A4"/>
          </p15:clr>
        </p15:guide>
        <p15:guide id="16" orient="horz" pos="1026" userDrawn="1">
          <p15:clr>
            <a:srgbClr val="A4A3A4"/>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0.xml"/></Relationships>
</file>

<file path=ppt/slides/_rels/slide11.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13.png"/><Relationship Id="rId1" Type="http://schemas.openxmlformats.org/officeDocument/2006/relationships/slideLayout" Target="../slideLayouts/slideLayout13.xml"/></Relationships>
</file>

<file path=ppt/slides/_rels/slide12.xml.rels><?xml version="1.0" encoding="UTF-8" standalone="yes"?>
<Relationships xmlns="http://schemas.openxmlformats.org/package/2006/relationships"><Relationship Id="rId3" Type="http://schemas.openxmlformats.org/officeDocument/2006/relationships/image" Target="../media/image14.jpg"/><Relationship Id="rId2" Type="http://schemas.openxmlformats.org/officeDocument/2006/relationships/notesSlide" Target="../notesSlides/notesSlide5.xml"/><Relationship Id="rId1" Type="http://schemas.openxmlformats.org/officeDocument/2006/relationships/slideLayout" Target="../slideLayouts/slideLayout18.xml"/><Relationship Id="rId4" Type="http://schemas.openxmlformats.org/officeDocument/2006/relationships/image" Target="../media/image1.emf"/></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9.xml"/></Relationships>
</file>

<file path=ppt/slides/_rels/slide14.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15.png"/><Relationship Id="rId1" Type="http://schemas.openxmlformats.org/officeDocument/2006/relationships/slideLayout" Target="../slideLayouts/slideLayout14.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8.xml"/></Relationships>
</file>

<file path=ppt/slides/_rels/slide16.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16.png"/><Relationship Id="rId1" Type="http://schemas.openxmlformats.org/officeDocument/2006/relationships/slideLayout" Target="../slideLayouts/slideLayout14.xml"/></Relationships>
</file>

<file path=ppt/slides/_rels/slide17.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17.png"/><Relationship Id="rId1" Type="http://schemas.openxmlformats.org/officeDocument/2006/relationships/slideLayout" Target="../slideLayouts/slideLayout14.xml"/></Relationships>
</file>

<file path=ppt/slides/_rels/slide18.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18.png"/><Relationship Id="rId1" Type="http://schemas.openxmlformats.org/officeDocument/2006/relationships/slideLayout" Target="../slideLayouts/slideLayout14.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19.png"/><Relationship Id="rId1" Type="http://schemas.openxmlformats.org/officeDocument/2006/relationships/slideLayout" Target="../slideLayouts/slideLayout14.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1.xml"/></Relationships>
</file>

<file path=ppt/slides/_rels/slide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3.xml"/><Relationship Id="rId1" Type="http://schemas.openxmlformats.org/officeDocument/2006/relationships/slideLayout" Target="../slideLayouts/slideLayout12.xml"/></Relationships>
</file>

<file path=ppt/slides/_rels/slide5.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9.png"/><Relationship Id="rId1" Type="http://schemas.openxmlformats.org/officeDocument/2006/relationships/slideLayout" Target="../slideLayouts/slideLayout14.xml"/></Relationships>
</file>

<file path=ppt/slides/_rels/slide6.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10.png"/><Relationship Id="rId1" Type="http://schemas.openxmlformats.org/officeDocument/2006/relationships/slideLayout" Target="../slideLayouts/slideLayout14.xml"/></Relationships>
</file>

<file path=ppt/slides/_rels/slide7.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11.png"/><Relationship Id="rId1" Type="http://schemas.openxmlformats.org/officeDocument/2006/relationships/slideLayout" Target="../slideLayouts/slideLayout14.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9.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12.png"/><Relationship Id="rId1" Type="http://schemas.openxmlformats.org/officeDocument/2006/relationships/slideLayout" Target="../slideLayouts/slideLayout1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Bildplatzhalter 5">
            <a:extLst>
              <a:ext uri="{FF2B5EF4-FFF2-40B4-BE49-F238E27FC236}">
                <a16:creationId xmlns:a16="http://schemas.microsoft.com/office/drawing/2014/main" id="{F773D7BC-3D34-778B-1861-E207616EF752}"/>
              </a:ext>
            </a:extLst>
          </p:cNvPr>
          <p:cNvPicPr>
            <a:picLocks noGrp="1" noChangeAspect="1"/>
          </p:cNvPicPr>
          <p:nvPr>
            <p:ph type="pic" sz="quarter" idx="12"/>
          </p:nvPr>
        </p:nvPicPr>
        <p:blipFill>
          <a:blip r:embed="rId2"/>
          <a:srcRect/>
          <a:stretch/>
        </p:blipFill>
        <p:spPr/>
      </p:pic>
      <p:sp>
        <p:nvSpPr>
          <p:cNvPr id="3" name="Titel 2">
            <a:extLst>
              <a:ext uri="{FF2B5EF4-FFF2-40B4-BE49-F238E27FC236}">
                <a16:creationId xmlns:a16="http://schemas.microsoft.com/office/drawing/2014/main" id="{4380B636-EC4E-BA6D-9AEC-E5CD5D2472A2}"/>
              </a:ext>
            </a:extLst>
          </p:cNvPr>
          <p:cNvSpPr>
            <a:spLocks noGrp="1"/>
          </p:cNvSpPr>
          <p:nvPr>
            <p:ph type="ctrTitle"/>
          </p:nvPr>
        </p:nvSpPr>
        <p:spPr>
          <a:xfrm>
            <a:off x="1092200" y="3975766"/>
            <a:ext cx="5003800" cy="569387"/>
          </a:xfrm>
        </p:spPr>
        <p:txBody>
          <a:bodyPr>
            <a:normAutofit/>
          </a:bodyPr>
          <a:lstStyle/>
          <a:p>
            <a:r>
              <a:rPr lang="de-DE" dirty="0">
                <a:latin typeface="Barlow Black"/>
              </a:rPr>
              <a:t>Reporting Party</a:t>
            </a:r>
            <a:endParaRPr lang="en-US" dirty="0"/>
          </a:p>
        </p:txBody>
      </p:sp>
      <p:sp>
        <p:nvSpPr>
          <p:cNvPr id="4" name="Untertitel 3">
            <a:extLst>
              <a:ext uri="{FF2B5EF4-FFF2-40B4-BE49-F238E27FC236}">
                <a16:creationId xmlns:a16="http://schemas.microsoft.com/office/drawing/2014/main" id="{AC0EB57E-ECA0-F051-1B19-D09C1FC03912}"/>
              </a:ext>
            </a:extLst>
          </p:cNvPr>
          <p:cNvSpPr>
            <a:spLocks noGrp="1"/>
          </p:cNvSpPr>
          <p:nvPr>
            <p:ph type="subTitle" idx="1"/>
          </p:nvPr>
        </p:nvSpPr>
        <p:spPr/>
        <p:txBody>
          <a:bodyPr vert="horz" wrap="square" lIns="0" tIns="0" rIns="0" bIns="0" rtlCol="0" anchor="t">
            <a:normAutofit/>
          </a:bodyPr>
          <a:lstStyle/>
          <a:p>
            <a:r>
              <a:rPr lang="en-US" dirty="0"/>
              <a:t>Submitting a Case Training Deck</a:t>
            </a:r>
          </a:p>
        </p:txBody>
      </p:sp>
    </p:spTree>
    <p:extLst>
      <p:ext uri="{BB962C8B-B14F-4D97-AF65-F5344CB8AC3E}">
        <p14:creationId xmlns:p14="http://schemas.microsoft.com/office/powerpoint/2010/main" val="102652829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p:cNvSpPr>
            <a:spLocks noGrp="1"/>
          </p:cNvSpPr>
          <p:nvPr>
            <p:ph type="body" idx="1"/>
          </p:nvPr>
        </p:nvSpPr>
        <p:spPr bwMode="gray">
          <a:xfrm>
            <a:off x="1092200" y="1412875"/>
            <a:ext cx="5111750" cy="4356385"/>
          </a:xfrm>
        </p:spPr>
        <p:txBody>
          <a:bodyPr/>
          <a:lstStyle/>
          <a:p>
            <a:r>
              <a:rPr lang="en-US" dirty="0">
                <a:latin typeface="Barlow ExtraBold"/>
              </a:rPr>
              <a:t>Creating a Password</a:t>
            </a:r>
          </a:p>
        </p:txBody>
      </p:sp>
      <p:sp>
        <p:nvSpPr>
          <p:cNvPr id="8" name="Textplatzhalter 7"/>
          <p:cNvSpPr>
            <a:spLocks noGrp="1"/>
          </p:cNvSpPr>
          <p:nvPr>
            <p:ph type="body" sz="quarter" idx="4294967295"/>
          </p:nvPr>
        </p:nvSpPr>
        <p:spPr bwMode="gray">
          <a:xfrm>
            <a:off x="7583488" y="6381750"/>
            <a:ext cx="4608512" cy="287338"/>
          </a:xfrm>
          <a:prstGeom prst="rect">
            <a:avLst/>
          </a:prstGeom>
        </p:spPr>
        <p:txBody>
          <a:bodyPr>
            <a:normAutofit fontScale="92500"/>
          </a:bodyPr>
          <a:lstStyle/>
          <a:p>
            <a:r>
              <a:rPr lang="de-DE"/>
              <a:t> </a:t>
            </a:r>
            <a:endParaRPr lang="de-DE" dirty="0"/>
          </a:p>
        </p:txBody>
      </p:sp>
      <p:sp>
        <p:nvSpPr>
          <p:cNvPr id="16" name="Titel 15">
            <a:extLst>
              <a:ext uri="{FF2B5EF4-FFF2-40B4-BE49-F238E27FC236}">
                <a16:creationId xmlns:a16="http://schemas.microsoft.com/office/drawing/2014/main" id="{0F93E38A-BA03-472A-46BA-4B5A7573BBA9}"/>
              </a:ext>
            </a:extLst>
          </p:cNvPr>
          <p:cNvSpPr>
            <a:spLocks noGrp="1"/>
          </p:cNvSpPr>
          <p:nvPr>
            <p:ph type="title"/>
          </p:nvPr>
        </p:nvSpPr>
        <p:spPr/>
        <p:txBody>
          <a:bodyPr/>
          <a:lstStyle/>
          <a:p>
            <a:r>
              <a:rPr lang="de-DE" dirty="0">
                <a:latin typeface="Barlow ExtraBold"/>
              </a:rPr>
              <a:t>02</a:t>
            </a:r>
            <a:endParaRPr lang="de-DE" dirty="0"/>
          </a:p>
        </p:txBody>
      </p:sp>
    </p:spTree>
    <p:extLst>
      <p:ext uri="{BB962C8B-B14F-4D97-AF65-F5344CB8AC3E}">
        <p14:creationId xmlns:p14="http://schemas.microsoft.com/office/powerpoint/2010/main" val="411685224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9DC3525-0C9B-1D8E-D343-C3151860254D}"/>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917A7CAD-33DC-804A-7F53-B74D094752EA}"/>
              </a:ext>
            </a:extLst>
          </p:cNvPr>
          <p:cNvSpPr>
            <a:spLocks noGrp="1"/>
          </p:cNvSpPr>
          <p:nvPr>
            <p:ph type="title"/>
          </p:nvPr>
        </p:nvSpPr>
        <p:spPr>
          <a:xfrm>
            <a:off x="1092200" y="789687"/>
            <a:ext cx="10007600" cy="604039"/>
          </a:xfrm>
        </p:spPr>
        <p:txBody>
          <a:bodyPr anchor="ctr">
            <a:normAutofit/>
          </a:bodyPr>
          <a:lstStyle/>
          <a:p>
            <a:r>
              <a:rPr lang="en-GB"/>
              <a:t>Creating a Password</a:t>
            </a:r>
          </a:p>
        </p:txBody>
      </p:sp>
      <p:sp>
        <p:nvSpPr>
          <p:cNvPr id="6" name="Slide Number Placeholder 5">
            <a:extLst>
              <a:ext uri="{FF2B5EF4-FFF2-40B4-BE49-F238E27FC236}">
                <a16:creationId xmlns:a16="http://schemas.microsoft.com/office/drawing/2014/main" id="{7621343E-3E58-E545-79FD-A8E8C8F11FEC}"/>
              </a:ext>
            </a:extLst>
          </p:cNvPr>
          <p:cNvSpPr>
            <a:spLocks noGrp="1"/>
          </p:cNvSpPr>
          <p:nvPr>
            <p:ph type="sldNum" sz="quarter" idx="13"/>
          </p:nvPr>
        </p:nvSpPr>
        <p:spPr>
          <a:xfrm>
            <a:off x="11526329" y="6198777"/>
            <a:ext cx="665672" cy="659223"/>
          </a:xfrm>
        </p:spPr>
        <p:txBody>
          <a:bodyPr wrap="square" anchor="b">
            <a:normAutofit/>
          </a:bodyPr>
          <a:lstStyle/>
          <a:p>
            <a:pPr>
              <a:spcAft>
                <a:spcPts val="600"/>
              </a:spcAft>
            </a:pPr>
            <a:fld id="{44661A95-0089-4306-9485-D330C59FE3ED}" type="slidenum">
              <a:rPr lang="de-DE" smtClean="0"/>
              <a:pPr>
                <a:spcAft>
                  <a:spcPts val="600"/>
                </a:spcAft>
              </a:pPr>
              <a:t>11</a:t>
            </a:fld>
            <a:endParaRPr lang="de-DE"/>
          </a:p>
        </p:txBody>
      </p:sp>
      <p:pic>
        <p:nvPicPr>
          <p:cNvPr id="8" name="Picture 7" descr="A screenshot of a computer&#10;&#10;AI-generated content may be incorrect.">
            <a:extLst>
              <a:ext uri="{FF2B5EF4-FFF2-40B4-BE49-F238E27FC236}">
                <a16:creationId xmlns:a16="http://schemas.microsoft.com/office/drawing/2014/main" id="{21F6F914-8019-DA18-5CD9-9BC89BB03452}"/>
              </a:ext>
            </a:extLst>
          </p:cNvPr>
          <p:cNvPicPr>
            <a:picLocks noChangeAspect="1"/>
          </p:cNvPicPr>
          <p:nvPr/>
        </p:nvPicPr>
        <p:blipFill>
          <a:blip r:embed="rId2"/>
          <a:stretch>
            <a:fillRect/>
          </a:stretch>
        </p:blipFill>
        <p:spPr>
          <a:xfrm>
            <a:off x="6561612" y="2313696"/>
            <a:ext cx="4271208" cy="3363737"/>
          </a:xfrm>
          <a:prstGeom prst="rect">
            <a:avLst/>
          </a:prstGeom>
        </p:spPr>
      </p:pic>
      <p:sp>
        <p:nvSpPr>
          <p:cNvPr id="10" name="Inhaltsplatzhalter 5">
            <a:extLst>
              <a:ext uri="{FF2B5EF4-FFF2-40B4-BE49-F238E27FC236}">
                <a16:creationId xmlns:a16="http://schemas.microsoft.com/office/drawing/2014/main" id="{AD92B3B5-0EBA-AD64-08D0-8AC2AD7799C3}"/>
              </a:ext>
            </a:extLst>
          </p:cNvPr>
          <p:cNvSpPr txBox="1">
            <a:spLocks/>
          </p:cNvSpPr>
          <p:nvPr/>
        </p:nvSpPr>
        <p:spPr bwMode="gray">
          <a:xfrm>
            <a:off x="1092200" y="2312876"/>
            <a:ext cx="5009638" cy="3745024"/>
          </a:xfrm>
          <a:prstGeom prst="rect">
            <a:avLst/>
          </a:prstGeom>
        </p:spPr>
        <p:txBody>
          <a:bodyPr vert="horz" lIns="0" tIns="0" rIns="0" bIns="0" rtlCol="0" anchor="t">
            <a:normAutofit fontScale="85000" lnSpcReduction="10000"/>
          </a:bodyPr>
          <a:lstStyle>
            <a:lvl1pPr marL="0" indent="0" algn="l" defTabSz="914400" rtl="0" eaLnBrk="1" latinLnBrk="0" hangingPunct="1">
              <a:lnSpc>
                <a:spcPct val="110000"/>
              </a:lnSpc>
              <a:spcBef>
                <a:spcPts val="600"/>
              </a:spcBef>
              <a:spcAft>
                <a:spcPts val="0"/>
              </a:spcAft>
              <a:buFont typeface="Arial" panose="020B0604020202020204" pitchFamily="34" charset="0"/>
              <a:buNone/>
              <a:defRPr sz="2000" b="0" kern="1200">
                <a:solidFill>
                  <a:schemeClr val="tx1"/>
                </a:solidFill>
                <a:latin typeface="+mj-lt"/>
                <a:ea typeface="+mn-ea"/>
                <a:cs typeface="+mn-cs"/>
              </a:defRPr>
            </a:lvl1pPr>
            <a:lvl2pPr marL="0" indent="0" algn="l" defTabSz="914400" rtl="0" eaLnBrk="1" latinLnBrk="0" hangingPunct="1">
              <a:lnSpc>
                <a:spcPct val="110000"/>
              </a:lnSpc>
              <a:spcBef>
                <a:spcPts val="600"/>
              </a:spcBef>
              <a:spcAft>
                <a:spcPts val="0"/>
              </a:spcAft>
              <a:buFont typeface="Arial" panose="020B0604020202020204" pitchFamily="34" charset="0"/>
              <a:buNone/>
              <a:defRPr sz="2000" kern="1200">
                <a:solidFill>
                  <a:schemeClr val="tx1"/>
                </a:solidFill>
                <a:latin typeface="+mn-lt"/>
                <a:ea typeface="+mn-ea"/>
                <a:cs typeface="+mn-cs"/>
              </a:defRPr>
            </a:lvl2pPr>
            <a:lvl3pPr marL="269875" indent="-269875" algn="l" defTabSz="914400" rtl="0" eaLnBrk="1" latinLnBrk="0" hangingPunct="1">
              <a:lnSpc>
                <a:spcPct val="110000"/>
              </a:lnSpc>
              <a:spcBef>
                <a:spcPts val="600"/>
              </a:spcBef>
              <a:spcAft>
                <a:spcPts val="0"/>
              </a:spcAft>
              <a:buClr>
                <a:schemeClr val="accent1"/>
              </a:buClr>
              <a:buSzPct val="80000"/>
              <a:buFontTx/>
              <a:buBlip>
                <a:blip r:embed="rId3"/>
              </a:buBlip>
              <a:defRPr sz="2000" kern="1200">
                <a:solidFill>
                  <a:schemeClr val="tx1"/>
                </a:solidFill>
                <a:latin typeface="+mn-lt"/>
                <a:ea typeface="+mn-ea"/>
                <a:cs typeface="+mn-cs"/>
              </a:defRPr>
            </a:lvl3pPr>
            <a:lvl4pPr marL="541338" indent="-271463" algn="l" defTabSz="914400" rtl="0" eaLnBrk="1" latinLnBrk="0" hangingPunct="1">
              <a:lnSpc>
                <a:spcPct val="110000"/>
              </a:lnSpc>
              <a:spcBef>
                <a:spcPts val="600"/>
              </a:spcBef>
              <a:spcAft>
                <a:spcPts val="0"/>
              </a:spcAft>
              <a:buClr>
                <a:schemeClr val="accent1"/>
              </a:buClr>
              <a:buSzPct val="80000"/>
              <a:buFontTx/>
              <a:buBlip>
                <a:blip r:embed="rId3"/>
              </a:buBlip>
              <a:defRPr sz="2000" kern="1200">
                <a:solidFill>
                  <a:schemeClr val="tx1"/>
                </a:solidFill>
                <a:latin typeface="+mn-lt"/>
                <a:ea typeface="+mn-ea"/>
                <a:cs typeface="+mn-cs"/>
              </a:defRPr>
            </a:lvl4pPr>
            <a:lvl5pPr marL="0" indent="0" algn="l" defTabSz="914400" rtl="0" eaLnBrk="1" latinLnBrk="0" hangingPunct="1">
              <a:lnSpc>
                <a:spcPct val="110000"/>
              </a:lnSpc>
              <a:spcBef>
                <a:spcPts val="600"/>
              </a:spcBef>
              <a:spcAft>
                <a:spcPts val="0"/>
              </a:spcAft>
              <a:buClr>
                <a:schemeClr val="accent1"/>
              </a:buClr>
              <a:buFont typeface="Arial" panose="020B0604020202020204" pitchFamily="34" charset="0"/>
              <a:buNone/>
              <a:defRPr sz="3000" kern="1200">
                <a:solidFill>
                  <a:schemeClr val="tx1"/>
                </a:solidFill>
                <a:latin typeface="Barlow Light" panose="00000400000000000000" pitchFamily="2" charset="0"/>
                <a:ea typeface="+mn-ea"/>
                <a:cs typeface="+mn-cs"/>
              </a:defRPr>
            </a:lvl5pPr>
            <a:lvl6pPr marL="361950" indent="-361950" algn="l" defTabSz="914400" rtl="0" eaLnBrk="1" latinLnBrk="0" hangingPunct="1">
              <a:lnSpc>
                <a:spcPct val="110000"/>
              </a:lnSpc>
              <a:spcBef>
                <a:spcPts val="600"/>
              </a:spcBef>
              <a:spcAft>
                <a:spcPts val="0"/>
              </a:spcAft>
              <a:buClr>
                <a:schemeClr val="accent1"/>
              </a:buClr>
              <a:buSzPct val="80000"/>
              <a:buFontTx/>
              <a:buBlip>
                <a:blip r:embed="rId3"/>
              </a:buBlip>
              <a:defRPr sz="2500" kern="1200">
                <a:solidFill>
                  <a:schemeClr val="tx1"/>
                </a:solidFill>
                <a:latin typeface="+mn-lt"/>
                <a:ea typeface="+mn-ea"/>
                <a:cs typeface="+mn-cs"/>
              </a:defRPr>
            </a:lvl6pPr>
            <a:lvl7pPr marL="360000" indent="-360000" algn="l" defTabSz="914400" rtl="0" eaLnBrk="1" latinLnBrk="0" hangingPunct="1">
              <a:lnSpc>
                <a:spcPct val="110000"/>
              </a:lnSpc>
              <a:spcBef>
                <a:spcPts val="600"/>
              </a:spcBef>
              <a:spcAft>
                <a:spcPts val="0"/>
              </a:spcAft>
              <a:buClr>
                <a:schemeClr val="accent1"/>
              </a:buClr>
              <a:buFont typeface="+mj-lt"/>
              <a:buAutoNum type="arabicPeriod"/>
              <a:defRPr sz="2000" kern="1200">
                <a:solidFill>
                  <a:schemeClr val="tx1"/>
                </a:solidFill>
                <a:latin typeface="+mn-lt"/>
                <a:ea typeface="+mn-ea"/>
                <a:cs typeface="+mn-cs"/>
              </a:defRPr>
            </a:lvl7pPr>
            <a:lvl8pPr marL="625475" indent="-265113" algn="l" defTabSz="914400" rtl="0" eaLnBrk="1" latinLnBrk="0" hangingPunct="1">
              <a:lnSpc>
                <a:spcPct val="110000"/>
              </a:lnSpc>
              <a:spcBef>
                <a:spcPts val="600"/>
              </a:spcBef>
              <a:spcAft>
                <a:spcPts val="0"/>
              </a:spcAft>
              <a:buClr>
                <a:schemeClr val="accent1"/>
              </a:buClr>
              <a:buSzPct val="80000"/>
              <a:buFontTx/>
              <a:buBlip>
                <a:blip r:embed="rId3"/>
              </a:buBlip>
              <a:defRPr sz="2000" kern="1200">
                <a:solidFill>
                  <a:schemeClr val="tx1"/>
                </a:solidFill>
                <a:latin typeface="+mn-lt"/>
                <a:ea typeface="+mn-ea"/>
                <a:cs typeface="+mn-cs"/>
              </a:defRPr>
            </a:lvl8pPr>
            <a:lvl9pPr marL="895350" indent="-269875" algn="l" defTabSz="914400" rtl="0" eaLnBrk="1" latinLnBrk="0" hangingPunct="1">
              <a:lnSpc>
                <a:spcPct val="110000"/>
              </a:lnSpc>
              <a:spcBef>
                <a:spcPts val="600"/>
              </a:spcBef>
              <a:spcAft>
                <a:spcPts val="0"/>
              </a:spcAft>
              <a:buClr>
                <a:schemeClr val="accent1"/>
              </a:buClr>
              <a:buSzPct val="80000"/>
              <a:buFontTx/>
              <a:buBlip>
                <a:blip r:embed="rId3"/>
              </a:buBlip>
              <a:defRPr sz="2000" kern="1200">
                <a:solidFill>
                  <a:schemeClr val="tx1"/>
                </a:solidFill>
                <a:latin typeface="+mn-lt"/>
                <a:ea typeface="+mn-ea"/>
                <a:cs typeface="+mn-cs"/>
              </a:defRPr>
            </a:lvl9pPr>
          </a:lstStyle>
          <a:p>
            <a:pPr lvl="5"/>
            <a:r>
              <a:rPr lang="en-US" dirty="0">
                <a:ea typeface="+mn-lt"/>
                <a:cs typeface="+mn-lt"/>
              </a:rPr>
              <a:t>The reporting party will be asked to create a custom password that can be used to access their case through the Secure Inbox. A security validation (captcha) is shown. Please enter characters (letters and numbers) shown. If you’re having difficulties in reading the captcha, you can click on the </a:t>
            </a:r>
            <a:r>
              <a:rPr lang="en-US" b="1" dirty="0">
                <a:ea typeface="+mn-lt"/>
                <a:cs typeface="+mn-lt"/>
              </a:rPr>
              <a:t>speaker</a:t>
            </a:r>
            <a:r>
              <a:rPr lang="en-US" dirty="0">
                <a:ea typeface="+mn-lt"/>
                <a:cs typeface="+mn-lt"/>
              </a:rPr>
              <a:t> icon to have it read out loud to you or click on the </a:t>
            </a:r>
            <a:r>
              <a:rPr lang="en-US" b="1" dirty="0">
                <a:ea typeface="+mn-lt"/>
                <a:cs typeface="+mn-lt"/>
              </a:rPr>
              <a:t>arrows</a:t>
            </a:r>
            <a:r>
              <a:rPr lang="en-US" dirty="0">
                <a:ea typeface="+mn-lt"/>
                <a:cs typeface="+mn-lt"/>
              </a:rPr>
              <a:t> to generate a new one.  </a:t>
            </a:r>
          </a:p>
        </p:txBody>
      </p:sp>
    </p:spTree>
    <p:extLst>
      <p:ext uri="{BB962C8B-B14F-4D97-AF65-F5344CB8AC3E}">
        <p14:creationId xmlns:p14="http://schemas.microsoft.com/office/powerpoint/2010/main" val="19951253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Inhaltsplatzhalter 2"/>
          <p:cNvSpPr>
            <a:spLocks noGrp="1"/>
          </p:cNvSpPr>
          <p:nvPr>
            <p:ph idx="1"/>
          </p:nvPr>
        </p:nvSpPr>
        <p:spPr bwMode="gray">
          <a:xfrm>
            <a:off x="5411924" y="1628775"/>
            <a:ext cx="5687876" cy="2133661"/>
          </a:xfrm>
        </p:spPr>
        <p:txBody>
          <a:bodyPr vert="horz" lIns="0" tIns="0" rIns="0" bIns="0" rtlCol="0" anchor="t">
            <a:normAutofit fontScale="85000" lnSpcReduction="20000"/>
          </a:bodyPr>
          <a:lstStyle/>
          <a:p>
            <a:pPr lvl="4">
              <a:buClr>
                <a:srgbClr val="E90055"/>
              </a:buClr>
            </a:pPr>
            <a:r>
              <a:rPr lang="en-US" dirty="0">
                <a:latin typeface="Barlow"/>
                <a:ea typeface="+mn-lt"/>
                <a:cs typeface="+mn-lt"/>
              </a:rPr>
              <a:t>Users who lose or forget their case ID or password will not be able to access their case and you have to submit a new case to open a new Secure Inbox.</a:t>
            </a:r>
            <a:endParaRPr lang="en-US" dirty="0">
              <a:latin typeface="Barlow Light"/>
              <a:ea typeface="+mn-lt"/>
              <a:cs typeface="+mn-lt"/>
            </a:endParaRPr>
          </a:p>
          <a:p>
            <a:pPr lvl="1"/>
            <a:endParaRPr lang="en-US" dirty="0"/>
          </a:p>
          <a:p>
            <a:pPr lvl="1"/>
            <a:r>
              <a:rPr lang="en-US" dirty="0">
                <a:ea typeface="+mn-lt"/>
                <a:cs typeface="+mn-lt"/>
              </a:rPr>
              <a:t>Password Strength Requirements </a:t>
            </a:r>
            <a:endParaRPr lang="en-US" dirty="0"/>
          </a:p>
          <a:p>
            <a:pPr lvl="1"/>
            <a:endParaRPr lang="en-US" dirty="0"/>
          </a:p>
          <a:p>
            <a:pPr lvl="1"/>
            <a:endParaRPr lang="en-US" dirty="0"/>
          </a:p>
        </p:txBody>
      </p:sp>
      <p:pic>
        <p:nvPicPr>
          <p:cNvPr id="29" name="Bildplatzhalter 55" descr="Ein Bild, das Quadrat enthält.&#10;&#10;Automatisch generierte Beschreibung">
            <a:extLst>
              <a:ext uri="{FF2B5EF4-FFF2-40B4-BE49-F238E27FC236}">
                <a16:creationId xmlns:a16="http://schemas.microsoft.com/office/drawing/2014/main" id="{B0C87A08-D104-7429-6196-1949FBC313CA}"/>
              </a:ext>
            </a:extLst>
          </p:cNvPr>
          <p:cNvPicPr>
            <a:picLocks noGrp="1" noChangeAspect="1"/>
          </p:cNvPicPr>
          <p:nvPr>
            <p:ph type="pic" sz="quarter" idx="13"/>
          </p:nvPr>
        </p:nvPicPr>
        <p:blipFill>
          <a:blip r:embed="rId3"/>
          <a:srcRect l="5305" r="5305"/>
          <a:stretch/>
        </p:blipFill>
        <p:spPr bwMode="gray">
          <a:xfrm>
            <a:off x="1092200" y="1628775"/>
            <a:ext cx="3959684" cy="4429125"/>
          </a:xfrm>
        </p:spPr>
      </p:pic>
      <p:sp>
        <p:nvSpPr>
          <p:cNvPr id="2" name="Titel 1"/>
          <p:cNvSpPr>
            <a:spLocks noGrp="1"/>
          </p:cNvSpPr>
          <p:nvPr>
            <p:ph type="title"/>
          </p:nvPr>
        </p:nvSpPr>
        <p:spPr bwMode="gray">
          <a:xfrm>
            <a:off x="1092200" y="789687"/>
            <a:ext cx="10007600" cy="604039"/>
          </a:xfrm>
        </p:spPr>
        <p:txBody>
          <a:bodyPr/>
          <a:lstStyle/>
          <a:p>
            <a:r>
              <a:rPr lang="en-GB" dirty="0">
                <a:latin typeface="Barlow ExtraBold"/>
              </a:rPr>
              <a:t>Password Creation Details</a:t>
            </a:r>
            <a:endParaRPr lang="de-DE" b="0" i="0" dirty="0">
              <a:solidFill>
                <a:srgbClr val="000000"/>
              </a:solidFill>
            </a:endParaRPr>
          </a:p>
        </p:txBody>
      </p:sp>
      <p:sp>
        <p:nvSpPr>
          <p:cNvPr id="7" name="Slide Number Placeholder 6">
            <a:extLst>
              <a:ext uri="{FF2B5EF4-FFF2-40B4-BE49-F238E27FC236}">
                <a16:creationId xmlns:a16="http://schemas.microsoft.com/office/drawing/2014/main" id="{958EB4E7-E9B9-B09B-8AF2-5DEEF465E923}"/>
              </a:ext>
            </a:extLst>
          </p:cNvPr>
          <p:cNvSpPr>
            <a:spLocks noGrp="1"/>
          </p:cNvSpPr>
          <p:nvPr>
            <p:ph type="sldNum" sz="quarter" idx="15"/>
          </p:nvPr>
        </p:nvSpPr>
        <p:spPr>
          <a:xfrm>
            <a:off x="11526329" y="6198777"/>
            <a:ext cx="665672" cy="659223"/>
          </a:xfrm>
        </p:spPr>
        <p:txBody>
          <a:bodyPr/>
          <a:lstStyle/>
          <a:p>
            <a:fld id="{44661A95-0089-4306-9485-D330C59FE3ED}" type="slidenum">
              <a:rPr lang="de-DE" smtClean="0"/>
              <a:pPr/>
              <a:t>12</a:t>
            </a:fld>
            <a:endParaRPr lang="de-DE" dirty="0"/>
          </a:p>
        </p:txBody>
      </p:sp>
      <p:sp>
        <p:nvSpPr>
          <p:cNvPr id="5" name="Inhaltsplatzhalter 5">
            <a:extLst>
              <a:ext uri="{FF2B5EF4-FFF2-40B4-BE49-F238E27FC236}">
                <a16:creationId xmlns:a16="http://schemas.microsoft.com/office/drawing/2014/main" id="{3EEFABF3-2C3F-D600-01CB-AFD5B9C6408F}"/>
              </a:ext>
            </a:extLst>
          </p:cNvPr>
          <p:cNvSpPr txBox="1">
            <a:spLocks/>
          </p:cNvSpPr>
          <p:nvPr/>
        </p:nvSpPr>
        <p:spPr bwMode="gray">
          <a:xfrm>
            <a:off x="5413355" y="4073522"/>
            <a:ext cx="5676979" cy="1970180"/>
          </a:xfrm>
          <a:prstGeom prst="rect">
            <a:avLst/>
          </a:prstGeom>
        </p:spPr>
        <p:txBody>
          <a:bodyPr vert="horz" lIns="0" tIns="0" rIns="0" bIns="0" rtlCol="0" anchor="t">
            <a:normAutofit fontScale="92500" lnSpcReduction="20000"/>
          </a:bodyPr>
          <a:lstStyle>
            <a:lvl1pPr marL="0" indent="0" algn="l" defTabSz="914400" rtl="0" eaLnBrk="1" latinLnBrk="0" hangingPunct="1">
              <a:lnSpc>
                <a:spcPct val="110000"/>
              </a:lnSpc>
              <a:spcBef>
                <a:spcPts val="600"/>
              </a:spcBef>
              <a:spcAft>
                <a:spcPts val="0"/>
              </a:spcAft>
              <a:buFont typeface="Arial" panose="020B0604020202020204" pitchFamily="34" charset="0"/>
              <a:buNone/>
              <a:defRPr sz="2000" b="0" kern="1200">
                <a:solidFill>
                  <a:schemeClr val="tx1"/>
                </a:solidFill>
                <a:latin typeface="+mj-lt"/>
                <a:ea typeface="+mn-ea"/>
                <a:cs typeface="+mn-cs"/>
              </a:defRPr>
            </a:lvl1pPr>
            <a:lvl2pPr marL="0" indent="0" algn="l" defTabSz="914400" rtl="0" eaLnBrk="1" latinLnBrk="0" hangingPunct="1">
              <a:lnSpc>
                <a:spcPct val="110000"/>
              </a:lnSpc>
              <a:spcBef>
                <a:spcPts val="600"/>
              </a:spcBef>
              <a:spcAft>
                <a:spcPts val="0"/>
              </a:spcAft>
              <a:buFont typeface="Arial" panose="020B0604020202020204" pitchFamily="34" charset="0"/>
              <a:buNone/>
              <a:defRPr sz="2000" kern="1200">
                <a:solidFill>
                  <a:schemeClr val="tx1"/>
                </a:solidFill>
                <a:latin typeface="+mn-lt"/>
                <a:ea typeface="+mn-ea"/>
                <a:cs typeface="+mn-cs"/>
              </a:defRPr>
            </a:lvl2pPr>
            <a:lvl3pPr marL="269875" indent="-269875" algn="l" defTabSz="914400" rtl="0" eaLnBrk="1" latinLnBrk="0" hangingPunct="1">
              <a:lnSpc>
                <a:spcPct val="110000"/>
              </a:lnSpc>
              <a:spcBef>
                <a:spcPts val="600"/>
              </a:spcBef>
              <a:spcAft>
                <a:spcPts val="0"/>
              </a:spcAft>
              <a:buClr>
                <a:schemeClr val="accent1"/>
              </a:buClr>
              <a:buSzPct val="80000"/>
              <a:buFontTx/>
              <a:buBlip>
                <a:blip r:embed="rId4"/>
              </a:buBlip>
              <a:defRPr sz="2000" kern="1200">
                <a:solidFill>
                  <a:schemeClr val="tx1"/>
                </a:solidFill>
                <a:latin typeface="+mn-lt"/>
                <a:ea typeface="+mn-ea"/>
                <a:cs typeface="+mn-cs"/>
              </a:defRPr>
            </a:lvl3pPr>
            <a:lvl4pPr marL="541338" indent="-271463" algn="l" defTabSz="914400" rtl="0" eaLnBrk="1" latinLnBrk="0" hangingPunct="1">
              <a:lnSpc>
                <a:spcPct val="110000"/>
              </a:lnSpc>
              <a:spcBef>
                <a:spcPts val="600"/>
              </a:spcBef>
              <a:spcAft>
                <a:spcPts val="0"/>
              </a:spcAft>
              <a:buClr>
                <a:schemeClr val="accent1"/>
              </a:buClr>
              <a:buSzPct val="80000"/>
              <a:buFontTx/>
              <a:buBlip>
                <a:blip r:embed="rId4"/>
              </a:buBlip>
              <a:defRPr sz="2000" kern="1200">
                <a:solidFill>
                  <a:schemeClr val="tx1"/>
                </a:solidFill>
                <a:latin typeface="+mn-lt"/>
                <a:ea typeface="+mn-ea"/>
                <a:cs typeface="+mn-cs"/>
              </a:defRPr>
            </a:lvl4pPr>
            <a:lvl5pPr marL="0" indent="0" algn="l" defTabSz="914400" rtl="0" eaLnBrk="1" latinLnBrk="0" hangingPunct="1">
              <a:lnSpc>
                <a:spcPct val="110000"/>
              </a:lnSpc>
              <a:spcBef>
                <a:spcPts val="600"/>
              </a:spcBef>
              <a:spcAft>
                <a:spcPts val="0"/>
              </a:spcAft>
              <a:buClr>
                <a:schemeClr val="accent1"/>
              </a:buClr>
              <a:buFont typeface="Arial" panose="020B0604020202020204" pitchFamily="34" charset="0"/>
              <a:buNone/>
              <a:defRPr sz="3000" kern="1200">
                <a:solidFill>
                  <a:schemeClr val="tx1"/>
                </a:solidFill>
                <a:latin typeface="Barlow Light" panose="00000400000000000000" pitchFamily="2" charset="0"/>
                <a:ea typeface="+mn-ea"/>
                <a:cs typeface="+mn-cs"/>
              </a:defRPr>
            </a:lvl5pPr>
            <a:lvl6pPr marL="361950" indent="-361950" algn="l" defTabSz="914400" rtl="0" eaLnBrk="1" latinLnBrk="0" hangingPunct="1">
              <a:lnSpc>
                <a:spcPct val="110000"/>
              </a:lnSpc>
              <a:spcBef>
                <a:spcPts val="600"/>
              </a:spcBef>
              <a:spcAft>
                <a:spcPts val="0"/>
              </a:spcAft>
              <a:buClr>
                <a:schemeClr val="accent1"/>
              </a:buClr>
              <a:buSzPct val="80000"/>
              <a:buFontTx/>
              <a:buBlip>
                <a:blip r:embed="rId4"/>
              </a:buBlip>
              <a:defRPr sz="2500" kern="1200">
                <a:solidFill>
                  <a:schemeClr val="tx1"/>
                </a:solidFill>
                <a:latin typeface="+mn-lt"/>
                <a:ea typeface="+mn-ea"/>
                <a:cs typeface="+mn-cs"/>
              </a:defRPr>
            </a:lvl6pPr>
            <a:lvl7pPr marL="360000" indent="-360000" algn="l" defTabSz="914400" rtl="0" eaLnBrk="1" latinLnBrk="0" hangingPunct="1">
              <a:lnSpc>
                <a:spcPct val="110000"/>
              </a:lnSpc>
              <a:spcBef>
                <a:spcPts val="600"/>
              </a:spcBef>
              <a:spcAft>
                <a:spcPts val="0"/>
              </a:spcAft>
              <a:buClr>
                <a:schemeClr val="accent1"/>
              </a:buClr>
              <a:buFont typeface="+mj-lt"/>
              <a:buAutoNum type="arabicPeriod"/>
              <a:defRPr sz="2000" kern="1200">
                <a:solidFill>
                  <a:schemeClr val="tx1"/>
                </a:solidFill>
                <a:latin typeface="+mn-lt"/>
                <a:ea typeface="+mn-ea"/>
                <a:cs typeface="+mn-cs"/>
              </a:defRPr>
            </a:lvl7pPr>
            <a:lvl8pPr marL="625475" indent="-265113" algn="l" defTabSz="914400" rtl="0" eaLnBrk="1" latinLnBrk="0" hangingPunct="1">
              <a:lnSpc>
                <a:spcPct val="110000"/>
              </a:lnSpc>
              <a:spcBef>
                <a:spcPts val="600"/>
              </a:spcBef>
              <a:spcAft>
                <a:spcPts val="0"/>
              </a:spcAft>
              <a:buClr>
                <a:schemeClr val="accent1"/>
              </a:buClr>
              <a:buSzPct val="80000"/>
              <a:buFontTx/>
              <a:buBlip>
                <a:blip r:embed="rId4"/>
              </a:buBlip>
              <a:defRPr sz="2000" kern="1200">
                <a:solidFill>
                  <a:schemeClr val="tx1"/>
                </a:solidFill>
                <a:latin typeface="+mn-lt"/>
                <a:ea typeface="+mn-ea"/>
                <a:cs typeface="+mn-cs"/>
              </a:defRPr>
            </a:lvl8pPr>
            <a:lvl9pPr marL="895350" indent="-269875" algn="l" defTabSz="914400" rtl="0" eaLnBrk="1" latinLnBrk="0" hangingPunct="1">
              <a:lnSpc>
                <a:spcPct val="110000"/>
              </a:lnSpc>
              <a:spcBef>
                <a:spcPts val="600"/>
              </a:spcBef>
              <a:spcAft>
                <a:spcPts val="0"/>
              </a:spcAft>
              <a:buClr>
                <a:schemeClr val="accent1"/>
              </a:buClr>
              <a:buSzPct val="80000"/>
              <a:buFontTx/>
              <a:buBlip>
                <a:blip r:embed="rId4"/>
              </a:buBlip>
              <a:defRPr sz="2000" kern="1200">
                <a:solidFill>
                  <a:schemeClr val="tx1"/>
                </a:solidFill>
                <a:latin typeface="+mn-lt"/>
                <a:ea typeface="+mn-ea"/>
                <a:cs typeface="+mn-cs"/>
              </a:defRPr>
            </a:lvl9pPr>
          </a:lstStyle>
          <a:p>
            <a:pPr lvl="5"/>
            <a:r>
              <a:rPr lang="en-US" dirty="0">
                <a:ea typeface="+mn-lt"/>
                <a:cs typeface="+mn-lt"/>
              </a:rPr>
              <a:t>Should be at least 8 characters long </a:t>
            </a:r>
            <a:endParaRPr lang="en-US" dirty="0"/>
          </a:p>
          <a:p>
            <a:pPr lvl="5"/>
            <a:r>
              <a:rPr lang="en-US" dirty="0">
                <a:ea typeface="+mn-lt"/>
                <a:cs typeface="+mn-lt"/>
              </a:rPr>
              <a:t>Should contain at least one digit </a:t>
            </a:r>
            <a:endParaRPr lang="en-US" dirty="0"/>
          </a:p>
          <a:p>
            <a:pPr lvl="5"/>
            <a:r>
              <a:rPr lang="en-US" dirty="0">
                <a:ea typeface="+mn-lt"/>
                <a:cs typeface="+mn-lt"/>
              </a:rPr>
              <a:t>Should contain at least one uppercase and one lowercase letter </a:t>
            </a:r>
            <a:endParaRPr lang="en-US" dirty="0"/>
          </a:p>
          <a:p>
            <a:pPr lvl="5"/>
            <a:r>
              <a:rPr lang="en-US" dirty="0">
                <a:ea typeface="+mn-lt"/>
                <a:cs typeface="+mn-lt"/>
              </a:rPr>
              <a:t>Should contain a special character </a:t>
            </a:r>
            <a:endParaRPr lang="en-US" dirty="0"/>
          </a:p>
        </p:txBody>
      </p:sp>
    </p:spTree>
    <p:extLst>
      <p:ext uri="{BB962C8B-B14F-4D97-AF65-F5344CB8AC3E}">
        <p14:creationId xmlns:p14="http://schemas.microsoft.com/office/powerpoint/2010/main" val="376371042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p:cNvSpPr>
            <a:spLocks noGrp="1"/>
          </p:cNvSpPr>
          <p:nvPr>
            <p:ph type="body" idx="1"/>
          </p:nvPr>
        </p:nvSpPr>
        <p:spPr bwMode="gray">
          <a:xfrm>
            <a:off x="1092200" y="1412875"/>
            <a:ext cx="5111750" cy="4356385"/>
          </a:xfrm>
        </p:spPr>
        <p:txBody>
          <a:bodyPr/>
          <a:lstStyle/>
          <a:p>
            <a:r>
              <a:rPr lang="en-US">
                <a:latin typeface="Barlow ExtraBold"/>
              </a:rPr>
              <a:t>Obtaining Case ID</a:t>
            </a:r>
          </a:p>
        </p:txBody>
      </p:sp>
      <p:sp>
        <p:nvSpPr>
          <p:cNvPr id="8" name="Textplatzhalter 7"/>
          <p:cNvSpPr>
            <a:spLocks noGrp="1"/>
          </p:cNvSpPr>
          <p:nvPr>
            <p:ph type="body" sz="quarter" idx="4294967295"/>
          </p:nvPr>
        </p:nvSpPr>
        <p:spPr bwMode="gray">
          <a:xfrm>
            <a:off x="7583488" y="6381750"/>
            <a:ext cx="4608512" cy="287338"/>
          </a:xfrm>
          <a:prstGeom prst="rect">
            <a:avLst/>
          </a:prstGeom>
        </p:spPr>
        <p:txBody>
          <a:bodyPr>
            <a:normAutofit fontScale="92500"/>
          </a:bodyPr>
          <a:lstStyle/>
          <a:p>
            <a:r>
              <a:rPr lang="de-DE"/>
              <a:t> </a:t>
            </a:r>
            <a:endParaRPr lang="de-DE" dirty="0"/>
          </a:p>
        </p:txBody>
      </p:sp>
      <p:sp>
        <p:nvSpPr>
          <p:cNvPr id="16" name="Titel 15">
            <a:extLst>
              <a:ext uri="{FF2B5EF4-FFF2-40B4-BE49-F238E27FC236}">
                <a16:creationId xmlns:a16="http://schemas.microsoft.com/office/drawing/2014/main" id="{C8495B02-88B1-AD4A-26A3-9AD2E829FD96}"/>
              </a:ext>
            </a:extLst>
          </p:cNvPr>
          <p:cNvSpPr>
            <a:spLocks noGrp="1"/>
          </p:cNvSpPr>
          <p:nvPr>
            <p:ph type="title"/>
          </p:nvPr>
        </p:nvSpPr>
        <p:spPr/>
        <p:txBody>
          <a:bodyPr/>
          <a:lstStyle/>
          <a:p>
            <a:r>
              <a:rPr lang="de-DE" dirty="0">
                <a:latin typeface="Barlow ExtraBold"/>
              </a:rPr>
              <a:t>03</a:t>
            </a:r>
            <a:endParaRPr lang="de-DE" dirty="0"/>
          </a:p>
        </p:txBody>
      </p:sp>
    </p:spTree>
    <p:extLst>
      <p:ext uri="{BB962C8B-B14F-4D97-AF65-F5344CB8AC3E}">
        <p14:creationId xmlns:p14="http://schemas.microsoft.com/office/powerpoint/2010/main" val="29563942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descr="A screenshot of a computer screen&#10;&#10;AI-generated content may be incorrect.">
            <a:extLst>
              <a:ext uri="{FF2B5EF4-FFF2-40B4-BE49-F238E27FC236}">
                <a16:creationId xmlns:a16="http://schemas.microsoft.com/office/drawing/2014/main" id="{BADFC1D1-C3FF-4D12-4F09-1C881DE8E8DE}"/>
              </a:ext>
            </a:extLst>
          </p:cNvPr>
          <p:cNvPicPr>
            <a:picLocks noChangeAspect="1"/>
          </p:cNvPicPr>
          <p:nvPr/>
        </p:nvPicPr>
        <p:blipFill>
          <a:blip r:embed="rId2"/>
          <a:stretch>
            <a:fillRect/>
          </a:stretch>
        </p:blipFill>
        <p:spPr>
          <a:xfrm>
            <a:off x="6369646" y="2311542"/>
            <a:ext cx="4574204" cy="2650308"/>
          </a:xfrm>
          <a:prstGeom prst="rect">
            <a:avLst/>
          </a:prstGeom>
          <a:noFill/>
        </p:spPr>
      </p:pic>
      <p:sp>
        <p:nvSpPr>
          <p:cNvPr id="4" name="Title 3">
            <a:extLst>
              <a:ext uri="{FF2B5EF4-FFF2-40B4-BE49-F238E27FC236}">
                <a16:creationId xmlns:a16="http://schemas.microsoft.com/office/drawing/2014/main" id="{85B398C2-9277-DEFB-0757-622D618F32AB}"/>
              </a:ext>
            </a:extLst>
          </p:cNvPr>
          <p:cNvSpPr>
            <a:spLocks noGrp="1"/>
          </p:cNvSpPr>
          <p:nvPr>
            <p:ph type="title"/>
          </p:nvPr>
        </p:nvSpPr>
        <p:spPr>
          <a:xfrm>
            <a:off x="1092200" y="789687"/>
            <a:ext cx="10007600" cy="604039"/>
          </a:xfrm>
        </p:spPr>
        <p:txBody>
          <a:bodyPr anchor="t">
            <a:normAutofit/>
          </a:bodyPr>
          <a:lstStyle/>
          <a:p>
            <a:r>
              <a:rPr lang="en-GB"/>
              <a:t>Obtaining the Case ID</a:t>
            </a:r>
          </a:p>
        </p:txBody>
      </p:sp>
      <p:sp>
        <p:nvSpPr>
          <p:cNvPr id="6" name="Slide Number Placeholder 5">
            <a:extLst>
              <a:ext uri="{FF2B5EF4-FFF2-40B4-BE49-F238E27FC236}">
                <a16:creationId xmlns:a16="http://schemas.microsoft.com/office/drawing/2014/main" id="{03D0AE94-4E23-63B2-7B7E-75251B39825F}"/>
              </a:ext>
            </a:extLst>
          </p:cNvPr>
          <p:cNvSpPr>
            <a:spLocks noGrp="1"/>
          </p:cNvSpPr>
          <p:nvPr>
            <p:ph type="sldNum" sz="quarter" idx="13"/>
          </p:nvPr>
        </p:nvSpPr>
        <p:spPr>
          <a:xfrm>
            <a:off x="11526329" y="6198777"/>
            <a:ext cx="665672" cy="659223"/>
          </a:xfrm>
        </p:spPr>
        <p:txBody>
          <a:bodyPr wrap="square" anchor="b">
            <a:normAutofit/>
          </a:bodyPr>
          <a:lstStyle/>
          <a:p>
            <a:pPr>
              <a:spcAft>
                <a:spcPts val="600"/>
              </a:spcAft>
            </a:pPr>
            <a:fld id="{44661A95-0089-4306-9485-D330C59FE3ED}" type="slidenum">
              <a:rPr lang="de-DE" smtClean="0"/>
              <a:pPr>
                <a:spcAft>
                  <a:spcPts val="600"/>
                </a:spcAft>
              </a:pPr>
              <a:t>14</a:t>
            </a:fld>
            <a:endParaRPr lang="de-DE"/>
          </a:p>
        </p:txBody>
      </p:sp>
      <p:sp>
        <p:nvSpPr>
          <p:cNvPr id="10" name="Inhaltsplatzhalter 5">
            <a:extLst>
              <a:ext uri="{FF2B5EF4-FFF2-40B4-BE49-F238E27FC236}">
                <a16:creationId xmlns:a16="http://schemas.microsoft.com/office/drawing/2014/main" id="{380E7C48-0508-8782-91F6-34184D54BBC7}"/>
              </a:ext>
            </a:extLst>
          </p:cNvPr>
          <p:cNvSpPr txBox="1">
            <a:spLocks/>
          </p:cNvSpPr>
          <p:nvPr/>
        </p:nvSpPr>
        <p:spPr bwMode="gray">
          <a:xfrm>
            <a:off x="1092200" y="2312876"/>
            <a:ext cx="5009638" cy="3745024"/>
          </a:xfrm>
          <a:prstGeom prst="rect">
            <a:avLst/>
          </a:prstGeom>
        </p:spPr>
        <p:txBody>
          <a:bodyPr vert="horz" lIns="0" tIns="0" rIns="0" bIns="0" rtlCol="0" anchor="t">
            <a:normAutofit/>
          </a:bodyPr>
          <a:lstStyle>
            <a:lvl1pPr marL="0" indent="0" algn="l" defTabSz="914400" rtl="0" eaLnBrk="1" latinLnBrk="0" hangingPunct="1">
              <a:lnSpc>
                <a:spcPct val="110000"/>
              </a:lnSpc>
              <a:spcBef>
                <a:spcPts val="600"/>
              </a:spcBef>
              <a:spcAft>
                <a:spcPts val="0"/>
              </a:spcAft>
              <a:buFont typeface="Arial" panose="020B0604020202020204" pitchFamily="34" charset="0"/>
              <a:buNone/>
              <a:defRPr sz="2000" b="0" kern="1200">
                <a:solidFill>
                  <a:schemeClr val="tx1"/>
                </a:solidFill>
                <a:latin typeface="+mj-lt"/>
                <a:ea typeface="+mn-ea"/>
                <a:cs typeface="+mn-cs"/>
              </a:defRPr>
            </a:lvl1pPr>
            <a:lvl2pPr marL="0" indent="0" algn="l" defTabSz="914400" rtl="0" eaLnBrk="1" latinLnBrk="0" hangingPunct="1">
              <a:lnSpc>
                <a:spcPct val="110000"/>
              </a:lnSpc>
              <a:spcBef>
                <a:spcPts val="600"/>
              </a:spcBef>
              <a:spcAft>
                <a:spcPts val="0"/>
              </a:spcAft>
              <a:buFont typeface="Arial" panose="020B0604020202020204" pitchFamily="34" charset="0"/>
              <a:buNone/>
              <a:defRPr sz="2000" kern="1200">
                <a:solidFill>
                  <a:schemeClr val="tx1"/>
                </a:solidFill>
                <a:latin typeface="+mn-lt"/>
                <a:ea typeface="+mn-ea"/>
                <a:cs typeface="+mn-cs"/>
              </a:defRPr>
            </a:lvl2pPr>
            <a:lvl3pPr marL="269875" indent="-269875" algn="l" defTabSz="914400" rtl="0" eaLnBrk="1" latinLnBrk="0" hangingPunct="1">
              <a:lnSpc>
                <a:spcPct val="110000"/>
              </a:lnSpc>
              <a:spcBef>
                <a:spcPts val="600"/>
              </a:spcBef>
              <a:spcAft>
                <a:spcPts val="0"/>
              </a:spcAft>
              <a:buClr>
                <a:schemeClr val="accent1"/>
              </a:buClr>
              <a:buSzPct val="80000"/>
              <a:buFontTx/>
              <a:buBlip>
                <a:blip r:embed="rId3"/>
              </a:buBlip>
              <a:defRPr sz="2000" kern="1200">
                <a:solidFill>
                  <a:schemeClr val="tx1"/>
                </a:solidFill>
                <a:latin typeface="+mn-lt"/>
                <a:ea typeface="+mn-ea"/>
                <a:cs typeface="+mn-cs"/>
              </a:defRPr>
            </a:lvl3pPr>
            <a:lvl4pPr marL="541338" indent="-271463" algn="l" defTabSz="914400" rtl="0" eaLnBrk="1" latinLnBrk="0" hangingPunct="1">
              <a:lnSpc>
                <a:spcPct val="110000"/>
              </a:lnSpc>
              <a:spcBef>
                <a:spcPts val="600"/>
              </a:spcBef>
              <a:spcAft>
                <a:spcPts val="0"/>
              </a:spcAft>
              <a:buClr>
                <a:schemeClr val="accent1"/>
              </a:buClr>
              <a:buSzPct val="80000"/>
              <a:buFontTx/>
              <a:buBlip>
                <a:blip r:embed="rId3"/>
              </a:buBlip>
              <a:defRPr sz="2000" kern="1200">
                <a:solidFill>
                  <a:schemeClr val="tx1"/>
                </a:solidFill>
                <a:latin typeface="+mn-lt"/>
                <a:ea typeface="+mn-ea"/>
                <a:cs typeface="+mn-cs"/>
              </a:defRPr>
            </a:lvl4pPr>
            <a:lvl5pPr marL="0" indent="0" algn="l" defTabSz="914400" rtl="0" eaLnBrk="1" latinLnBrk="0" hangingPunct="1">
              <a:lnSpc>
                <a:spcPct val="110000"/>
              </a:lnSpc>
              <a:spcBef>
                <a:spcPts val="600"/>
              </a:spcBef>
              <a:spcAft>
                <a:spcPts val="0"/>
              </a:spcAft>
              <a:buClr>
                <a:schemeClr val="accent1"/>
              </a:buClr>
              <a:buFont typeface="Arial" panose="020B0604020202020204" pitchFamily="34" charset="0"/>
              <a:buNone/>
              <a:defRPr sz="3000" kern="1200">
                <a:solidFill>
                  <a:schemeClr val="tx1"/>
                </a:solidFill>
                <a:latin typeface="Barlow Light" panose="00000400000000000000" pitchFamily="2" charset="0"/>
                <a:ea typeface="+mn-ea"/>
                <a:cs typeface="+mn-cs"/>
              </a:defRPr>
            </a:lvl5pPr>
            <a:lvl6pPr marL="361950" indent="-361950" algn="l" defTabSz="914400" rtl="0" eaLnBrk="1" latinLnBrk="0" hangingPunct="1">
              <a:lnSpc>
                <a:spcPct val="110000"/>
              </a:lnSpc>
              <a:spcBef>
                <a:spcPts val="600"/>
              </a:spcBef>
              <a:spcAft>
                <a:spcPts val="0"/>
              </a:spcAft>
              <a:buClr>
                <a:schemeClr val="accent1"/>
              </a:buClr>
              <a:buSzPct val="80000"/>
              <a:buFontTx/>
              <a:buBlip>
                <a:blip r:embed="rId3"/>
              </a:buBlip>
              <a:defRPr sz="2500" kern="1200">
                <a:solidFill>
                  <a:schemeClr val="tx1"/>
                </a:solidFill>
                <a:latin typeface="+mn-lt"/>
                <a:ea typeface="+mn-ea"/>
                <a:cs typeface="+mn-cs"/>
              </a:defRPr>
            </a:lvl6pPr>
            <a:lvl7pPr marL="360000" indent="-360000" algn="l" defTabSz="914400" rtl="0" eaLnBrk="1" latinLnBrk="0" hangingPunct="1">
              <a:lnSpc>
                <a:spcPct val="110000"/>
              </a:lnSpc>
              <a:spcBef>
                <a:spcPts val="600"/>
              </a:spcBef>
              <a:spcAft>
                <a:spcPts val="0"/>
              </a:spcAft>
              <a:buClr>
                <a:schemeClr val="accent1"/>
              </a:buClr>
              <a:buFont typeface="+mj-lt"/>
              <a:buAutoNum type="arabicPeriod"/>
              <a:defRPr sz="2000" kern="1200">
                <a:solidFill>
                  <a:schemeClr val="tx1"/>
                </a:solidFill>
                <a:latin typeface="+mn-lt"/>
                <a:ea typeface="+mn-ea"/>
                <a:cs typeface="+mn-cs"/>
              </a:defRPr>
            </a:lvl7pPr>
            <a:lvl8pPr marL="625475" indent="-265113" algn="l" defTabSz="914400" rtl="0" eaLnBrk="1" latinLnBrk="0" hangingPunct="1">
              <a:lnSpc>
                <a:spcPct val="110000"/>
              </a:lnSpc>
              <a:spcBef>
                <a:spcPts val="600"/>
              </a:spcBef>
              <a:spcAft>
                <a:spcPts val="0"/>
              </a:spcAft>
              <a:buClr>
                <a:schemeClr val="accent1"/>
              </a:buClr>
              <a:buSzPct val="80000"/>
              <a:buFontTx/>
              <a:buBlip>
                <a:blip r:embed="rId3"/>
              </a:buBlip>
              <a:defRPr sz="2000" kern="1200">
                <a:solidFill>
                  <a:schemeClr val="tx1"/>
                </a:solidFill>
                <a:latin typeface="+mn-lt"/>
                <a:ea typeface="+mn-ea"/>
                <a:cs typeface="+mn-cs"/>
              </a:defRPr>
            </a:lvl8pPr>
            <a:lvl9pPr marL="895350" indent="-269875" algn="l" defTabSz="914400" rtl="0" eaLnBrk="1" latinLnBrk="0" hangingPunct="1">
              <a:lnSpc>
                <a:spcPct val="110000"/>
              </a:lnSpc>
              <a:spcBef>
                <a:spcPts val="600"/>
              </a:spcBef>
              <a:spcAft>
                <a:spcPts val="0"/>
              </a:spcAft>
              <a:buClr>
                <a:schemeClr val="accent1"/>
              </a:buClr>
              <a:buSzPct val="80000"/>
              <a:buFontTx/>
              <a:buBlip>
                <a:blip r:embed="rId3"/>
              </a:buBlip>
              <a:defRPr sz="2000" kern="1200">
                <a:solidFill>
                  <a:schemeClr val="tx1"/>
                </a:solidFill>
                <a:latin typeface="+mn-lt"/>
                <a:ea typeface="+mn-ea"/>
                <a:cs typeface="+mn-cs"/>
              </a:defRPr>
            </a:lvl9pPr>
          </a:lstStyle>
          <a:p>
            <a:pPr lvl="5"/>
            <a:r>
              <a:rPr lang="en-US" dirty="0">
                <a:ea typeface="+mn-lt"/>
                <a:cs typeface="+mn-lt"/>
              </a:rPr>
              <a:t>Once the reporter clicks the </a:t>
            </a:r>
            <a:r>
              <a:rPr lang="en-US" b="1" dirty="0">
                <a:ea typeface="+mn-lt"/>
                <a:cs typeface="+mn-lt"/>
              </a:rPr>
              <a:t>Next</a:t>
            </a:r>
            <a:r>
              <a:rPr lang="en-US" dirty="0">
                <a:ea typeface="+mn-lt"/>
                <a:cs typeface="+mn-lt"/>
              </a:rPr>
              <a:t> button, a confirmation screen will appear with their associated case ID. This number should be documented in order to access the case from the Secure Inbox. </a:t>
            </a:r>
          </a:p>
        </p:txBody>
      </p:sp>
    </p:spTree>
    <p:extLst>
      <p:ext uri="{BB962C8B-B14F-4D97-AF65-F5344CB8AC3E}">
        <p14:creationId xmlns:p14="http://schemas.microsoft.com/office/powerpoint/2010/main" val="124837366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p:cNvSpPr>
            <a:spLocks noGrp="1"/>
          </p:cNvSpPr>
          <p:nvPr>
            <p:ph type="body" idx="1"/>
          </p:nvPr>
        </p:nvSpPr>
        <p:spPr bwMode="gray">
          <a:xfrm>
            <a:off x="1092200" y="1412875"/>
            <a:ext cx="5111750" cy="4356385"/>
          </a:xfrm>
        </p:spPr>
        <p:txBody>
          <a:bodyPr/>
          <a:lstStyle/>
          <a:p>
            <a:r>
              <a:rPr lang="en-US">
                <a:latin typeface="Barlow ExtraBold"/>
              </a:rPr>
              <a:t>Accessing a Case</a:t>
            </a:r>
            <a:endParaRPr lang="en-US"/>
          </a:p>
        </p:txBody>
      </p:sp>
      <p:sp>
        <p:nvSpPr>
          <p:cNvPr id="8" name="Textplatzhalter 7"/>
          <p:cNvSpPr>
            <a:spLocks noGrp="1"/>
          </p:cNvSpPr>
          <p:nvPr>
            <p:ph type="body" sz="quarter" idx="4294967295"/>
          </p:nvPr>
        </p:nvSpPr>
        <p:spPr bwMode="gray">
          <a:xfrm>
            <a:off x="7583488" y="6381750"/>
            <a:ext cx="4608512" cy="287338"/>
          </a:xfrm>
          <a:prstGeom prst="rect">
            <a:avLst/>
          </a:prstGeom>
        </p:spPr>
        <p:txBody>
          <a:bodyPr>
            <a:normAutofit fontScale="92500"/>
          </a:bodyPr>
          <a:lstStyle/>
          <a:p>
            <a:r>
              <a:rPr lang="de-DE"/>
              <a:t> </a:t>
            </a:r>
            <a:endParaRPr lang="de-DE" dirty="0"/>
          </a:p>
        </p:txBody>
      </p:sp>
      <p:sp>
        <p:nvSpPr>
          <p:cNvPr id="19" name="Titel 18">
            <a:extLst>
              <a:ext uri="{FF2B5EF4-FFF2-40B4-BE49-F238E27FC236}">
                <a16:creationId xmlns:a16="http://schemas.microsoft.com/office/drawing/2014/main" id="{5D975691-755F-A5B1-9C67-54C2B5EF581F}"/>
              </a:ext>
            </a:extLst>
          </p:cNvPr>
          <p:cNvSpPr>
            <a:spLocks noGrp="1"/>
          </p:cNvSpPr>
          <p:nvPr>
            <p:ph type="title"/>
          </p:nvPr>
        </p:nvSpPr>
        <p:spPr/>
        <p:txBody>
          <a:bodyPr/>
          <a:lstStyle/>
          <a:p>
            <a:r>
              <a:rPr lang="de-DE" dirty="0">
                <a:latin typeface="Barlow ExtraBold"/>
              </a:rPr>
              <a:t>04</a:t>
            </a:r>
            <a:endParaRPr lang="de-DE" dirty="0"/>
          </a:p>
        </p:txBody>
      </p:sp>
    </p:spTree>
    <p:extLst>
      <p:ext uri="{BB962C8B-B14F-4D97-AF65-F5344CB8AC3E}">
        <p14:creationId xmlns:p14="http://schemas.microsoft.com/office/powerpoint/2010/main" val="35635102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7AD3238-4751-A12A-8886-6426F1D10A08}"/>
            </a:ext>
          </a:extLst>
        </p:cNvPr>
        <p:cNvGrpSpPr/>
        <p:nvPr/>
      </p:nvGrpSpPr>
      <p:grpSpPr>
        <a:xfrm>
          <a:off x="0" y="0"/>
          <a:ext cx="0" cy="0"/>
          <a:chOff x="0" y="0"/>
          <a:chExt cx="0" cy="0"/>
        </a:xfrm>
      </p:grpSpPr>
      <p:pic>
        <p:nvPicPr>
          <p:cNvPr id="7" name="Picture 6" descr="A screenshot of a computer&#10;&#10;AI-generated content may be incorrect.">
            <a:extLst>
              <a:ext uri="{FF2B5EF4-FFF2-40B4-BE49-F238E27FC236}">
                <a16:creationId xmlns:a16="http://schemas.microsoft.com/office/drawing/2014/main" id="{1184F538-314C-2004-1994-7197340D6A09}"/>
              </a:ext>
            </a:extLst>
          </p:cNvPr>
          <p:cNvPicPr>
            <a:picLocks noChangeAspect="1"/>
          </p:cNvPicPr>
          <p:nvPr/>
        </p:nvPicPr>
        <p:blipFill>
          <a:blip r:embed="rId2"/>
          <a:stretch>
            <a:fillRect/>
          </a:stretch>
        </p:blipFill>
        <p:spPr>
          <a:xfrm>
            <a:off x="6275389" y="2312988"/>
            <a:ext cx="4824412" cy="2725792"/>
          </a:xfrm>
          <a:prstGeom prst="rect">
            <a:avLst/>
          </a:prstGeom>
          <a:noFill/>
        </p:spPr>
      </p:pic>
      <p:sp>
        <p:nvSpPr>
          <p:cNvPr id="4" name="Title 3">
            <a:extLst>
              <a:ext uri="{FF2B5EF4-FFF2-40B4-BE49-F238E27FC236}">
                <a16:creationId xmlns:a16="http://schemas.microsoft.com/office/drawing/2014/main" id="{E196A390-5CBB-439B-F3E9-72DB4EC0B727}"/>
              </a:ext>
            </a:extLst>
          </p:cNvPr>
          <p:cNvSpPr>
            <a:spLocks noGrp="1"/>
          </p:cNvSpPr>
          <p:nvPr>
            <p:ph type="title"/>
          </p:nvPr>
        </p:nvSpPr>
        <p:spPr>
          <a:xfrm>
            <a:off x="1092200" y="789687"/>
            <a:ext cx="10007600" cy="604039"/>
          </a:xfrm>
        </p:spPr>
        <p:txBody>
          <a:bodyPr anchor="t">
            <a:normAutofit/>
          </a:bodyPr>
          <a:lstStyle/>
          <a:p>
            <a:r>
              <a:rPr lang="en-GB"/>
              <a:t>Accessing a Case</a:t>
            </a:r>
          </a:p>
        </p:txBody>
      </p:sp>
      <p:sp>
        <p:nvSpPr>
          <p:cNvPr id="6" name="Slide Number Placeholder 5">
            <a:extLst>
              <a:ext uri="{FF2B5EF4-FFF2-40B4-BE49-F238E27FC236}">
                <a16:creationId xmlns:a16="http://schemas.microsoft.com/office/drawing/2014/main" id="{E452D55A-9E17-8885-4C4E-DD6BEF976F0C}"/>
              </a:ext>
            </a:extLst>
          </p:cNvPr>
          <p:cNvSpPr>
            <a:spLocks noGrp="1"/>
          </p:cNvSpPr>
          <p:nvPr>
            <p:ph type="sldNum" sz="quarter" idx="13"/>
          </p:nvPr>
        </p:nvSpPr>
        <p:spPr>
          <a:xfrm>
            <a:off x="11526329" y="6198777"/>
            <a:ext cx="665672" cy="659223"/>
          </a:xfrm>
        </p:spPr>
        <p:txBody>
          <a:bodyPr wrap="square" anchor="b">
            <a:normAutofit/>
          </a:bodyPr>
          <a:lstStyle/>
          <a:p>
            <a:pPr>
              <a:spcAft>
                <a:spcPts val="600"/>
              </a:spcAft>
            </a:pPr>
            <a:fld id="{44661A95-0089-4306-9485-D330C59FE3ED}" type="slidenum">
              <a:rPr lang="de-DE" smtClean="0"/>
              <a:pPr>
                <a:spcAft>
                  <a:spcPts val="600"/>
                </a:spcAft>
              </a:pPr>
              <a:t>16</a:t>
            </a:fld>
            <a:endParaRPr lang="de-DE"/>
          </a:p>
        </p:txBody>
      </p:sp>
      <p:sp>
        <p:nvSpPr>
          <p:cNvPr id="8" name="Inhaltsplatzhalter 5">
            <a:extLst>
              <a:ext uri="{FF2B5EF4-FFF2-40B4-BE49-F238E27FC236}">
                <a16:creationId xmlns:a16="http://schemas.microsoft.com/office/drawing/2014/main" id="{BC404002-FA5A-F8E1-C6B7-2DCF2CFC5889}"/>
              </a:ext>
            </a:extLst>
          </p:cNvPr>
          <p:cNvSpPr txBox="1">
            <a:spLocks/>
          </p:cNvSpPr>
          <p:nvPr/>
        </p:nvSpPr>
        <p:spPr bwMode="gray">
          <a:xfrm>
            <a:off x="1092200" y="2312876"/>
            <a:ext cx="5009638" cy="3745024"/>
          </a:xfrm>
          <a:prstGeom prst="rect">
            <a:avLst/>
          </a:prstGeom>
        </p:spPr>
        <p:txBody>
          <a:bodyPr vert="horz" lIns="0" tIns="0" rIns="0" bIns="0" rtlCol="0" anchor="t">
            <a:normAutofit/>
          </a:bodyPr>
          <a:lstStyle>
            <a:lvl1pPr marL="0" indent="0" algn="l" defTabSz="914400" rtl="0" eaLnBrk="1" latinLnBrk="0" hangingPunct="1">
              <a:lnSpc>
                <a:spcPct val="110000"/>
              </a:lnSpc>
              <a:spcBef>
                <a:spcPts val="600"/>
              </a:spcBef>
              <a:spcAft>
                <a:spcPts val="0"/>
              </a:spcAft>
              <a:buFont typeface="Arial" panose="020B0604020202020204" pitchFamily="34" charset="0"/>
              <a:buNone/>
              <a:defRPr sz="2000" b="0" kern="1200">
                <a:solidFill>
                  <a:schemeClr val="tx1"/>
                </a:solidFill>
                <a:latin typeface="+mj-lt"/>
                <a:ea typeface="+mn-ea"/>
                <a:cs typeface="+mn-cs"/>
              </a:defRPr>
            </a:lvl1pPr>
            <a:lvl2pPr marL="0" indent="0" algn="l" defTabSz="914400" rtl="0" eaLnBrk="1" latinLnBrk="0" hangingPunct="1">
              <a:lnSpc>
                <a:spcPct val="110000"/>
              </a:lnSpc>
              <a:spcBef>
                <a:spcPts val="600"/>
              </a:spcBef>
              <a:spcAft>
                <a:spcPts val="0"/>
              </a:spcAft>
              <a:buFont typeface="Arial" panose="020B0604020202020204" pitchFamily="34" charset="0"/>
              <a:buNone/>
              <a:defRPr sz="2000" kern="1200">
                <a:solidFill>
                  <a:schemeClr val="tx1"/>
                </a:solidFill>
                <a:latin typeface="+mn-lt"/>
                <a:ea typeface="+mn-ea"/>
                <a:cs typeface="+mn-cs"/>
              </a:defRPr>
            </a:lvl2pPr>
            <a:lvl3pPr marL="269875" indent="-269875" algn="l" defTabSz="914400" rtl="0" eaLnBrk="1" latinLnBrk="0" hangingPunct="1">
              <a:lnSpc>
                <a:spcPct val="110000"/>
              </a:lnSpc>
              <a:spcBef>
                <a:spcPts val="600"/>
              </a:spcBef>
              <a:spcAft>
                <a:spcPts val="0"/>
              </a:spcAft>
              <a:buClr>
                <a:schemeClr val="accent1"/>
              </a:buClr>
              <a:buSzPct val="80000"/>
              <a:buFontTx/>
              <a:buBlip>
                <a:blip r:embed="rId3"/>
              </a:buBlip>
              <a:defRPr sz="2000" kern="1200">
                <a:solidFill>
                  <a:schemeClr val="tx1"/>
                </a:solidFill>
                <a:latin typeface="+mn-lt"/>
                <a:ea typeface="+mn-ea"/>
                <a:cs typeface="+mn-cs"/>
              </a:defRPr>
            </a:lvl3pPr>
            <a:lvl4pPr marL="541338" indent="-271463" algn="l" defTabSz="914400" rtl="0" eaLnBrk="1" latinLnBrk="0" hangingPunct="1">
              <a:lnSpc>
                <a:spcPct val="110000"/>
              </a:lnSpc>
              <a:spcBef>
                <a:spcPts val="600"/>
              </a:spcBef>
              <a:spcAft>
                <a:spcPts val="0"/>
              </a:spcAft>
              <a:buClr>
                <a:schemeClr val="accent1"/>
              </a:buClr>
              <a:buSzPct val="80000"/>
              <a:buFontTx/>
              <a:buBlip>
                <a:blip r:embed="rId3"/>
              </a:buBlip>
              <a:defRPr sz="2000" kern="1200">
                <a:solidFill>
                  <a:schemeClr val="tx1"/>
                </a:solidFill>
                <a:latin typeface="+mn-lt"/>
                <a:ea typeface="+mn-ea"/>
                <a:cs typeface="+mn-cs"/>
              </a:defRPr>
            </a:lvl4pPr>
            <a:lvl5pPr marL="0" indent="0" algn="l" defTabSz="914400" rtl="0" eaLnBrk="1" latinLnBrk="0" hangingPunct="1">
              <a:lnSpc>
                <a:spcPct val="110000"/>
              </a:lnSpc>
              <a:spcBef>
                <a:spcPts val="600"/>
              </a:spcBef>
              <a:spcAft>
                <a:spcPts val="0"/>
              </a:spcAft>
              <a:buClr>
                <a:schemeClr val="accent1"/>
              </a:buClr>
              <a:buFont typeface="Arial" panose="020B0604020202020204" pitchFamily="34" charset="0"/>
              <a:buNone/>
              <a:defRPr sz="3000" kern="1200">
                <a:solidFill>
                  <a:schemeClr val="tx1"/>
                </a:solidFill>
                <a:latin typeface="Barlow Light" panose="00000400000000000000" pitchFamily="2" charset="0"/>
                <a:ea typeface="+mn-ea"/>
                <a:cs typeface="+mn-cs"/>
              </a:defRPr>
            </a:lvl5pPr>
            <a:lvl6pPr marL="361950" indent="-361950" algn="l" defTabSz="914400" rtl="0" eaLnBrk="1" latinLnBrk="0" hangingPunct="1">
              <a:lnSpc>
                <a:spcPct val="110000"/>
              </a:lnSpc>
              <a:spcBef>
                <a:spcPts val="600"/>
              </a:spcBef>
              <a:spcAft>
                <a:spcPts val="0"/>
              </a:spcAft>
              <a:buClr>
                <a:schemeClr val="accent1"/>
              </a:buClr>
              <a:buSzPct val="80000"/>
              <a:buFontTx/>
              <a:buBlip>
                <a:blip r:embed="rId3"/>
              </a:buBlip>
              <a:defRPr sz="2500" kern="1200">
                <a:solidFill>
                  <a:schemeClr val="tx1"/>
                </a:solidFill>
                <a:latin typeface="+mn-lt"/>
                <a:ea typeface="+mn-ea"/>
                <a:cs typeface="+mn-cs"/>
              </a:defRPr>
            </a:lvl6pPr>
            <a:lvl7pPr marL="360000" indent="-360000" algn="l" defTabSz="914400" rtl="0" eaLnBrk="1" latinLnBrk="0" hangingPunct="1">
              <a:lnSpc>
                <a:spcPct val="110000"/>
              </a:lnSpc>
              <a:spcBef>
                <a:spcPts val="600"/>
              </a:spcBef>
              <a:spcAft>
                <a:spcPts val="0"/>
              </a:spcAft>
              <a:buClr>
                <a:schemeClr val="accent1"/>
              </a:buClr>
              <a:buFont typeface="+mj-lt"/>
              <a:buAutoNum type="arabicPeriod"/>
              <a:defRPr sz="2000" kern="1200">
                <a:solidFill>
                  <a:schemeClr val="tx1"/>
                </a:solidFill>
                <a:latin typeface="+mn-lt"/>
                <a:ea typeface="+mn-ea"/>
                <a:cs typeface="+mn-cs"/>
              </a:defRPr>
            </a:lvl7pPr>
            <a:lvl8pPr marL="625475" indent="-265113" algn="l" defTabSz="914400" rtl="0" eaLnBrk="1" latinLnBrk="0" hangingPunct="1">
              <a:lnSpc>
                <a:spcPct val="110000"/>
              </a:lnSpc>
              <a:spcBef>
                <a:spcPts val="600"/>
              </a:spcBef>
              <a:spcAft>
                <a:spcPts val="0"/>
              </a:spcAft>
              <a:buClr>
                <a:schemeClr val="accent1"/>
              </a:buClr>
              <a:buSzPct val="80000"/>
              <a:buFontTx/>
              <a:buBlip>
                <a:blip r:embed="rId3"/>
              </a:buBlip>
              <a:defRPr sz="2000" kern="1200">
                <a:solidFill>
                  <a:schemeClr val="tx1"/>
                </a:solidFill>
                <a:latin typeface="+mn-lt"/>
                <a:ea typeface="+mn-ea"/>
                <a:cs typeface="+mn-cs"/>
              </a:defRPr>
            </a:lvl8pPr>
            <a:lvl9pPr marL="895350" indent="-269875" algn="l" defTabSz="914400" rtl="0" eaLnBrk="1" latinLnBrk="0" hangingPunct="1">
              <a:lnSpc>
                <a:spcPct val="110000"/>
              </a:lnSpc>
              <a:spcBef>
                <a:spcPts val="600"/>
              </a:spcBef>
              <a:spcAft>
                <a:spcPts val="0"/>
              </a:spcAft>
              <a:buClr>
                <a:schemeClr val="accent1"/>
              </a:buClr>
              <a:buSzPct val="80000"/>
              <a:buFontTx/>
              <a:buBlip>
                <a:blip r:embed="rId3"/>
              </a:buBlip>
              <a:defRPr sz="2000" kern="1200">
                <a:solidFill>
                  <a:schemeClr val="tx1"/>
                </a:solidFill>
                <a:latin typeface="+mn-lt"/>
                <a:ea typeface="+mn-ea"/>
                <a:cs typeface="+mn-cs"/>
              </a:defRPr>
            </a:lvl9pPr>
          </a:lstStyle>
          <a:p>
            <a:pPr lvl="5"/>
            <a:r>
              <a:rPr lang="en-US" dirty="0">
                <a:ea typeface="+mn-lt"/>
                <a:cs typeface="+mn-lt"/>
              </a:rPr>
              <a:t>The reporting party can access the Secure Inbox by providing their case ID and custom password on your organization’s Integrity Line welcome screen.</a:t>
            </a:r>
          </a:p>
        </p:txBody>
      </p:sp>
    </p:spTree>
    <p:extLst>
      <p:ext uri="{BB962C8B-B14F-4D97-AF65-F5344CB8AC3E}">
        <p14:creationId xmlns:p14="http://schemas.microsoft.com/office/powerpoint/2010/main" val="81193432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descr="A screenshot of a computer&#10;&#10;AI-generated content may be incorrect.">
            <a:extLst>
              <a:ext uri="{FF2B5EF4-FFF2-40B4-BE49-F238E27FC236}">
                <a16:creationId xmlns:a16="http://schemas.microsoft.com/office/drawing/2014/main" id="{8DDD622F-9114-42FA-5657-BE10184B5B87}"/>
              </a:ext>
            </a:extLst>
          </p:cNvPr>
          <p:cNvPicPr>
            <a:picLocks noChangeAspect="1"/>
          </p:cNvPicPr>
          <p:nvPr/>
        </p:nvPicPr>
        <p:blipFill>
          <a:blip r:embed="rId2"/>
          <a:stretch>
            <a:fillRect/>
          </a:stretch>
        </p:blipFill>
        <p:spPr>
          <a:xfrm>
            <a:off x="6275388" y="2352168"/>
            <a:ext cx="4824412" cy="3666552"/>
          </a:xfrm>
          <a:prstGeom prst="rect">
            <a:avLst/>
          </a:prstGeom>
          <a:noFill/>
        </p:spPr>
      </p:pic>
      <p:sp>
        <p:nvSpPr>
          <p:cNvPr id="12" name="Title 4">
            <a:extLst>
              <a:ext uri="{FF2B5EF4-FFF2-40B4-BE49-F238E27FC236}">
                <a16:creationId xmlns:a16="http://schemas.microsoft.com/office/drawing/2014/main" id="{B44BC4CA-7316-C780-4DF6-582BFFFB1F76}"/>
              </a:ext>
            </a:extLst>
          </p:cNvPr>
          <p:cNvSpPr>
            <a:spLocks noGrp="1"/>
          </p:cNvSpPr>
          <p:nvPr>
            <p:ph type="title"/>
          </p:nvPr>
        </p:nvSpPr>
        <p:spPr>
          <a:xfrm>
            <a:off x="1092200" y="789687"/>
            <a:ext cx="10007600" cy="604039"/>
          </a:xfrm>
        </p:spPr>
        <p:txBody>
          <a:bodyPr/>
          <a:lstStyle/>
          <a:p>
            <a:r>
              <a:rPr lang="en-US"/>
              <a:t>Accessing the Case</a:t>
            </a:r>
          </a:p>
        </p:txBody>
      </p:sp>
      <p:sp>
        <p:nvSpPr>
          <p:cNvPr id="6" name="Slide Number Placeholder 5">
            <a:extLst>
              <a:ext uri="{FF2B5EF4-FFF2-40B4-BE49-F238E27FC236}">
                <a16:creationId xmlns:a16="http://schemas.microsoft.com/office/drawing/2014/main" id="{D7826439-9C91-A905-1600-B5FEF24E2F87}"/>
              </a:ext>
            </a:extLst>
          </p:cNvPr>
          <p:cNvSpPr>
            <a:spLocks noGrp="1"/>
          </p:cNvSpPr>
          <p:nvPr>
            <p:ph type="sldNum" sz="quarter" idx="13"/>
          </p:nvPr>
        </p:nvSpPr>
        <p:spPr>
          <a:xfrm>
            <a:off x="11526329" y="6198777"/>
            <a:ext cx="665672" cy="659223"/>
          </a:xfrm>
        </p:spPr>
        <p:txBody>
          <a:bodyPr wrap="square" anchor="b">
            <a:normAutofit/>
          </a:bodyPr>
          <a:lstStyle/>
          <a:p>
            <a:pPr>
              <a:spcAft>
                <a:spcPts val="600"/>
              </a:spcAft>
            </a:pPr>
            <a:fld id="{44661A95-0089-4306-9485-D330C59FE3ED}" type="slidenum">
              <a:rPr lang="de-DE" smtClean="0"/>
              <a:pPr>
                <a:spcAft>
                  <a:spcPts val="600"/>
                </a:spcAft>
              </a:pPr>
              <a:t>17</a:t>
            </a:fld>
            <a:endParaRPr lang="de-DE"/>
          </a:p>
        </p:txBody>
      </p:sp>
      <p:sp>
        <p:nvSpPr>
          <p:cNvPr id="5" name="Inhaltsplatzhalter 5">
            <a:extLst>
              <a:ext uri="{FF2B5EF4-FFF2-40B4-BE49-F238E27FC236}">
                <a16:creationId xmlns:a16="http://schemas.microsoft.com/office/drawing/2014/main" id="{B089E695-216E-F1AF-A074-97E42BED1097}"/>
              </a:ext>
            </a:extLst>
          </p:cNvPr>
          <p:cNvSpPr txBox="1">
            <a:spLocks/>
          </p:cNvSpPr>
          <p:nvPr/>
        </p:nvSpPr>
        <p:spPr bwMode="gray">
          <a:xfrm>
            <a:off x="1092200" y="2312876"/>
            <a:ext cx="5009638" cy="3745024"/>
          </a:xfrm>
          <a:prstGeom prst="rect">
            <a:avLst/>
          </a:prstGeom>
        </p:spPr>
        <p:txBody>
          <a:bodyPr vert="horz" lIns="0" tIns="0" rIns="0" bIns="0" rtlCol="0" anchor="t">
            <a:normAutofit/>
          </a:bodyPr>
          <a:lstStyle>
            <a:lvl1pPr marL="0" indent="0" algn="l" defTabSz="914400" rtl="0" eaLnBrk="1" latinLnBrk="0" hangingPunct="1">
              <a:lnSpc>
                <a:spcPct val="110000"/>
              </a:lnSpc>
              <a:spcBef>
                <a:spcPts val="600"/>
              </a:spcBef>
              <a:spcAft>
                <a:spcPts val="0"/>
              </a:spcAft>
              <a:buFont typeface="Arial" panose="020B0604020202020204" pitchFamily="34" charset="0"/>
              <a:buNone/>
              <a:defRPr sz="2000" b="0" kern="1200">
                <a:solidFill>
                  <a:schemeClr val="tx1"/>
                </a:solidFill>
                <a:latin typeface="+mj-lt"/>
                <a:ea typeface="+mn-ea"/>
                <a:cs typeface="+mn-cs"/>
              </a:defRPr>
            </a:lvl1pPr>
            <a:lvl2pPr marL="0" indent="0" algn="l" defTabSz="914400" rtl="0" eaLnBrk="1" latinLnBrk="0" hangingPunct="1">
              <a:lnSpc>
                <a:spcPct val="110000"/>
              </a:lnSpc>
              <a:spcBef>
                <a:spcPts val="600"/>
              </a:spcBef>
              <a:spcAft>
                <a:spcPts val="0"/>
              </a:spcAft>
              <a:buFont typeface="Arial" panose="020B0604020202020204" pitchFamily="34" charset="0"/>
              <a:buNone/>
              <a:defRPr sz="2000" kern="1200">
                <a:solidFill>
                  <a:schemeClr val="tx1"/>
                </a:solidFill>
                <a:latin typeface="+mn-lt"/>
                <a:ea typeface="+mn-ea"/>
                <a:cs typeface="+mn-cs"/>
              </a:defRPr>
            </a:lvl2pPr>
            <a:lvl3pPr marL="269875" indent="-269875" algn="l" defTabSz="914400" rtl="0" eaLnBrk="1" latinLnBrk="0" hangingPunct="1">
              <a:lnSpc>
                <a:spcPct val="110000"/>
              </a:lnSpc>
              <a:spcBef>
                <a:spcPts val="600"/>
              </a:spcBef>
              <a:spcAft>
                <a:spcPts val="0"/>
              </a:spcAft>
              <a:buClr>
                <a:schemeClr val="accent1"/>
              </a:buClr>
              <a:buSzPct val="80000"/>
              <a:buFontTx/>
              <a:buBlip>
                <a:blip r:embed="rId3"/>
              </a:buBlip>
              <a:defRPr sz="2000" kern="1200">
                <a:solidFill>
                  <a:schemeClr val="tx1"/>
                </a:solidFill>
                <a:latin typeface="+mn-lt"/>
                <a:ea typeface="+mn-ea"/>
                <a:cs typeface="+mn-cs"/>
              </a:defRPr>
            </a:lvl3pPr>
            <a:lvl4pPr marL="541338" indent="-271463" algn="l" defTabSz="914400" rtl="0" eaLnBrk="1" latinLnBrk="0" hangingPunct="1">
              <a:lnSpc>
                <a:spcPct val="110000"/>
              </a:lnSpc>
              <a:spcBef>
                <a:spcPts val="600"/>
              </a:spcBef>
              <a:spcAft>
                <a:spcPts val="0"/>
              </a:spcAft>
              <a:buClr>
                <a:schemeClr val="accent1"/>
              </a:buClr>
              <a:buSzPct val="80000"/>
              <a:buFontTx/>
              <a:buBlip>
                <a:blip r:embed="rId3"/>
              </a:buBlip>
              <a:defRPr sz="2000" kern="1200">
                <a:solidFill>
                  <a:schemeClr val="tx1"/>
                </a:solidFill>
                <a:latin typeface="+mn-lt"/>
                <a:ea typeface="+mn-ea"/>
                <a:cs typeface="+mn-cs"/>
              </a:defRPr>
            </a:lvl4pPr>
            <a:lvl5pPr marL="0" indent="0" algn="l" defTabSz="914400" rtl="0" eaLnBrk="1" latinLnBrk="0" hangingPunct="1">
              <a:lnSpc>
                <a:spcPct val="110000"/>
              </a:lnSpc>
              <a:spcBef>
                <a:spcPts val="600"/>
              </a:spcBef>
              <a:spcAft>
                <a:spcPts val="0"/>
              </a:spcAft>
              <a:buClr>
                <a:schemeClr val="accent1"/>
              </a:buClr>
              <a:buFont typeface="Arial" panose="020B0604020202020204" pitchFamily="34" charset="0"/>
              <a:buNone/>
              <a:defRPr sz="3000" kern="1200">
                <a:solidFill>
                  <a:schemeClr val="tx1"/>
                </a:solidFill>
                <a:latin typeface="Barlow Light" panose="00000400000000000000" pitchFamily="2" charset="0"/>
                <a:ea typeface="+mn-ea"/>
                <a:cs typeface="+mn-cs"/>
              </a:defRPr>
            </a:lvl5pPr>
            <a:lvl6pPr marL="361950" indent="-361950" algn="l" defTabSz="914400" rtl="0" eaLnBrk="1" latinLnBrk="0" hangingPunct="1">
              <a:lnSpc>
                <a:spcPct val="110000"/>
              </a:lnSpc>
              <a:spcBef>
                <a:spcPts val="600"/>
              </a:spcBef>
              <a:spcAft>
                <a:spcPts val="0"/>
              </a:spcAft>
              <a:buClr>
                <a:schemeClr val="accent1"/>
              </a:buClr>
              <a:buSzPct val="80000"/>
              <a:buFontTx/>
              <a:buBlip>
                <a:blip r:embed="rId3"/>
              </a:buBlip>
              <a:defRPr sz="2500" kern="1200">
                <a:solidFill>
                  <a:schemeClr val="tx1"/>
                </a:solidFill>
                <a:latin typeface="+mn-lt"/>
                <a:ea typeface="+mn-ea"/>
                <a:cs typeface="+mn-cs"/>
              </a:defRPr>
            </a:lvl6pPr>
            <a:lvl7pPr marL="360000" indent="-360000" algn="l" defTabSz="914400" rtl="0" eaLnBrk="1" latinLnBrk="0" hangingPunct="1">
              <a:lnSpc>
                <a:spcPct val="110000"/>
              </a:lnSpc>
              <a:spcBef>
                <a:spcPts val="600"/>
              </a:spcBef>
              <a:spcAft>
                <a:spcPts val="0"/>
              </a:spcAft>
              <a:buClr>
                <a:schemeClr val="accent1"/>
              </a:buClr>
              <a:buFont typeface="+mj-lt"/>
              <a:buAutoNum type="arabicPeriod"/>
              <a:defRPr sz="2000" kern="1200">
                <a:solidFill>
                  <a:schemeClr val="tx1"/>
                </a:solidFill>
                <a:latin typeface="+mn-lt"/>
                <a:ea typeface="+mn-ea"/>
                <a:cs typeface="+mn-cs"/>
              </a:defRPr>
            </a:lvl7pPr>
            <a:lvl8pPr marL="625475" indent="-265113" algn="l" defTabSz="914400" rtl="0" eaLnBrk="1" latinLnBrk="0" hangingPunct="1">
              <a:lnSpc>
                <a:spcPct val="110000"/>
              </a:lnSpc>
              <a:spcBef>
                <a:spcPts val="600"/>
              </a:spcBef>
              <a:spcAft>
                <a:spcPts val="0"/>
              </a:spcAft>
              <a:buClr>
                <a:schemeClr val="accent1"/>
              </a:buClr>
              <a:buSzPct val="80000"/>
              <a:buFontTx/>
              <a:buBlip>
                <a:blip r:embed="rId3"/>
              </a:buBlip>
              <a:defRPr sz="2000" kern="1200">
                <a:solidFill>
                  <a:schemeClr val="tx1"/>
                </a:solidFill>
                <a:latin typeface="+mn-lt"/>
                <a:ea typeface="+mn-ea"/>
                <a:cs typeface="+mn-cs"/>
              </a:defRPr>
            </a:lvl8pPr>
            <a:lvl9pPr marL="895350" indent="-269875" algn="l" defTabSz="914400" rtl="0" eaLnBrk="1" latinLnBrk="0" hangingPunct="1">
              <a:lnSpc>
                <a:spcPct val="110000"/>
              </a:lnSpc>
              <a:spcBef>
                <a:spcPts val="600"/>
              </a:spcBef>
              <a:spcAft>
                <a:spcPts val="0"/>
              </a:spcAft>
              <a:buClr>
                <a:schemeClr val="accent1"/>
              </a:buClr>
              <a:buSzPct val="80000"/>
              <a:buFontTx/>
              <a:buBlip>
                <a:blip r:embed="rId3"/>
              </a:buBlip>
              <a:defRPr sz="2000" kern="1200">
                <a:solidFill>
                  <a:schemeClr val="tx1"/>
                </a:solidFill>
                <a:latin typeface="+mn-lt"/>
                <a:ea typeface="+mn-ea"/>
                <a:cs typeface="+mn-cs"/>
              </a:defRPr>
            </a:lvl9pPr>
          </a:lstStyle>
          <a:p>
            <a:pPr lvl="5"/>
            <a:r>
              <a:rPr lang="en-US" dirty="0">
                <a:ea typeface="+mn-lt"/>
                <a:cs typeface="+mn-lt"/>
              </a:rPr>
              <a:t>The reporter must enter the Case ID and password and click on Login. </a:t>
            </a:r>
            <a:endParaRPr lang="en-US" dirty="0"/>
          </a:p>
        </p:txBody>
      </p:sp>
    </p:spTree>
    <p:extLst>
      <p:ext uri="{BB962C8B-B14F-4D97-AF65-F5344CB8AC3E}">
        <p14:creationId xmlns:p14="http://schemas.microsoft.com/office/powerpoint/2010/main" val="265622812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descr="A screenshot of a computer&#10;&#10;AI-generated content may be incorrect.">
            <a:extLst>
              <a:ext uri="{FF2B5EF4-FFF2-40B4-BE49-F238E27FC236}">
                <a16:creationId xmlns:a16="http://schemas.microsoft.com/office/drawing/2014/main" id="{13ECBEF0-D1DD-4E9C-7A79-BEB7021E714B}"/>
              </a:ext>
            </a:extLst>
          </p:cNvPr>
          <p:cNvPicPr>
            <a:picLocks noChangeAspect="1"/>
          </p:cNvPicPr>
          <p:nvPr/>
        </p:nvPicPr>
        <p:blipFill>
          <a:blip r:embed="rId2"/>
          <a:stretch>
            <a:fillRect/>
          </a:stretch>
        </p:blipFill>
        <p:spPr>
          <a:xfrm>
            <a:off x="6457358" y="2314081"/>
            <a:ext cx="4505965" cy="3401532"/>
          </a:xfrm>
          <a:prstGeom prst="rect">
            <a:avLst/>
          </a:prstGeom>
          <a:noFill/>
        </p:spPr>
      </p:pic>
      <p:sp>
        <p:nvSpPr>
          <p:cNvPr id="4" name="Title 3">
            <a:extLst>
              <a:ext uri="{FF2B5EF4-FFF2-40B4-BE49-F238E27FC236}">
                <a16:creationId xmlns:a16="http://schemas.microsoft.com/office/drawing/2014/main" id="{6E2126CF-7E58-E910-F88C-1BD54E3427AF}"/>
              </a:ext>
            </a:extLst>
          </p:cNvPr>
          <p:cNvSpPr>
            <a:spLocks noGrp="1"/>
          </p:cNvSpPr>
          <p:nvPr>
            <p:ph type="title"/>
          </p:nvPr>
        </p:nvSpPr>
        <p:spPr>
          <a:xfrm>
            <a:off x="1092200" y="789687"/>
            <a:ext cx="10007600" cy="604039"/>
          </a:xfrm>
        </p:spPr>
        <p:txBody>
          <a:bodyPr anchor="t">
            <a:normAutofit/>
          </a:bodyPr>
          <a:lstStyle/>
          <a:p>
            <a:r>
              <a:rPr lang="en-GB"/>
              <a:t>Accessing the Case</a:t>
            </a:r>
          </a:p>
        </p:txBody>
      </p:sp>
      <p:sp>
        <p:nvSpPr>
          <p:cNvPr id="6" name="Slide Number Placeholder 5">
            <a:extLst>
              <a:ext uri="{FF2B5EF4-FFF2-40B4-BE49-F238E27FC236}">
                <a16:creationId xmlns:a16="http://schemas.microsoft.com/office/drawing/2014/main" id="{B0E37D47-9AB9-6D4C-3251-24774E102B15}"/>
              </a:ext>
            </a:extLst>
          </p:cNvPr>
          <p:cNvSpPr>
            <a:spLocks noGrp="1"/>
          </p:cNvSpPr>
          <p:nvPr>
            <p:ph type="sldNum" sz="quarter" idx="13"/>
          </p:nvPr>
        </p:nvSpPr>
        <p:spPr>
          <a:xfrm>
            <a:off x="11526329" y="6198777"/>
            <a:ext cx="665672" cy="659223"/>
          </a:xfrm>
        </p:spPr>
        <p:txBody>
          <a:bodyPr wrap="square" anchor="b">
            <a:normAutofit/>
          </a:bodyPr>
          <a:lstStyle/>
          <a:p>
            <a:pPr>
              <a:spcAft>
                <a:spcPts val="600"/>
              </a:spcAft>
            </a:pPr>
            <a:fld id="{44661A95-0089-4306-9485-D330C59FE3ED}" type="slidenum">
              <a:rPr lang="de-DE" smtClean="0"/>
              <a:pPr>
                <a:spcAft>
                  <a:spcPts val="600"/>
                </a:spcAft>
              </a:pPr>
              <a:t>18</a:t>
            </a:fld>
            <a:endParaRPr lang="de-DE"/>
          </a:p>
        </p:txBody>
      </p:sp>
      <p:sp>
        <p:nvSpPr>
          <p:cNvPr id="9" name="Inhaltsplatzhalter 5">
            <a:extLst>
              <a:ext uri="{FF2B5EF4-FFF2-40B4-BE49-F238E27FC236}">
                <a16:creationId xmlns:a16="http://schemas.microsoft.com/office/drawing/2014/main" id="{2F40B576-19EB-070C-C435-B677ADB3B9E2}"/>
              </a:ext>
            </a:extLst>
          </p:cNvPr>
          <p:cNvSpPr txBox="1">
            <a:spLocks/>
          </p:cNvSpPr>
          <p:nvPr/>
        </p:nvSpPr>
        <p:spPr bwMode="gray">
          <a:xfrm>
            <a:off x="1092200" y="2312876"/>
            <a:ext cx="5009638" cy="3745024"/>
          </a:xfrm>
          <a:prstGeom prst="rect">
            <a:avLst/>
          </a:prstGeom>
        </p:spPr>
        <p:txBody>
          <a:bodyPr vert="horz" lIns="0" tIns="0" rIns="0" bIns="0" rtlCol="0" anchor="t">
            <a:normAutofit/>
          </a:bodyPr>
          <a:lstStyle>
            <a:lvl1pPr marL="0" indent="0" algn="l" defTabSz="914400" rtl="0" eaLnBrk="1" latinLnBrk="0" hangingPunct="1">
              <a:lnSpc>
                <a:spcPct val="110000"/>
              </a:lnSpc>
              <a:spcBef>
                <a:spcPts val="600"/>
              </a:spcBef>
              <a:spcAft>
                <a:spcPts val="0"/>
              </a:spcAft>
              <a:buFont typeface="Arial" panose="020B0604020202020204" pitchFamily="34" charset="0"/>
              <a:buNone/>
              <a:defRPr sz="2000" b="0" kern="1200">
                <a:solidFill>
                  <a:schemeClr val="tx1"/>
                </a:solidFill>
                <a:latin typeface="+mj-lt"/>
                <a:ea typeface="+mn-ea"/>
                <a:cs typeface="+mn-cs"/>
              </a:defRPr>
            </a:lvl1pPr>
            <a:lvl2pPr marL="0" indent="0" algn="l" defTabSz="914400" rtl="0" eaLnBrk="1" latinLnBrk="0" hangingPunct="1">
              <a:lnSpc>
                <a:spcPct val="110000"/>
              </a:lnSpc>
              <a:spcBef>
                <a:spcPts val="600"/>
              </a:spcBef>
              <a:spcAft>
                <a:spcPts val="0"/>
              </a:spcAft>
              <a:buFont typeface="Arial" panose="020B0604020202020204" pitchFamily="34" charset="0"/>
              <a:buNone/>
              <a:defRPr sz="2000" kern="1200">
                <a:solidFill>
                  <a:schemeClr val="tx1"/>
                </a:solidFill>
                <a:latin typeface="+mn-lt"/>
                <a:ea typeface="+mn-ea"/>
                <a:cs typeface="+mn-cs"/>
              </a:defRPr>
            </a:lvl2pPr>
            <a:lvl3pPr marL="269875" indent="-269875" algn="l" defTabSz="914400" rtl="0" eaLnBrk="1" latinLnBrk="0" hangingPunct="1">
              <a:lnSpc>
                <a:spcPct val="110000"/>
              </a:lnSpc>
              <a:spcBef>
                <a:spcPts val="600"/>
              </a:spcBef>
              <a:spcAft>
                <a:spcPts val="0"/>
              </a:spcAft>
              <a:buClr>
                <a:schemeClr val="accent1"/>
              </a:buClr>
              <a:buSzPct val="80000"/>
              <a:buFontTx/>
              <a:buBlip>
                <a:blip r:embed="rId3"/>
              </a:buBlip>
              <a:defRPr sz="2000" kern="1200">
                <a:solidFill>
                  <a:schemeClr val="tx1"/>
                </a:solidFill>
                <a:latin typeface="+mn-lt"/>
                <a:ea typeface="+mn-ea"/>
                <a:cs typeface="+mn-cs"/>
              </a:defRPr>
            </a:lvl3pPr>
            <a:lvl4pPr marL="541338" indent="-271463" algn="l" defTabSz="914400" rtl="0" eaLnBrk="1" latinLnBrk="0" hangingPunct="1">
              <a:lnSpc>
                <a:spcPct val="110000"/>
              </a:lnSpc>
              <a:spcBef>
                <a:spcPts val="600"/>
              </a:spcBef>
              <a:spcAft>
                <a:spcPts val="0"/>
              </a:spcAft>
              <a:buClr>
                <a:schemeClr val="accent1"/>
              </a:buClr>
              <a:buSzPct val="80000"/>
              <a:buFontTx/>
              <a:buBlip>
                <a:blip r:embed="rId3"/>
              </a:buBlip>
              <a:defRPr sz="2000" kern="1200">
                <a:solidFill>
                  <a:schemeClr val="tx1"/>
                </a:solidFill>
                <a:latin typeface="+mn-lt"/>
                <a:ea typeface="+mn-ea"/>
                <a:cs typeface="+mn-cs"/>
              </a:defRPr>
            </a:lvl4pPr>
            <a:lvl5pPr marL="0" indent="0" algn="l" defTabSz="914400" rtl="0" eaLnBrk="1" latinLnBrk="0" hangingPunct="1">
              <a:lnSpc>
                <a:spcPct val="110000"/>
              </a:lnSpc>
              <a:spcBef>
                <a:spcPts val="600"/>
              </a:spcBef>
              <a:spcAft>
                <a:spcPts val="0"/>
              </a:spcAft>
              <a:buClr>
                <a:schemeClr val="accent1"/>
              </a:buClr>
              <a:buFont typeface="Arial" panose="020B0604020202020204" pitchFamily="34" charset="0"/>
              <a:buNone/>
              <a:defRPr sz="3000" kern="1200">
                <a:solidFill>
                  <a:schemeClr val="tx1"/>
                </a:solidFill>
                <a:latin typeface="Barlow Light" panose="00000400000000000000" pitchFamily="2" charset="0"/>
                <a:ea typeface="+mn-ea"/>
                <a:cs typeface="+mn-cs"/>
              </a:defRPr>
            </a:lvl5pPr>
            <a:lvl6pPr marL="361950" indent="-361950" algn="l" defTabSz="914400" rtl="0" eaLnBrk="1" latinLnBrk="0" hangingPunct="1">
              <a:lnSpc>
                <a:spcPct val="110000"/>
              </a:lnSpc>
              <a:spcBef>
                <a:spcPts val="600"/>
              </a:spcBef>
              <a:spcAft>
                <a:spcPts val="0"/>
              </a:spcAft>
              <a:buClr>
                <a:schemeClr val="accent1"/>
              </a:buClr>
              <a:buSzPct val="80000"/>
              <a:buFontTx/>
              <a:buBlip>
                <a:blip r:embed="rId3"/>
              </a:buBlip>
              <a:defRPr sz="2500" kern="1200">
                <a:solidFill>
                  <a:schemeClr val="tx1"/>
                </a:solidFill>
                <a:latin typeface="+mn-lt"/>
                <a:ea typeface="+mn-ea"/>
                <a:cs typeface="+mn-cs"/>
              </a:defRPr>
            </a:lvl6pPr>
            <a:lvl7pPr marL="360000" indent="-360000" algn="l" defTabSz="914400" rtl="0" eaLnBrk="1" latinLnBrk="0" hangingPunct="1">
              <a:lnSpc>
                <a:spcPct val="110000"/>
              </a:lnSpc>
              <a:spcBef>
                <a:spcPts val="600"/>
              </a:spcBef>
              <a:spcAft>
                <a:spcPts val="0"/>
              </a:spcAft>
              <a:buClr>
                <a:schemeClr val="accent1"/>
              </a:buClr>
              <a:buFont typeface="+mj-lt"/>
              <a:buAutoNum type="arabicPeriod"/>
              <a:defRPr sz="2000" kern="1200">
                <a:solidFill>
                  <a:schemeClr val="tx1"/>
                </a:solidFill>
                <a:latin typeface="+mn-lt"/>
                <a:ea typeface="+mn-ea"/>
                <a:cs typeface="+mn-cs"/>
              </a:defRPr>
            </a:lvl7pPr>
            <a:lvl8pPr marL="625475" indent="-265113" algn="l" defTabSz="914400" rtl="0" eaLnBrk="1" latinLnBrk="0" hangingPunct="1">
              <a:lnSpc>
                <a:spcPct val="110000"/>
              </a:lnSpc>
              <a:spcBef>
                <a:spcPts val="600"/>
              </a:spcBef>
              <a:spcAft>
                <a:spcPts val="0"/>
              </a:spcAft>
              <a:buClr>
                <a:schemeClr val="accent1"/>
              </a:buClr>
              <a:buSzPct val="80000"/>
              <a:buFontTx/>
              <a:buBlip>
                <a:blip r:embed="rId3"/>
              </a:buBlip>
              <a:defRPr sz="2000" kern="1200">
                <a:solidFill>
                  <a:schemeClr val="tx1"/>
                </a:solidFill>
                <a:latin typeface="+mn-lt"/>
                <a:ea typeface="+mn-ea"/>
                <a:cs typeface="+mn-cs"/>
              </a:defRPr>
            </a:lvl8pPr>
            <a:lvl9pPr marL="895350" indent="-269875" algn="l" defTabSz="914400" rtl="0" eaLnBrk="1" latinLnBrk="0" hangingPunct="1">
              <a:lnSpc>
                <a:spcPct val="110000"/>
              </a:lnSpc>
              <a:spcBef>
                <a:spcPts val="600"/>
              </a:spcBef>
              <a:spcAft>
                <a:spcPts val="0"/>
              </a:spcAft>
              <a:buClr>
                <a:schemeClr val="accent1"/>
              </a:buClr>
              <a:buSzPct val="80000"/>
              <a:buFontTx/>
              <a:buBlip>
                <a:blip r:embed="rId3"/>
              </a:buBlip>
              <a:defRPr sz="2000" kern="1200">
                <a:solidFill>
                  <a:schemeClr val="tx1"/>
                </a:solidFill>
                <a:latin typeface="+mn-lt"/>
                <a:ea typeface="+mn-ea"/>
                <a:cs typeface="+mn-cs"/>
              </a:defRPr>
            </a:lvl9pPr>
          </a:lstStyle>
          <a:p>
            <a:pPr lvl="5"/>
            <a:r>
              <a:rPr lang="en-US" dirty="0">
                <a:ea typeface="+mn-lt"/>
                <a:cs typeface="+mn-lt"/>
              </a:rPr>
              <a:t>The Secure Inbox will display all of the user’s submitted details and the messages that have been added to the case by the compliance team. The user can respond to the message on the Correspondence tab.</a:t>
            </a:r>
          </a:p>
        </p:txBody>
      </p:sp>
    </p:spTree>
    <p:extLst>
      <p:ext uri="{BB962C8B-B14F-4D97-AF65-F5344CB8AC3E}">
        <p14:creationId xmlns:p14="http://schemas.microsoft.com/office/powerpoint/2010/main" val="6158500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p:cNvSpPr>
            <a:spLocks noGrp="1"/>
          </p:cNvSpPr>
          <p:nvPr>
            <p:ph type="body" idx="1"/>
          </p:nvPr>
        </p:nvSpPr>
        <p:spPr bwMode="gray">
          <a:xfrm>
            <a:off x="1092200" y="1412875"/>
            <a:ext cx="5111750" cy="4356385"/>
          </a:xfrm>
        </p:spPr>
        <p:txBody>
          <a:bodyPr/>
          <a:lstStyle/>
          <a:p>
            <a:r>
              <a:rPr lang="en-US" dirty="0">
                <a:latin typeface="Barlow ExtraBold"/>
              </a:rPr>
              <a:t>Call Us</a:t>
            </a:r>
            <a:endParaRPr lang="en-US" dirty="0"/>
          </a:p>
        </p:txBody>
      </p:sp>
      <p:sp>
        <p:nvSpPr>
          <p:cNvPr id="8" name="Textplatzhalter 7"/>
          <p:cNvSpPr>
            <a:spLocks noGrp="1"/>
          </p:cNvSpPr>
          <p:nvPr>
            <p:ph type="body" sz="quarter" idx="4294967295"/>
          </p:nvPr>
        </p:nvSpPr>
        <p:spPr bwMode="gray">
          <a:xfrm>
            <a:off x="7583488" y="6381750"/>
            <a:ext cx="4608512" cy="287338"/>
          </a:xfrm>
          <a:prstGeom prst="rect">
            <a:avLst/>
          </a:prstGeom>
        </p:spPr>
        <p:txBody>
          <a:bodyPr>
            <a:normAutofit fontScale="92500"/>
          </a:bodyPr>
          <a:lstStyle/>
          <a:p>
            <a:r>
              <a:rPr lang="de-DE"/>
              <a:t> </a:t>
            </a:r>
            <a:endParaRPr lang="de-DE" dirty="0"/>
          </a:p>
        </p:txBody>
      </p:sp>
      <p:sp>
        <p:nvSpPr>
          <p:cNvPr id="16" name="Titel 15">
            <a:extLst>
              <a:ext uri="{FF2B5EF4-FFF2-40B4-BE49-F238E27FC236}">
                <a16:creationId xmlns:a16="http://schemas.microsoft.com/office/drawing/2014/main" id="{DC9E300B-8212-1D3E-D812-4DA0049EAF51}"/>
              </a:ext>
            </a:extLst>
          </p:cNvPr>
          <p:cNvSpPr>
            <a:spLocks noGrp="1"/>
          </p:cNvSpPr>
          <p:nvPr>
            <p:ph type="title"/>
          </p:nvPr>
        </p:nvSpPr>
        <p:spPr/>
        <p:txBody>
          <a:bodyPr/>
          <a:lstStyle/>
          <a:p>
            <a:r>
              <a:rPr lang="de-DE" dirty="0">
                <a:latin typeface="Barlow ExtraBold"/>
              </a:rPr>
              <a:t>05</a:t>
            </a:r>
            <a:endParaRPr lang="de-DE" dirty="0"/>
          </a:p>
        </p:txBody>
      </p:sp>
    </p:spTree>
    <p:extLst>
      <p:ext uri="{BB962C8B-B14F-4D97-AF65-F5344CB8AC3E}">
        <p14:creationId xmlns:p14="http://schemas.microsoft.com/office/powerpoint/2010/main" val="395473223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213FBC0-7D7E-D048-4365-FAE467D24B92}"/>
            </a:ext>
          </a:extLst>
        </p:cNvPr>
        <p:cNvGrpSpPr/>
        <p:nvPr/>
      </p:nvGrpSpPr>
      <p:grpSpPr>
        <a:xfrm>
          <a:off x="0" y="0"/>
          <a:ext cx="0" cy="0"/>
          <a:chOff x="0" y="0"/>
          <a:chExt cx="0" cy="0"/>
        </a:xfrm>
      </p:grpSpPr>
      <p:sp>
        <p:nvSpPr>
          <p:cNvPr id="5" name="Textplatzhalter 4">
            <a:extLst>
              <a:ext uri="{FF2B5EF4-FFF2-40B4-BE49-F238E27FC236}">
                <a16:creationId xmlns:a16="http://schemas.microsoft.com/office/drawing/2014/main" id="{A7711D98-6544-1748-ACF7-C00B0C1C0A17}"/>
              </a:ext>
            </a:extLst>
          </p:cNvPr>
          <p:cNvSpPr>
            <a:spLocks noGrp="1"/>
          </p:cNvSpPr>
          <p:nvPr>
            <p:ph type="body" sz="quarter" idx="12"/>
          </p:nvPr>
        </p:nvSpPr>
        <p:spPr bwMode="gray">
          <a:xfrm>
            <a:off x="1092200" y="2276872"/>
            <a:ext cx="10007600" cy="3781028"/>
          </a:xfrm>
        </p:spPr>
        <p:txBody>
          <a:bodyPr vert="horz" wrap="square" lIns="0" tIns="0" rIns="0" bIns="0" numCol="1" spcCol="432000" rtlCol="0" anchor="t">
            <a:normAutofit/>
          </a:bodyPr>
          <a:lstStyle/>
          <a:p>
            <a:r>
              <a:rPr lang="en-US" dirty="0"/>
              <a:t>Making a Report</a:t>
            </a:r>
          </a:p>
          <a:p>
            <a:r>
              <a:rPr lang="en-US" dirty="0"/>
              <a:t>Creating a Password</a:t>
            </a:r>
            <a:r>
              <a:rPr lang="en-US" b="0" dirty="0"/>
              <a:t>			</a:t>
            </a:r>
            <a:endParaRPr lang="en-US" dirty="0"/>
          </a:p>
          <a:p>
            <a:r>
              <a:rPr lang="en-US" dirty="0"/>
              <a:t>Obtaining Case ID</a:t>
            </a:r>
          </a:p>
          <a:p>
            <a:r>
              <a:rPr lang="en-US" dirty="0"/>
              <a:t>Accessing a Case</a:t>
            </a:r>
          </a:p>
          <a:p>
            <a:r>
              <a:rPr lang="en-US" dirty="0"/>
              <a:t>Call Us</a:t>
            </a:r>
          </a:p>
        </p:txBody>
      </p:sp>
      <p:sp>
        <p:nvSpPr>
          <p:cNvPr id="2" name="Titel 1">
            <a:extLst>
              <a:ext uri="{FF2B5EF4-FFF2-40B4-BE49-F238E27FC236}">
                <a16:creationId xmlns:a16="http://schemas.microsoft.com/office/drawing/2014/main" id="{A51608D0-83B2-81F8-C46B-A9F9DFA0FD91}"/>
              </a:ext>
            </a:extLst>
          </p:cNvPr>
          <p:cNvSpPr>
            <a:spLocks noGrp="1"/>
          </p:cNvSpPr>
          <p:nvPr>
            <p:ph type="title"/>
          </p:nvPr>
        </p:nvSpPr>
        <p:spPr bwMode="gray">
          <a:xfrm>
            <a:off x="1092200" y="772324"/>
            <a:ext cx="10007600" cy="604039"/>
          </a:xfrm>
        </p:spPr>
        <p:txBody>
          <a:bodyPr/>
          <a:lstStyle/>
          <a:p>
            <a:r>
              <a:rPr lang="de-DE"/>
              <a:t>Contents</a:t>
            </a:r>
          </a:p>
        </p:txBody>
      </p:sp>
      <p:sp>
        <p:nvSpPr>
          <p:cNvPr id="10" name="Textplatzhalter 9">
            <a:extLst>
              <a:ext uri="{FF2B5EF4-FFF2-40B4-BE49-F238E27FC236}">
                <a16:creationId xmlns:a16="http://schemas.microsoft.com/office/drawing/2014/main" id="{0432F557-72B9-0C51-22D1-766536E9F32C}"/>
              </a:ext>
            </a:extLst>
          </p:cNvPr>
          <p:cNvSpPr>
            <a:spLocks noGrp="1"/>
          </p:cNvSpPr>
          <p:nvPr>
            <p:ph type="body" sz="quarter" idx="4294967295"/>
          </p:nvPr>
        </p:nvSpPr>
        <p:spPr bwMode="gray">
          <a:xfrm>
            <a:off x="11663363" y="296863"/>
            <a:ext cx="528637" cy="287337"/>
          </a:xfrm>
        </p:spPr>
        <p:txBody>
          <a:bodyPr>
            <a:normAutofit fontScale="92500" lnSpcReduction="20000"/>
          </a:bodyPr>
          <a:lstStyle/>
          <a:p>
            <a:r>
              <a:rPr lang="de-DE"/>
              <a:t> </a:t>
            </a:r>
          </a:p>
        </p:txBody>
      </p:sp>
      <p:sp>
        <p:nvSpPr>
          <p:cNvPr id="7" name="Slide Number Placeholder 6">
            <a:extLst>
              <a:ext uri="{FF2B5EF4-FFF2-40B4-BE49-F238E27FC236}">
                <a16:creationId xmlns:a16="http://schemas.microsoft.com/office/drawing/2014/main" id="{C073A162-268B-F8F5-0EAE-9B2070FEF042}"/>
              </a:ext>
            </a:extLst>
          </p:cNvPr>
          <p:cNvSpPr>
            <a:spLocks noGrp="1"/>
          </p:cNvSpPr>
          <p:nvPr>
            <p:ph type="sldNum" sz="quarter" idx="14"/>
          </p:nvPr>
        </p:nvSpPr>
        <p:spPr/>
        <p:txBody>
          <a:bodyPr/>
          <a:lstStyle/>
          <a:p>
            <a:fld id="{44661A95-0089-4306-9485-D330C59FE3ED}" type="slidenum">
              <a:rPr lang="de-DE" smtClean="0"/>
              <a:pPr/>
              <a:t>2</a:t>
            </a:fld>
            <a:endParaRPr lang="de-DE"/>
          </a:p>
        </p:txBody>
      </p:sp>
    </p:spTree>
    <p:extLst>
      <p:ext uri="{BB962C8B-B14F-4D97-AF65-F5344CB8AC3E}">
        <p14:creationId xmlns:p14="http://schemas.microsoft.com/office/powerpoint/2010/main" val="236723624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descr="A screenshot of a phone call&#10;&#10;AI-generated content may be incorrect.">
            <a:extLst>
              <a:ext uri="{FF2B5EF4-FFF2-40B4-BE49-F238E27FC236}">
                <a16:creationId xmlns:a16="http://schemas.microsoft.com/office/drawing/2014/main" id="{CB356E32-F8AC-F464-5045-2B70C5D82A3A}"/>
              </a:ext>
            </a:extLst>
          </p:cNvPr>
          <p:cNvPicPr>
            <a:picLocks noChangeAspect="1"/>
          </p:cNvPicPr>
          <p:nvPr/>
        </p:nvPicPr>
        <p:blipFill>
          <a:blip r:embed="rId2"/>
          <a:stretch>
            <a:fillRect/>
          </a:stretch>
        </p:blipFill>
        <p:spPr>
          <a:xfrm>
            <a:off x="6616582" y="2192944"/>
            <a:ext cx="4233010" cy="3240060"/>
          </a:xfrm>
          <a:prstGeom prst="rect">
            <a:avLst/>
          </a:prstGeom>
          <a:noFill/>
        </p:spPr>
      </p:pic>
      <p:sp>
        <p:nvSpPr>
          <p:cNvPr id="4" name="Title 3">
            <a:extLst>
              <a:ext uri="{FF2B5EF4-FFF2-40B4-BE49-F238E27FC236}">
                <a16:creationId xmlns:a16="http://schemas.microsoft.com/office/drawing/2014/main" id="{D3C85248-A032-6F09-D36F-3ED8DE3DE017}"/>
              </a:ext>
            </a:extLst>
          </p:cNvPr>
          <p:cNvSpPr>
            <a:spLocks noGrp="1"/>
          </p:cNvSpPr>
          <p:nvPr>
            <p:ph type="title"/>
          </p:nvPr>
        </p:nvSpPr>
        <p:spPr>
          <a:xfrm>
            <a:off x="1092200" y="789687"/>
            <a:ext cx="10007600" cy="604039"/>
          </a:xfrm>
        </p:spPr>
        <p:txBody>
          <a:bodyPr anchor="t">
            <a:normAutofit/>
          </a:bodyPr>
          <a:lstStyle/>
          <a:p>
            <a:r>
              <a:rPr lang="en-GB"/>
              <a:t>Call Us</a:t>
            </a:r>
          </a:p>
        </p:txBody>
      </p:sp>
      <p:sp>
        <p:nvSpPr>
          <p:cNvPr id="6" name="Slide Number Placeholder 5">
            <a:extLst>
              <a:ext uri="{FF2B5EF4-FFF2-40B4-BE49-F238E27FC236}">
                <a16:creationId xmlns:a16="http://schemas.microsoft.com/office/drawing/2014/main" id="{7574F924-FFB4-6F98-4BBB-F39AA708071A}"/>
              </a:ext>
            </a:extLst>
          </p:cNvPr>
          <p:cNvSpPr>
            <a:spLocks noGrp="1"/>
          </p:cNvSpPr>
          <p:nvPr>
            <p:ph type="sldNum" sz="quarter" idx="13"/>
          </p:nvPr>
        </p:nvSpPr>
        <p:spPr>
          <a:xfrm>
            <a:off x="11526329" y="6198777"/>
            <a:ext cx="665672" cy="659223"/>
          </a:xfrm>
        </p:spPr>
        <p:txBody>
          <a:bodyPr wrap="square" anchor="b">
            <a:normAutofit/>
          </a:bodyPr>
          <a:lstStyle/>
          <a:p>
            <a:pPr>
              <a:spcAft>
                <a:spcPts val="600"/>
              </a:spcAft>
            </a:pPr>
            <a:fld id="{44661A95-0089-4306-9485-D330C59FE3ED}" type="slidenum">
              <a:rPr lang="de-DE" smtClean="0"/>
              <a:pPr>
                <a:spcAft>
                  <a:spcPts val="600"/>
                </a:spcAft>
              </a:pPr>
              <a:t>20</a:t>
            </a:fld>
            <a:endParaRPr lang="de-DE"/>
          </a:p>
        </p:txBody>
      </p:sp>
      <p:sp>
        <p:nvSpPr>
          <p:cNvPr id="8" name="Inhaltsplatzhalter 5">
            <a:extLst>
              <a:ext uri="{FF2B5EF4-FFF2-40B4-BE49-F238E27FC236}">
                <a16:creationId xmlns:a16="http://schemas.microsoft.com/office/drawing/2014/main" id="{635AC012-752F-D627-38A9-867090006E8A}"/>
              </a:ext>
            </a:extLst>
          </p:cNvPr>
          <p:cNvSpPr txBox="1">
            <a:spLocks/>
          </p:cNvSpPr>
          <p:nvPr/>
        </p:nvSpPr>
        <p:spPr bwMode="gray">
          <a:xfrm>
            <a:off x="1092200" y="2312876"/>
            <a:ext cx="5009638" cy="3745024"/>
          </a:xfrm>
          <a:prstGeom prst="rect">
            <a:avLst/>
          </a:prstGeom>
        </p:spPr>
        <p:txBody>
          <a:bodyPr vert="horz" lIns="0" tIns="0" rIns="0" bIns="0" rtlCol="0" anchor="t">
            <a:normAutofit fontScale="85000" lnSpcReduction="10000"/>
          </a:bodyPr>
          <a:lstStyle>
            <a:lvl1pPr marL="0" indent="0" algn="l" defTabSz="914400" rtl="0" eaLnBrk="1" latinLnBrk="0" hangingPunct="1">
              <a:lnSpc>
                <a:spcPct val="110000"/>
              </a:lnSpc>
              <a:spcBef>
                <a:spcPts val="600"/>
              </a:spcBef>
              <a:spcAft>
                <a:spcPts val="0"/>
              </a:spcAft>
              <a:buFont typeface="Arial" panose="020B0604020202020204" pitchFamily="34" charset="0"/>
              <a:buNone/>
              <a:defRPr sz="2000" b="0" kern="1200">
                <a:solidFill>
                  <a:schemeClr val="tx1"/>
                </a:solidFill>
                <a:latin typeface="+mj-lt"/>
                <a:ea typeface="+mn-ea"/>
                <a:cs typeface="+mn-cs"/>
              </a:defRPr>
            </a:lvl1pPr>
            <a:lvl2pPr marL="0" indent="0" algn="l" defTabSz="914400" rtl="0" eaLnBrk="1" latinLnBrk="0" hangingPunct="1">
              <a:lnSpc>
                <a:spcPct val="110000"/>
              </a:lnSpc>
              <a:spcBef>
                <a:spcPts val="600"/>
              </a:spcBef>
              <a:spcAft>
                <a:spcPts val="0"/>
              </a:spcAft>
              <a:buFont typeface="Arial" panose="020B0604020202020204" pitchFamily="34" charset="0"/>
              <a:buNone/>
              <a:defRPr sz="2000" kern="1200">
                <a:solidFill>
                  <a:schemeClr val="tx1"/>
                </a:solidFill>
                <a:latin typeface="+mn-lt"/>
                <a:ea typeface="+mn-ea"/>
                <a:cs typeface="+mn-cs"/>
              </a:defRPr>
            </a:lvl2pPr>
            <a:lvl3pPr marL="269875" indent="-269875" algn="l" defTabSz="914400" rtl="0" eaLnBrk="1" latinLnBrk="0" hangingPunct="1">
              <a:lnSpc>
                <a:spcPct val="110000"/>
              </a:lnSpc>
              <a:spcBef>
                <a:spcPts val="600"/>
              </a:spcBef>
              <a:spcAft>
                <a:spcPts val="0"/>
              </a:spcAft>
              <a:buClr>
                <a:schemeClr val="accent1"/>
              </a:buClr>
              <a:buSzPct val="80000"/>
              <a:buFontTx/>
              <a:buBlip>
                <a:blip r:embed="rId3"/>
              </a:buBlip>
              <a:defRPr sz="2000" kern="1200">
                <a:solidFill>
                  <a:schemeClr val="tx1"/>
                </a:solidFill>
                <a:latin typeface="+mn-lt"/>
                <a:ea typeface="+mn-ea"/>
                <a:cs typeface="+mn-cs"/>
              </a:defRPr>
            </a:lvl3pPr>
            <a:lvl4pPr marL="541338" indent="-271463" algn="l" defTabSz="914400" rtl="0" eaLnBrk="1" latinLnBrk="0" hangingPunct="1">
              <a:lnSpc>
                <a:spcPct val="110000"/>
              </a:lnSpc>
              <a:spcBef>
                <a:spcPts val="600"/>
              </a:spcBef>
              <a:spcAft>
                <a:spcPts val="0"/>
              </a:spcAft>
              <a:buClr>
                <a:schemeClr val="accent1"/>
              </a:buClr>
              <a:buSzPct val="80000"/>
              <a:buFontTx/>
              <a:buBlip>
                <a:blip r:embed="rId3"/>
              </a:buBlip>
              <a:defRPr sz="2000" kern="1200">
                <a:solidFill>
                  <a:schemeClr val="tx1"/>
                </a:solidFill>
                <a:latin typeface="+mn-lt"/>
                <a:ea typeface="+mn-ea"/>
                <a:cs typeface="+mn-cs"/>
              </a:defRPr>
            </a:lvl4pPr>
            <a:lvl5pPr marL="0" indent="0" algn="l" defTabSz="914400" rtl="0" eaLnBrk="1" latinLnBrk="0" hangingPunct="1">
              <a:lnSpc>
                <a:spcPct val="110000"/>
              </a:lnSpc>
              <a:spcBef>
                <a:spcPts val="600"/>
              </a:spcBef>
              <a:spcAft>
                <a:spcPts val="0"/>
              </a:spcAft>
              <a:buClr>
                <a:schemeClr val="accent1"/>
              </a:buClr>
              <a:buFont typeface="Arial" panose="020B0604020202020204" pitchFamily="34" charset="0"/>
              <a:buNone/>
              <a:defRPr sz="3000" kern="1200">
                <a:solidFill>
                  <a:schemeClr val="tx1"/>
                </a:solidFill>
                <a:latin typeface="Barlow Light" panose="00000400000000000000" pitchFamily="2" charset="0"/>
                <a:ea typeface="+mn-ea"/>
                <a:cs typeface="+mn-cs"/>
              </a:defRPr>
            </a:lvl5pPr>
            <a:lvl6pPr marL="361950" indent="-361950" algn="l" defTabSz="914400" rtl="0" eaLnBrk="1" latinLnBrk="0" hangingPunct="1">
              <a:lnSpc>
                <a:spcPct val="110000"/>
              </a:lnSpc>
              <a:spcBef>
                <a:spcPts val="600"/>
              </a:spcBef>
              <a:spcAft>
                <a:spcPts val="0"/>
              </a:spcAft>
              <a:buClr>
                <a:schemeClr val="accent1"/>
              </a:buClr>
              <a:buSzPct val="80000"/>
              <a:buFontTx/>
              <a:buBlip>
                <a:blip r:embed="rId3"/>
              </a:buBlip>
              <a:defRPr sz="2500" kern="1200">
                <a:solidFill>
                  <a:schemeClr val="tx1"/>
                </a:solidFill>
                <a:latin typeface="+mn-lt"/>
                <a:ea typeface="+mn-ea"/>
                <a:cs typeface="+mn-cs"/>
              </a:defRPr>
            </a:lvl6pPr>
            <a:lvl7pPr marL="360000" indent="-360000" algn="l" defTabSz="914400" rtl="0" eaLnBrk="1" latinLnBrk="0" hangingPunct="1">
              <a:lnSpc>
                <a:spcPct val="110000"/>
              </a:lnSpc>
              <a:spcBef>
                <a:spcPts val="600"/>
              </a:spcBef>
              <a:spcAft>
                <a:spcPts val="0"/>
              </a:spcAft>
              <a:buClr>
                <a:schemeClr val="accent1"/>
              </a:buClr>
              <a:buFont typeface="+mj-lt"/>
              <a:buAutoNum type="arabicPeriod"/>
              <a:defRPr sz="2000" kern="1200">
                <a:solidFill>
                  <a:schemeClr val="tx1"/>
                </a:solidFill>
                <a:latin typeface="+mn-lt"/>
                <a:ea typeface="+mn-ea"/>
                <a:cs typeface="+mn-cs"/>
              </a:defRPr>
            </a:lvl7pPr>
            <a:lvl8pPr marL="625475" indent="-265113" algn="l" defTabSz="914400" rtl="0" eaLnBrk="1" latinLnBrk="0" hangingPunct="1">
              <a:lnSpc>
                <a:spcPct val="110000"/>
              </a:lnSpc>
              <a:spcBef>
                <a:spcPts val="600"/>
              </a:spcBef>
              <a:spcAft>
                <a:spcPts val="0"/>
              </a:spcAft>
              <a:buClr>
                <a:schemeClr val="accent1"/>
              </a:buClr>
              <a:buSzPct val="80000"/>
              <a:buFontTx/>
              <a:buBlip>
                <a:blip r:embed="rId3"/>
              </a:buBlip>
              <a:defRPr sz="2000" kern="1200">
                <a:solidFill>
                  <a:schemeClr val="tx1"/>
                </a:solidFill>
                <a:latin typeface="+mn-lt"/>
                <a:ea typeface="+mn-ea"/>
                <a:cs typeface="+mn-cs"/>
              </a:defRPr>
            </a:lvl8pPr>
            <a:lvl9pPr marL="895350" indent="-269875" algn="l" defTabSz="914400" rtl="0" eaLnBrk="1" latinLnBrk="0" hangingPunct="1">
              <a:lnSpc>
                <a:spcPct val="110000"/>
              </a:lnSpc>
              <a:spcBef>
                <a:spcPts val="600"/>
              </a:spcBef>
              <a:spcAft>
                <a:spcPts val="0"/>
              </a:spcAft>
              <a:buClr>
                <a:schemeClr val="accent1"/>
              </a:buClr>
              <a:buSzPct val="80000"/>
              <a:buFontTx/>
              <a:buBlip>
                <a:blip r:embed="rId3"/>
              </a:buBlip>
              <a:defRPr sz="2000" kern="1200">
                <a:solidFill>
                  <a:schemeClr val="tx1"/>
                </a:solidFill>
                <a:latin typeface="+mn-lt"/>
                <a:ea typeface="+mn-ea"/>
                <a:cs typeface="+mn-cs"/>
              </a:defRPr>
            </a:lvl9pPr>
          </a:lstStyle>
          <a:p>
            <a:pPr lvl="5"/>
            <a:r>
              <a:rPr lang="en-US" dirty="0">
                <a:ea typeface="+mn-lt"/>
                <a:cs typeface="+mn-lt"/>
              </a:rPr>
              <a:t>There is also the option to make the report via the Call Us tile. Your organization will have provided you with a number – international numbers are provided as well, which will direct you to the EQS call center. The call center agent will allow you to make a report completely confidentially and they will be taking you through the exact same options that are available in the web report, just over the phone. </a:t>
            </a:r>
          </a:p>
        </p:txBody>
      </p:sp>
    </p:spTree>
    <p:extLst>
      <p:ext uri="{BB962C8B-B14F-4D97-AF65-F5344CB8AC3E}">
        <p14:creationId xmlns:p14="http://schemas.microsoft.com/office/powerpoint/2010/main" val="17969637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p:cNvSpPr>
            <a:spLocks noGrp="1"/>
          </p:cNvSpPr>
          <p:nvPr>
            <p:ph type="body" idx="1"/>
          </p:nvPr>
        </p:nvSpPr>
        <p:spPr bwMode="gray">
          <a:xfrm>
            <a:off x="1092200" y="1412875"/>
            <a:ext cx="5111750" cy="4356385"/>
          </a:xfrm>
        </p:spPr>
        <p:txBody>
          <a:bodyPr/>
          <a:lstStyle/>
          <a:p>
            <a:r>
              <a:rPr lang="de-DE" dirty="0">
                <a:latin typeface="Barlow ExtraBold"/>
              </a:rPr>
              <a:t>Making a Report</a:t>
            </a:r>
          </a:p>
        </p:txBody>
      </p:sp>
      <p:sp>
        <p:nvSpPr>
          <p:cNvPr id="8" name="Textplatzhalter 7"/>
          <p:cNvSpPr>
            <a:spLocks noGrp="1"/>
          </p:cNvSpPr>
          <p:nvPr>
            <p:ph type="body" sz="quarter" idx="4294967295"/>
          </p:nvPr>
        </p:nvSpPr>
        <p:spPr bwMode="gray">
          <a:xfrm>
            <a:off x="7583488" y="6381750"/>
            <a:ext cx="4608512" cy="287338"/>
          </a:xfrm>
          <a:prstGeom prst="rect">
            <a:avLst/>
          </a:prstGeom>
        </p:spPr>
        <p:txBody>
          <a:bodyPr>
            <a:normAutofit fontScale="92500"/>
          </a:bodyPr>
          <a:lstStyle/>
          <a:p>
            <a:r>
              <a:rPr lang="de-DE"/>
              <a:t> </a:t>
            </a:r>
            <a:endParaRPr lang="de-DE" dirty="0"/>
          </a:p>
        </p:txBody>
      </p:sp>
      <p:sp>
        <p:nvSpPr>
          <p:cNvPr id="16" name="Titel 15">
            <a:extLst>
              <a:ext uri="{FF2B5EF4-FFF2-40B4-BE49-F238E27FC236}">
                <a16:creationId xmlns:a16="http://schemas.microsoft.com/office/drawing/2014/main" id="{D11C8DD5-C7A4-D719-E187-BC6C02257F7E}"/>
              </a:ext>
            </a:extLst>
          </p:cNvPr>
          <p:cNvSpPr>
            <a:spLocks noGrp="1"/>
          </p:cNvSpPr>
          <p:nvPr>
            <p:ph type="title"/>
          </p:nvPr>
        </p:nvSpPr>
        <p:spPr/>
        <p:txBody>
          <a:bodyPr/>
          <a:lstStyle/>
          <a:p>
            <a:r>
              <a:rPr lang="de-DE"/>
              <a:t>01</a:t>
            </a:r>
          </a:p>
        </p:txBody>
      </p:sp>
    </p:spTree>
    <p:extLst>
      <p:ext uri="{BB962C8B-B14F-4D97-AF65-F5344CB8AC3E}">
        <p14:creationId xmlns:p14="http://schemas.microsoft.com/office/powerpoint/2010/main" val="36843912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Inhaltsplatzhalter 5"/>
          <p:cNvSpPr>
            <a:spLocks noGrp="1"/>
          </p:cNvSpPr>
          <p:nvPr>
            <p:ph idx="1"/>
          </p:nvPr>
        </p:nvSpPr>
        <p:spPr bwMode="gray">
          <a:xfrm>
            <a:off x="1092200" y="2312876"/>
            <a:ext cx="5009638" cy="3745024"/>
          </a:xfrm>
        </p:spPr>
        <p:txBody>
          <a:bodyPr vert="horz" lIns="0" tIns="0" rIns="0" bIns="0" rtlCol="0" anchor="t">
            <a:normAutofit fontScale="77500" lnSpcReduction="20000"/>
          </a:bodyPr>
          <a:lstStyle/>
          <a:p>
            <a:pPr lvl="5"/>
            <a:r>
              <a:rPr lang="en-US" dirty="0">
                <a:ea typeface="+mn-lt"/>
                <a:cs typeface="+mn-lt"/>
              </a:rPr>
              <a:t>Once</a:t>
            </a:r>
            <a:r>
              <a:rPr lang="en-US" dirty="0">
                <a:latin typeface="+mn-lt"/>
                <a:ea typeface="+mn-lt"/>
                <a:cs typeface="+mn-lt"/>
              </a:rPr>
              <a:t> your organization has published a branded Integrity Line, users can use the portal’s intake form to submit the details of their alleged ethics violation. This training deck outlines the submission workflow reporting parties would follow to submit their case, obtain a case ID, and create a case password.</a:t>
            </a:r>
            <a:endParaRPr lang="en-US" dirty="0">
              <a:ea typeface="+mn-lt"/>
              <a:cs typeface="+mn-lt"/>
            </a:endParaRPr>
          </a:p>
          <a:p>
            <a:pPr lvl="5"/>
            <a:r>
              <a:rPr lang="en-US" dirty="0">
                <a:ea typeface="+mn-lt"/>
                <a:cs typeface="+mn-lt"/>
              </a:rPr>
              <a:t>Completing the Intake Form </a:t>
            </a:r>
          </a:p>
          <a:p>
            <a:pPr lvl="7" indent="-267970">
              <a:buFont typeface="Wingdings"/>
              <a:buChar char="§"/>
            </a:pPr>
            <a:r>
              <a:rPr lang="en-US" dirty="0">
                <a:ea typeface="+mn-lt"/>
                <a:cs typeface="+mn-lt"/>
              </a:rPr>
              <a:t>When users first access the Integrity Line, they will be greeted by the portal’s welcome screen. New users can make a report by clicking into the </a:t>
            </a:r>
            <a:r>
              <a:rPr lang="en-US" b="1" dirty="0">
                <a:ea typeface="+mn-lt"/>
                <a:cs typeface="+mn-lt"/>
              </a:rPr>
              <a:t>“Make a report”</a:t>
            </a:r>
            <a:r>
              <a:rPr lang="en-US" dirty="0">
                <a:ea typeface="+mn-lt"/>
                <a:cs typeface="+mn-lt"/>
              </a:rPr>
              <a:t> tile. </a:t>
            </a:r>
            <a:endParaRPr lang="en-US" dirty="0"/>
          </a:p>
        </p:txBody>
      </p:sp>
      <p:sp>
        <p:nvSpPr>
          <p:cNvPr id="2" name="Titel 1"/>
          <p:cNvSpPr>
            <a:spLocks noGrp="1"/>
          </p:cNvSpPr>
          <p:nvPr>
            <p:ph type="title"/>
          </p:nvPr>
        </p:nvSpPr>
        <p:spPr bwMode="gray">
          <a:xfrm>
            <a:off x="1092200" y="789687"/>
            <a:ext cx="10007600" cy="604039"/>
          </a:xfrm>
        </p:spPr>
        <p:txBody>
          <a:bodyPr/>
          <a:lstStyle/>
          <a:p>
            <a:r>
              <a:rPr lang="en-GB" dirty="0">
                <a:latin typeface="Barlow ExtraBold"/>
              </a:rPr>
              <a:t>Making a Report</a:t>
            </a:r>
            <a:endParaRPr lang="de-DE" b="0" i="0" dirty="0">
              <a:solidFill>
                <a:srgbClr val="000000"/>
              </a:solidFill>
              <a:latin typeface="Barlow ExtraBold"/>
            </a:endParaRPr>
          </a:p>
          <a:p>
            <a:endParaRPr lang="de-DE" dirty="0"/>
          </a:p>
        </p:txBody>
      </p:sp>
      <p:sp>
        <p:nvSpPr>
          <p:cNvPr id="4" name="Slide Number Placeholder 3">
            <a:extLst>
              <a:ext uri="{FF2B5EF4-FFF2-40B4-BE49-F238E27FC236}">
                <a16:creationId xmlns:a16="http://schemas.microsoft.com/office/drawing/2014/main" id="{5D43AB3B-3F79-1F84-FE50-45B17F1B69EF}"/>
              </a:ext>
            </a:extLst>
          </p:cNvPr>
          <p:cNvSpPr>
            <a:spLocks noGrp="1"/>
          </p:cNvSpPr>
          <p:nvPr>
            <p:ph type="sldNum" sz="quarter" idx="13"/>
          </p:nvPr>
        </p:nvSpPr>
        <p:spPr>
          <a:xfrm>
            <a:off x="11526329" y="6198777"/>
            <a:ext cx="665672" cy="659223"/>
          </a:xfrm>
        </p:spPr>
        <p:txBody>
          <a:bodyPr/>
          <a:lstStyle/>
          <a:p>
            <a:fld id="{44661A95-0089-4306-9485-D330C59FE3ED}" type="slidenum">
              <a:rPr lang="de-DE" smtClean="0"/>
              <a:pPr/>
              <a:t>4</a:t>
            </a:fld>
            <a:endParaRPr lang="de-DE" dirty="0"/>
          </a:p>
        </p:txBody>
      </p:sp>
      <p:pic>
        <p:nvPicPr>
          <p:cNvPr id="7" name="Picture 6" descr="A screenshot of a computer&#10;&#10;AI-generated content may be incorrect.">
            <a:extLst>
              <a:ext uri="{FF2B5EF4-FFF2-40B4-BE49-F238E27FC236}">
                <a16:creationId xmlns:a16="http://schemas.microsoft.com/office/drawing/2014/main" id="{652859DB-D0BB-CED2-7C38-75320ABE0FC1}"/>
              </a:ext>
            </a:extLst>
          </p:cNvPr>
          <p:cNvPicPr>
            <a:picLocks noChangeAspect="1"/>
          </p:cNvPicPr>
          <p:nvPr/>
        </p:nvPicPr>
        <p:blipFill>
          <a:blip r:embed="rId3"/>
          <a:stretch>
            <a:fillRect/>
          </a:stretch>
        </p:blipFill>
        <p:spPr>
          <a:xfrm>
            <a:off x="6275388" y="2310869"/>
            <a:ext cx="4824412" cy="3654492"/>
          </a:xfrm>
          <a:prstGeom prst="rect">
            <a:avLst/>
          </a:prstGeom>
          <a:noFill/>
        </p:spPr>
      </p:pic>
    </p:spTree>
    <p:extLst>
      <p:ext uri="{BB962C8B-B14F-4D97-AF65-F5344CB8AC3E}">
        <p14:creationId xmlns:p14="http://schemas.microsoft.com/office/powerpoint/2010/main" val="131705428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7AB5589-68BD-6236-D37C-4275CF885F10}"/>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890E3F76-0C21-F4EE-22F6-8B9D09CBF579}"/>
              </a:ext>
            </a:extLst>
          </p:cNvPr>
          <p:cNvSpPr>
            <a:spLocks noGrp="1"/>
          </p:cNvSpPr>
          <p:nvPr>
            <p:ph type="title"/>
          </p:nvPr>
        </p:nvSpPr>
        <p:spPr>
          <a:xfrm>
            <a:off x="1092200" y="789687"/>
            <a:ext cx="10007600" cy="604039"/>
          </a:xfrm>
        </p:spPr>
        <p:txBody>
          <a:bodyPr anchor="t">
            <a:normAutofit/>
          </a:bodyPr>
          <a:lstStyle/>
          <a:p>
            <a:r>
              <a:rPr lang="en-GB"/>
              <a:t>Making a Report</a:t>
            </a:r>
          </a:p>
        </p:txBody>
      </p:sp>
      <p:sp>
        <p:nvSpPr>
          <p:cNvPr id="6" name="Slide Number Placeholder 5">
            <a:extLst>
              <a:ext uri="{FF2B5EF4-FFF2-40B4-BE49-F238E27FC236}">
                <a16:creationId xmlns:a16="http://schemas.microsoft.com/office/drawing/2014/main" id="{B24E5CAB-5E9E-4F7E-0D14-238B4189A215}"/>
              </a:ext>
            </a:extLst>
          </p:cNvPr>
          <p:cNvSpPr>
            <a:spLocks noGrp="1"/>
          </p:cNvSpPr>
          <p:nvPr>
            <p:ph type="sldNum" sz="quarter" idx="13"/>
          </p:nvPr>
        </p:nvSpPr>
        <p:spPr>
          <a:xfrm>
            <a:off x="11526329" y="6198777"/>
            <a:ext cx="665672" cy="659223"/>
          </a:xfrm>
        </p:spPr>
        <p:txBody>
          <a:bodyPr wrap="square" anchor="b">
            <a:normAutofit/>
          </a:bodyPr>
          <a:lstStyle/>
          <a:p>
            <a:pPr>
              <a:spcAft>
                <a:spcPts val="600"/>
              </a:spcAft>
            </a:pPr>
            <a:fld id="{44661A95-0089-4306-9485-D330C59FE3ED}" type="slidenum">
              <a:rPr lang="de-DE" smtClean="0"/>
              <a:pPr>
                <a:spcAft>
                  <a:spcPts val="600"/>
                </a:spcAft>
              </a:pPr>
              <a:t>5</a:t>
            </a:fld>
            <a:endParaRPr lang="de-DE"/>
          </a:p>
        </p:txBody>
      </p:sp>
      <p:pic>
        <p:nvPicPr>
          <p:cNvPr id="7" name="Picture 6">
            <a:extLst>
              <a:ext uri="{FF2B5EF4-FFF2-40B4-BE49-F238E27FC236}">
                <a16:creationId xmlns:a16="http://schemas.microsoft.com/office/drawing/2014/main" id="{1652C4BA-298C-56D9-59C9-F4845DF78878}"/>
              </a:ext>
            </a:extLst>
          </p:cNvPr>
          <p:cNvPicPr>
            <a:picLocks noChangeAspect="1"/>
          </p:cNvPicPr>
          <p:nvPr/>
        </p:nvPicPr>
        <p:blipFill>
          <a:blip r:embed="rId2"/>
          <a:stretch>
            <a:fillRect/>
          </a:stretch>
        </p:blipFill>
        <p:spPr>
          <a:xfrm>
            <a:off x="6522494" y="2311649"/>
            <a:ext cx="5003800" cy="3135145"/>
          </a:xfrm>
          <a:prstGeom prst="rect">
            <a:avLst/>
          </a:prstGeom>
        </p:spPr>
      </p:pic>
      <p:sp>
        <p:nvSpPr>
          <p:cNvPr id="8" name="Inhaltsplatzhalter 5">
            <a:extLst>
              <a:ext uri="{FF2B5EF4-FFF2-40B4-BE49-F238E27FC236}">
                <a16:creationId xmlns:a16="http://schemas.microsoft.com/office/drawing/2014/main" id="{27CB6147-AB7A-69A2-696F-9BCFE888AC3F}"/>
              </a:ext>
            </a:extLst>
          </p:cNvPr>
          <p:cNvSpPr txBox="1">
            <a:spLocks/>
          </p:cNvSpPr>
          <p:nvPr/>
        </p:nvSpPr>
        <p:spPr bwMode="gray">
          <a:xfrm>
            <a:off x="1092200" y="2312876"/>
            <a:ext cx="5009638" cy="3745024"/>
          </a:xfrm>
          <a:prstGeom prst="rect">
            <a:avLst/>
          </a:prstGeom>
        </p:spPr>
        <p:txBody>
          <a:bodyPr vert="horz" lIns="0" tIns="0" rIns="0" bIns="0" rtlCol="0" anchor="t">
            <a:normAutofit/>
          </a:bodyPr>
          <a:lstStyle>
            <a:lvl1pPr marL="0" indent="0" algn="l" defTabSz="914400" rtl="0" eaLnBrk="1" latinLnBrk="0" hangingPunct="1">
              <a:lnSpc>
                <a:spcPct val="110000"/>
              </a:lnSpc>
              <a:spcBef>
                <a:spcPts val="600"/>
              </a:spcBef>
              <a:spcAft>
                <a:spcPts val="0"/>
              </a:spcAft>
              <a:buFont typeface="Arial" panose="020B0604020202020204" pitchFamily="34" charset="0"/>
              <a:buNone/>
              <a:defRPr sz="2000" b="0" kern="1200">
                <a:solidFill>
                  <a:schemeClr val="tx1"/>
                </a:solidFill>
                <a:latin typeface="+mj-lt"/>
                <a:ea typeface="+mn-ea"/>
                <a:cs typeface="+mn-cs"/>
              </a:defRPr>
            </a:lvl1pPr>
            <a:lvl2pPr marL="0" indent="0" algn="l" defTabSz="914400" rtl="0" eaLnBrk="1" latinLnBrk="0" hangingPunct="1">
              <a:lnSpc>
                <a:spcPct val="110000"/>
              </a:lnSpc>
              <a:spcBef>
                <a:spcPts val="600"/>
              </a:spcBef>
              <a:spcAft>
                <a:spcPts val="0"/>
              </a:spcAft>
              <a:buFont typeface="Arial" panose="020B0604020202020204" pitchFamily="34" charset="0"/>
              <a:buNone/>
              <a:defRPr sz="2000" kern="1200">
                <a:solidFill>
                  <a:schemeClr val="tx1"/>
                </a:solidFill>
                <a:latin typeface="+mn-lt"/>
                <a:ea typeface="+mn-ea"/>
                <a:cs typeface="+mn-cs"/>
              </a:defRPr>
            </a:lvl2pPr>
            <a:lvl3pPr marL="269875" indent="-269875" algn="l" defTabSz="914400" rtl="0" eaLnBrk="1" latinLnBrk="0" hangingPunct="1">
              <a:lnSpc>
                <a:spcPct val="110000"/>
              </a:lnSpc>
              <a:spcBef>
                <a:spcPts val="600"/>
              </a:spcBef>
              <a:spcAft>
                <a:spcPts val="0"/>
              </a:spcAft>
              <a:buClr>
                <a:schemeClr val="accent1"/>
              </a:buClr>
              <a:buSzPct val="80000"/>
              <a:buFontTx/>
              <a:buBlip>
                <a:blip r:embed="rId3"/>
              </a:buBlip>
              <a:defRPr sz="2000" kern="1200">
                <a:solidFill>
                  <a:schemeClr val="tx1"/>
                </a:solidFill>
                <a:latin typeface="+mn-lt"/>
                <a:ea typeface="+mn-ea"/>
                <a:cs typeface="+mn-cs"/>
              </a:defRPr>
            </a:lvl3pPr>
            <a:lvl4pPr marL="541338" indent="-271463" algn="l" defTabSz="914400" rtl="0" eaLnBrk="1" latinLnBrk="0" hangingPunct="1">
              <a:lnSpc>
                <a:spcPct val="110000"/>
              </a:lnSpc>
              <a:spcBef>
                <a:spcPts val="600"/>
              </a:spcBef>
              <a:spcAft>
                <a:spcPts val="0"/>
              </a:spcAft>
              <a:buClr>
                <a:schemeClr val="accent1"/>
              </a:buClr>
              <a:buSzPct val="80000"/>
              <a:buFontTx/>
              <a:buBlip>
                <a:blip r:embed="rId3"/>
              </a:buBlip>
              <a:defRPr sz="2000" kern="1200">
                <a:solidFill>
                  <a:schemeClr val="tx1"/>
                </a:solidFill>
                <a:latin typeface="+mn-lt"/>
                <a:ea typeface="+mn-ea"/>
                <a:cs typeface="+mn-cs"/>
              </a:defRPr>
            </a:lvl4pPr>
            <a:lvl5pPr marL="0" indent="0" algn="l" defTabSz="914400" rtl="0" eaLnBrk="1" latinLnBrk="0" hangingPunct="1">
              <a:lnSpc>
                <a:spcPct val="110000"/>
              </a:lnSpc>
              <a:spcBef>
                <a:spcPts val="600"/>
              </a:spcBef>
              <a:spcAft>
                <a:spcPts val="0"/>
              </a:spcAft>
              <a:buClr>
                <a:schemeClr val="accent1"/>
              </a:buClr>
              <a:buFont typeface="Arial" panose="020B0604020202020204" pitchFamily="34" charset="0"/>
              <a:buNone/>
              <a:defRPr sz="3000" kern="1200">
                <a:solidFill>
                  <a:schemeClr val="tx1"/>
                </a:solidFill>
                <a:latin typeface="Barlow Light" panose="00000400000000000000" pitchFamily="2" charset="0"/>
                <a:ea typeface="+mn-ea"/>
                <a:cs typeface="+mn-cs"/>
              </a:defRPr>
            </a:lvl5pPr>
            <a:lvl6pPr marL="361950" indent="-361950" algn="l" defTabSz="914400" rtl="0" eaLnBrk="1" latinLnBrk="0" hangingPunct="1">
              <a:lnSpc>
                <a:spcPct val="110000"/>
              </a:lnSpc>
              <a:spcBef>
                <a:spcPts val="600"/>
              </a:spcBef>
              <a:spcAft>
                <a:spcPts val="0"/>
              </a:spcAft>
              <a:buClr>
                <a:schemeClr val="accent1"/>
              </a:buClr>
              <a:buSzPct val="80000"/>
              <a:buFontTx/>
              <a:buBlip>
                <a:blip r:embed="rId3"/>
              </a:buBlip>
              <a:defRPr sz="2500" kern="1200">
                <a:solidFill>
                  <a:schemeClr val="tx1"/>
                </a:solidFill>
                <a:latin typeface="+mn-lt"/>
                <a:ea typeface="+mn-ea"/>
                <a:cs typeface="+mn-cs"/>
              </a:defRPr>
            </a:lvl6pPr>
            <a:lvl7pPr marL="360000" indent="-360000" algn="l" defTabSz="914400" rtl="0" eaLnBrk="1" latinLnBrk="0" hangingPunct="1">
              <a:lnSpc>
                <a:spcPct val="110000"/>
              </a:lnSpc>
              <a:spcBef>
                <a:spcPts val="600"/>
              </a:spcBef>
              <a:spcAft>
                <a:spcPts val="0"/>
              </a:spcAft>
              <a:buClr>
                <a:schemeClr val="accent1"/>
              </a:buClr>
              <a:buFont typeface="+mj-lt"/>
              <a:buAutoNum type="arabicPeriod"/>
              <a:defRPr sz="2000" kern="1200">
                <a:solidFill>
                  <a:schemeClr val="tx1"/>
                </a:solidFill>
                <a:latin typeface="+mn-lt"/>
                <a:ea typeface="+mn-ea"/>
                <a:cs typeface="+mn-cs"/>
              </a:defRPr>
            </a:lvl7pPr>
            <a:lvl8pPr marL="625475" indent="-265113" algn="l" defTabSz="914400" rtl="0" eaLnBrk="1" latinLnBrk="0" hangingPunct="1">
              <a:lnSpc>
                <a:spcPct val="110000"/>
              </a:lnSpc>
              <a:spcBef>
                <a:spcPts val="600"/>
              </a:spcBef>
              <a:spcAft>
                <a:spcPts val="0"/>
              </a:spcAft>
              <a:buClr>
                <a:schemeClr val="accent1"/>
              </a:buClr>
              <a:buSzPct val="80000"/>
              <a:buFontTx/>
              <a:buBlip>
                <a:blip r:embed="rId3"/>
              </a:buBlip>
              <a:defRPr sz="2000" kern="1200">
                <a:solidFill>
                  <a:schemeClr val="tx1"/>
                </a:solidFill>
                <a:latin typeface="+mn-lt"/>
                <a:ea typeface="+mn-ea"/>
                <a:cs typeface="+mn-cs"/>
              </a:defRPr>
            </a:lvl8pPr>
            <a:lvl9pPr marL="895350" indent="-269875" algn="l" defTabSz="914400" rtl="0" eaLnBrk="1" latinLnBrk="0" hangingPunct="1">
              <a:lnSpc>
                <a:spcPct val="110000"/>
              </a:lnSpc>
              <a:spcBef>
                <a:spcPts val="600"/>
              </a:spcBef>
              <a:spcAft>
                <a:spcPts val="0"/>
              </a:spcAft>
              <a:buClr>
                <a:schemeClr val="accent1"/>
              </a:buClr>
              <a:buSzPct val="80000"/>
              <a:buFontTx/>
              <a:buBlip>
                <a:blip r:embed="rId3"/>
              </a:buBlip>
              <a:defRPr sz="2000" kern="1200">
                <a:solidFill>
                  <a:schemeClr val="tx1"/>
                </a:solidFill>
                <a:latin typeface="+mn-lt"/>
                <a:ea typeface="+mn-ea"/>
                <a:cs typeface="+mn-cs"/>
              </a:defRPr>
            </a:lvl9pPr>
          </a:lstStyle>
          <a:p>
            <a:pPr lvl="5"/>
            <a:r>
              <a:rPr lang="en-US" dirty="0">
                <a:ea typeface="+mn-lt"/>
                <a:cs typeface="+mn-lt"/>
              </a:rPr>
              <a:t>Language Selection </a:t>
            </a:r>
            <a:endParaRPr lang="en-US">
              <a:ea typeface="+mn-lt"/>
              <a:cs typeface="+mn-lt"/>
            </a:endParaRPr>
          </a:p>
          <a:p>
            <a:pPr lvl="7" indent="-264795">
              <a:buFont typeface="Wingdings"/>
              <a:buChar char="§"/>
            </a:pPr>
            <a:r>
              <a:rPr lang="en-US" dirty="0">
                <a:ea typeface="+mn-lt"/>
                <a:cs typeface="+mn-lt"/>
              </a:rPr>
              <a:t>Please note, on the welcome screen, the user can also select the language they wish to report in. The language drop down will only appear if there is more than one intake language enabled.</a:t>
            </a:r>
            <a:endParaRPr lang="en-US"/>
          </a:p>
        </p:txBody>
      </p:sp>
    </p:spTree>
    <p:extLst>
      <p:ext uri="{BB962C8B-B14F-4D97-AF65-F5344CB8AC3E}">
        <p14:creationId xmlns:p14="http://schemas.microsoft.com/office/powerpoint/2010/main" val="84235513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0" name="Picture 2" descr="A screenshot of a computer&#10;&#10;AI-generated content may be incorrect., Picture">
            <a:extLst>
              <a:ext uri="{FF2B5EF4-FFF2-40B4-BE49-F238E27FC236}">
                <a16:creationId xmlns:a16="http://schemas.microsoft.com/office/drawing/2014/main" id="{AE05B44C-6C33-D791-9284-4EB043D7233B}"/>
              </a:ext>
            </a:extLst>
          </p:cNvPr>
          <p:cNvPicPr>
            <a:picLocks noGrp="1" noChangeAspect="1" noChangeArrowheads="1"/>
          </p:cNvPicPr>
          <p:nvPr>
            <p:ph sz="half" idx="2"/>
          </p:nvPr>
        </p:nvPicPr>
        <p:blipFill>
          <a:blip r:embed="rId2">
            <a:extLst>
              <a:ext uri="{28A0092B-C50C-407E-A947-70E740481C1C}">
                <a14:useLocalDpi xmlns:a14="http://schemas.microsoft.com/office/drawing/2010/main" val="0"/>
              </a:ext>
            </a:extLst>
          </a:blip>
          <a:stretch>
            <a:fillRect/>
          </a:stretch>
        </p:blipFill>
        <p:spPr bwMode="auto">
          <a:xfrm>
            <a:off x="6275987" y="2312634"/>
            <a:ext cx="4824412" cy="1519690"/>
          </a:xfrm>
          <a:prstGeom prst="rect">
            <a:avLst/>
          </a:prstGeom>
          <a:solidFill>
            <a:srgbClr val="FFFFFF"/>
          </a:solidFill>
        </p:spPr>
      </p:pic>
      <p:sp>
        <p:nvSpPr>
          <p:cNvPr id="2055" name="Title 4">
            <a:extLst>
              <a:ext uri="{FF2B5EF4-FFF2-40B4-BE49-F238E27FC236}">
                <a16:creationId xmlns:a16="http://schemas.microsoft.com/office/drawing/2014/main" id="{2180BA6C-853F-0E10-EC77-1765E7D75FEB}"/>
              </a:ext>
            </a:extLst>
          </p:cNvPr>
          <p:cNvSpPr>
            <a:spLocks noGrp="1"/>
          </p:cNvSpPr>
          <p:nvPr>
            <p:ph type="title"/>
          </p:nvPr>
        </p:nvSpPr>
        <p:spPr>
          <a:xfrm>
            <a:off x="1092200" y="789687"/>
            <a:ext cx="10007600" cy="604039"/>
          </a:xfrm>
        </p:spPr>
        <p:txBody>
          <a:bodyPr/>
          <a:lstStyle/>
          <a:p>
            <a:r>
              <a:rPr lang="en-US"/>
              <a:t>Making a Report</a:t>
            </a:r>
          </a:p>
        </p:txBody>
      </p:sp>
      <p:sp>
        <p:nvSpPr>
          <p:cNvPr id="7" name="Slide Number Placeholder 6">
            <a:extLst>
              <a:ext uri="{FF2B5EF4-FFF2-40B4-BE49-F238E27FC236}">
                <a16:creationId xmlns:a16="http://schemas.microsoft.com/office/drawing/2014/main" id="{256CC554-B9DD-3EC6-FA4B-F9BDEFAA8E6C}"/>
              </a:ext>
            </a:extLst>
          </p:cNvPr>
          <p:cNvSpPr>
            <a:spLocks noGrp="1"/>
          </p:cNvSpPr>
          <p:nvPr>
            <p:ph type="sldNum" sz="quarter" idx="13"/>
          </p:nvPr>
        </p:nvSpPr>
        <p:spPr>
          <a:xfrm>
            <a:off x="11526329" y="6198777"/>
            <a:ext cx="665672" cy="659223"/>
          </a:xfrm>
        </p:spPr>
        <p:txBody>
          <a:bodyPr wrap="square" anchor="b">
            <a:normAutofit/>
          </a:bodyPr>
          <a:lstStyle/>
          <a:p>
            <a:pPr>
              <a:spcAft>
                <a:spcPts val="600"/>
              </a:spcAft>
            </a:pPr>
            <a:fld id="{44661A95-0089-4306-9485-D330C59FE3ED}" type="slidenum">
              <a:rPr lang="de-DE" smtClean="0"/>
              <a:pPr>
                <a:spcAft>
                  <a:spcPts val="600"/>
                </a:spcAft>
              </a:pPr>
              <a:t>6</a:t>
            </a:fld>
            <a:endParaRPr lang="de-DE"/>
          </a:p>
        </p:txBody>
      </p:sp>
      <p:sp>
        <p:nvSpPr>
          <p:cNvPr id="5" name="Inhaltsplatzhalter 5">
            <a:extLst>
              <a:ext uri="{FF2B5EF4-FFF2-40B4-BE49-F238E27FC236}">
                <a16:creationId xmlns:a16="http://schemas.microsoft.com/office/drawing/2014/main" id="{11B4FA88-7A9F-7F59-5163-1131FD8BC0D3}"/>
              </a:ext>
            </a:extLst>
          </p:cNvPr>
          <p:cNvSpPr txBox="1">
            <a:spLocks/>
          </p:cNvSpPr>
          <p:nvPr/>
        </p:nvSpPr>
        <p:spPr bwMode="gray">
          <a:xfrm>
            <a:off x="1092200" y="2312876"/>
            <a:ext cx="5009638" cy="3745024"/>
          </a:xfrm>
          <a:prstGeom prst="rect">
            <a:avLst/>
          </a:prstGeom>
        </p:spPr>
        <p:txBody>
          <a:bodyPr vert="horz" lIns="0" tIns="0" rIns="0" bIns="0" rtlCol="0" anchor="t">
            <a:normAutofit/>
          </a:bodyPr>
          <a:lstStyle>
            <a:lvl1pPr marL="0" indent="0" algn="l" defTabSz="914400" rtl="0" eaLnBrk="1" latinLnBrk="0" hangingPunct="1">
              <a:lnSpc>
                <a:spcPct val="110000"/>
              </a:lnSpc>
              <a:spcBef>
                <a:spcPts val="600"/>
              </a:spcBef>
              <a:spcAft>
                <a:spcPts val="0"/>
              </a:spcAft>
              <a:buFont typeface="Arial" panose="020B0604020202020204" pitchFamily="34" charset="0"/>
              <a:buNone/>
              <a:defRPr sz="2000" b="0" kern="1200">
                <a:solidFill>
                  <a:schemeClr val="tx1"/>
                </a:solidFill>
                <a:latin typeface="+mj-lt"/>
                <a:ea typeface="+mn-ea"/>
                <a:cs typeface="+mn-cs"/>
              </a:defRPr>
            </a:lvl1pPr>
            <a:lvl2pPr marL="0" indent="0" algn="l" defTabSz="914400" rtl="0" eaLnBrk="1" latinLnBrk="0" hangingPunct="1">
              <a:lnSpc>
                <a:spcPct val="110000"/>
              </a:lnSpc>
              <a:spcBef>
                <a:spcPts val="600"/>
              </a:spcBef>
              <a:spcAft>
                <a:spcPts val="0"/>
              </a:spcAft>
              <a:buFont typeface="Arial" panose="020B0604020202020204" pitchFamily="34" charset="0"/>
              <a:buNone/>
              <a:defRPr sz="2000" kern="1200">
                <a:solidFill>
                  <a:schemeClr val="tx1"/>
                </a:solidFill>
                <a:latin typeface="+mn-lt"/>
                <a:ea typeface="+mn-ea"/>
                <a:cs typeface="+mn-cs"/>
              </a:defRPr>
            </a:lvl2pPr>
            <a:lvl3pPr marL="269875" indent="-269875" algn="l" defTabSz="914400" rtl="0" eaLnBrk="1" latinLnBrk="0" hangingPunct="1">
              <a:lnSpc>
                <a:spcPct val="110000"/>
              </a:lnSpc>
              <a:spcBef>
                <a:spcPts val="600"/>
              </a:spcBef>
              <a:spcAft>
                <a:spcPts val="0"/>
              </a:spcAft>
              <a:buClr>
                <a:schemeClr val="accent1"/>
              </a:buClr>
              <a:buSzPct val="80000"/>
              <a:buFontTx/>
              <a:buBlip>
                <a:blip r:embed="rId3"/>
              </a:buBlip>
              <a:defRPr sz="2000" kern="1200">
                <a:solidFill>
                  <a:schemeClr val="tx1"/>
                </a:solidFill>
                <a:latin typeface="+mn-lt"/>
                <a:ea typeface="+mn-ea"/>
                <a:cs typeface="+mn-cs"/>
              </a:defRPr>
            </a:lvl3pPr>
            <a:lvl4pPr marL="541338" indent="-271463" algn="l" defTabSz="914400" rtl="0" eaLnBrk="1" latinLnBrk="0" hangingPunct="1">
              <a:lnSpc>
                <a:spcPct val="110000"/>
              </a:lnSpc>
              <a:spcBef>
                <a:spcPts val="600"/>
              </a:spcBef>
              <a:spcAft>
                <a:spcPts val="0"/>
              </a:spcAft>
              <a:buClr>
                <a:schemeClr val="accent1"/>
              </a:buClr>
              <a:buSzPct val="80000"/>
              <a:buFontTx/>
              <a:buBlip>
                <a:blip r:embed="rId3"/>
              </a:buBlip>
              <a:defRPr sz="2000" kern="1200">
                <a:solidFill>
                  <a:schemeClr val="tx1"/>
                </a:solidFill>
                <a:latin typeface="+mn-lt"/>
                <a:ea typeface="+mn-ea"/>
                <a:cs typeface="+mn-cs"/>
              </a:defRPr>
            </a:lvl4pPr>
            <a:lvl5pPr marL="0" indent="0" algn="l" defTabSz="914400" rtl="0" eaLnBrk="1" latinLnBrk="0" hangingPunct="1">
              <a:lnSpc>
                <a:spcPct val="110000"/>
              </a:lnSpc>
              <a:spcBef>
                <a:spcPts val="600"/>
              </a:spcBef>
              <a:spcAft>
                <a:spcPts val="0"/>
              </a:spcAft>
              <a:buClr>
                <a:schemeClr val="accent1"/>
              </a:buClr>
              <a:buFont typeface="Arial" panose="020B0604020202020204" pitchFamily="34" charset="0"/>
              <a:buNone/>
              <a:defRPr sz="3000" kern="1200">
                <a:solidFill>
                  <a:schemeClr val="tx1"/>
                </a:solidFill>
                <a:latin typeface="Barlow Light" panose="00000400000000000000" pitchFamily="2" charset="0"/>
                <a:ea typeface="+mn-ea"/>
                <a:cs typeface="+mn-cs"/>
              </a:defRPr>
            </a:lvl5pPr>
            <a:lvl6pPr marL="361950" indent="-361950" algn="l" defTabSz="914400" rtl="0" eaLnBrk="1" latinLnBrk="0" hangingPunct="1">
              <a:lnSpc>
                <a:spcPct val="110000"/>
              </a:lnSpc>
              <a:spcBef>
                <a:spcPts val="600"/>
              </a:spcBef>
              <a:spcAft>
                <a:spcPts val="0"/>
              </a:spcAft>
              <a:buClr>
                <a:schemeClr val="accent1"/>
              </a:buClr>
              <a:buSzPct val="80000"/>
              <a:buFontTx/>
              <a:buBlip>
                <a:blip r:embed="rId3"/>
              </a:buBlip>
              <a:defRPr sz="2500" kern="1200">
                <a:solidFill>
                  <a:schemeClr val="tx1"/>
                </a:solidFill>
                <a:latin typeface="+mn-lt"/>
                <a:ea typeface="+mn-ea"/>
                <a:cs typeface="+mn-cs"/>
              </a:defRPr>
            </a:lvl6pPr>
            <a:lvl7pPr marL="360000" indent="-360000" algn="l" defTabSz="914400" rtl="0" eaLnBrk="1" latinLnBrk="0" hangingPunct="1">
              <a:lnSpc>
                <a:spcPct val="110000"/>
              </a:lnSpc>
              <a:spcBef>
                <a:spcPts val="600"/>
              </a:spcBef>
              <a:spcAft>
                <a:spcPts val="0"/>
              </a:spcAft>
              <a:buClr>
                <a:schemeClr val="accent1"/>
              </a:buClr>
              <a:buFont typeface="+mj-lt"/>
              <a:buAutoNum type="arabicPeriod"/>
              <a:defRPr sz="2000" kern="1200">
                <a:solidFill>
                  <a:schemeClr val="tx1"/>
                </a:solidFill>
                <a:latin typeface="+mn-lt"/>
                <a:ea typeface="+mn-ea"/>
                <a:cs typeface="+mn-cs"/>
              </a:defRPr>
            </a:lvl7pPr>
            <a:lvl8pPr marL="625475" indent="-265113" algn="l" defTabSz="914400" rtl="0" eaLnBrk="1" latinLnBrk="0" hangingPunct="1">
              <a:lnSpc>
                <a:spcPct val="110000"/>
              </a:lnSpc>
              <a:spcBef>
                <a:spcPts val="600"/>
              </a:spcBef>
              <a:spcAft>
                <a:spcPts val="0"/>
              </a:spcAft>
              <a:buClr>
                <a:schemeClr val="accent1"/>
              </a:buClr>
              <a:buSzPct val="80000"/>
              <a:buFontTx/>
              <a:buBlip>
                <a:blip r:embed="rId3"/>
              </a:buBlip>
              <a:defRPr sz="2000" kern="1200">
                <a:solidFill>
                  <a:schemeClr val="tx1"/>
                </a:solidFill>
                <a:latin typeface="+mn-lt"/>
                <a:ea typeface="+mn-ea"/>
                <a:cs typeface="+mn-cs"/>
              </a:defRPr>
            </a:lvl8pPr>
            <a:lvl9pPr marL="895350" indent="-269875" algn="l" defTabSz="914400" rtl="0" eaLnBrk="1" latinLnBrk="0" hangingPunct="1">
              <a:lnSpc>
                <a:spcPct val="110000"/>
              </a:lnSpc>
              <a:spcBef>
                <a:spcPts val="600"/>
              </a:spcBef>
              <a:spcAft>
                <a:spcPts val="0"/>
              </a:spcAft>
              <a:buClr>
                <a:schemeClr val="accent1"/>
              </a:buClr>
              <a:buSzPct val="80000"/>
              <a:buFontTx/>
              <a:buBlip>
                <a:blip r:embed="rId3"/>
              </a:buBlip>
              <a:defRPr sz="2000" kern="1200">
                <a:solidFill>
                  <a:schemeClr val="tx1"/>
                </a:solidFill>
                <a:latin typeface="+mn-lt"/>
                <a:ea typeface="+mn-ea"/>
                <a:cs typeface="+mn-cs"/>
              </a:defRPr>
            </a:lvl9pPr>
          </a:lstStyle>
          <a:p>
            <a:pPr lvl="5"/>
            <a:r>
              <a:rPr lang="en-US" dirty="0">
                <a:ea typeface="+mn-lt"/>
                <a:cs typeface="+mn-lt"/>
              </a:rPr>
              <a:t>If your organization's Integrity Line is configured to ask for country, you will see this question. If not, you will go straight to describing the incident (see next slide) .</a:t>
            </a:r>
          </a:p>
        </p:txBody>
      </p:sp>
    </p:spTree>
    <p:extLst>
      <p:ext uri="{BB962C8B-B14F-4D97-AF65-F5344CB8AC3E}">
        <p14:creationId xmlns:p14="http://schemas.microsoft.com/office/powerpoint/2010/main" val="367941842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DAFEE2-798E-1B48-35C0-E1A1B85DC8D3}"/>
            </a:ext>
          </a:extLst>
        </p:cNvPr>
        <p:cNvGrpSpPr/>
        <p:nvPr/>
      </p:nvGrpSpPr>
      <p:grpSpPr>
        <a:xfrm>
          <a:off x="0" y="0"/>
          <a:ext cx="0" cy="0"/>
          <a:chOff x="0" y="0"/>
          <a:chExt cx="0" cy="0"/>
        </a:xfrm>
      </p:grpSpPr>
      <p:pic>
        <p:nvPicPr>
          <p:cNvPr id="7" name="Picture 6" descr="A screenshot of a computer&#10;&#10;AI-generated content may be incorrect.">
            <a:extLst>
              <a:ext uri="{FF2B5EF4-FFF2-40B4-BE49-F238E27FC236}">
                <a16:creationId xmlns:a16="http://schemas.microsoft.com/office/drawing/2014/main" id="{092CC6CA-4B3D-B8FC-68AB-8213A46DC124}"/>
              </a:ext>
            </a:extLst>
          </p:cNvPr>
          <p:cNvPicPr>
            <a:picLocks noChangeAspect="1"/>
          </p:cNvPicPr>
          <p:nvPr/>
        </p:nvPicPr>
        <p:blipFill>
          <a:blip r:embed="rId2"/>
          <a:stretch>
            <a:fillRect/>
          </a:stretch>
        </p:blipFill>
        <p:spPr>
          <a:xfrm>
            <a:off x="6458987" y="2312988"/>
            <a:ext cx="4184259" cy="3744912"/>
          </a:xfrm>
          <a:prstGeom prst="rect">
            <a:avLst/>
          </a:prstGeom>
          <a:noFill/>
        </p:spPr>
      </p:pic>
      <p:sp>
        <p:nvSpPr>
          <p:cNvPr id="27" name="Title 4">
            <a:extLst>
              <a:ext uri="{FF2B5EF4-FFF2-40B4-BE49-F238E27FC236}">
                <a16:creationId xmlns:a16="http://schemas.microsoft.com/office/drawing/2014/main" id="{F979ADCC-0AC0-ACD3-6639-1862DB9BAB31}"/>
              </a:ext>
            </a:extLst>
          </p:cNvPr>
          <p:cNvSpPr>
            <a:spLocks noGrp="1"/>
          </p:cNvSpPr>
          <p:nvPr>
            <p:ph type="title"/>
          </p:nvPr>
        </p:nvSpPr>
        <p:spPr>
          <a:xfrm>
            <a:off x="1092200" y="789687"/>
            <a:ext cx="10007600" cy="604039"/>
          </a:xfrm>
        </p:spPr>
        <p:txBody>
          <a:bodyPr/>
          <a:lstStyle/>
          <a:p>
            <a:r>
              <a:rPr lang="en-GB"/>
              <a:t>Making a Report</a:t>
            </a:r>
            <a:endParaRPr lang="en-US"/>
          </a:p>
        </p:txBody>
      </p:sp>
      <p:sp>
        <p:nvSpPr>
          <p:cNvPr id="6" name="Slide Number Placeholder 5">
            <a:extLst>
              <a:ext uri="{FF2B5EF4-FFF2-40B4-BE49-F238E27FC236}">
                <a16:creationId xmlns:a16="http://schemas.microsoft.com/office/drawing/2014/main" id="{E4ED7FEF-6F00-7EDE-5669-AB30711A237E}"/>
              </a:ext>
            </a:extLst>
          </p:cNvPr>
          <p:cNvSpPr>
            <a:spLocks noGrp="1"/>
          </p:cNvSpPr>
          <p:nvPr>
            <p:ph type="sldNum" sz="quarter" idx="13"/>
          </p:nvPr>
        </p:nvSpPr>
        <p:spPr>
          <a:xfrm>
            <a:off x="11526329" y="6198777"/>
            <a:ext cx="665672" cy="659223"/>
          </a:xfrm>
        </p:spPr>
        <p:txBody>
          <a:bodyPr wrap="square" anchor="b">
            <a:normAutofit/>
          </a:bodyPr>
          <a:lstStyle/>
          <a:p>
            <a:pPr>
              <a:spcAft>
                <a:spcPts val="600"/>
              </a:spcAft>
            </a:pPr>
            <a:fld id="{44661A95-0089-4306-9485-D330C59FE3ED}" type="slidenum">
              <a:rPr lang="de-DE" smtClean="0"/>
              <a:pPr>
                <a:spcAft>
                  <a:spcPts val="600"/>
                </a:spcAft>
              </a:pPr>
              <a:t>7</a:t>
            </a:fld>
            <a:endParaRPr lang="de-DE"/>
          </a:p>
        </p:txBody>
      </p:sp>
      <p:sp>
        <p:nvSpPr>
          <p:cNvPr id="9" name="Inhaltsplatzhalter 5">
            <a:extLst>
              <a:ext uri="{FF2B5EF4-FFF2-40B4-BE49-F238E27FC236}">
                <a16:creationId xmlns:a16="http://schemas.microsoft.com/office/drawing/2014/main" id="{3E0CA3AF-3212-1C2A-3381-4576CB897B56}"/>
              </a:ext>
            </a:extLst>
          </p:cNvPr>
          <p:cNvSpPr txBox="1">
            <a:spLocks/>
          </p:cNvSpPr>
          <p:nvPr/>
        </p:nvSpPr>
        <p:spPr bwMode="gray">
          <a:xfrm>
            <a:off x="1092200" y="2312876"/>
            <a:ext cx="5009638" cy="3745024"/>
          </a:xfrm>
          <a:prstGeom prst="rect">
            <a:avLst/>
          </a:prstGeom>
        </p:spPr>
        <p:txBody>
          <a:bodyPr vert="horz" lIns="0" tIns="0" rIns="0" bIns="0" rtlCol="0" anchor="t">
            <a:normAutofit/>
          </a:bodyPr>
          <a:lstStyle>
            <a:lvl1pPr marL="0" indent="0" algn="l" defTabSz="914400" rtl="0" eaLnBrk="1" latinLnBrk="0" hangingPunct="1">
              <a:lnSpc>
                <a:spcPct val="110000"/>
              </a:lnSpc>
              <a:spcBef>
                <a:spcPts val="600"/>
              </a:spcBef>
              <a:spcAft>
                <a:spcPts val="0"/>
              </a:spcAft>
              <a:buFont typeface="Arial" panose="020B0604020202020204" pitchFamily="34" charset="0"/>
              <a:buNone/>
              <a:defRPr sz="2000" b="0" kern="1200">
                <a:solidFill>
                  <a:schemeClr val="tx1"/>
                </a:solidFill>
                <a:latin typeface="+mj-lt"/>
                <a:ea typeface="+mn-ea"/>
                <a:cs typeface="+mn-cs"/>
              </a:defRPr>
            </a:lvl1pPr>
            <a:lvl2pPr marL="0" indent="0" algn="l" defTabSz="914400" rtl="0" eaLnBrk="1" latinLnBrk="0" hangingPunct="1">
              <a:lnSpc>
                <a:spcPct val="110000"/>
              </a:lnSpc>
              <a:spcBef>
                <a:spcPts val="600"/>
              </a:spcBef>
              <a:spcAft>
                <a:spcPts val="0"/>
              </a:spcAft>
              <a:buFont typeface="Arial" panose="020B0604020202020204" pitchFamily="34" charset="0"/>
              <a:buNone/>
              <a:defRPr sz="2000" kern="1200">
                <a:solidFill>
                  <a:schemeClr val="tx1"/>
                </a:solidFill>
                <a:latin typeface="+mn-lt"/>
                <a:ea typeface="+mn-ea"/>
                <a:cs typeface="+mn-cs"/>
              </a:defRPr>
            </a:lvl2pPr>
            <a:lvl3pPr marL="269875" indent="-269875" algn="l" defTabSz="914400" rtl="0" eaLnBrk="1" latinLnBrk="0" hangingPunct="1">
              <a:lnSpc>
                <a:spcPct val="110000"/>
              </a:lnSpc>
              <a:spcBef>
                <a:spcPts val="600"/>
              </a:spcBef>
              <a:spcAft>
                <a:spcPts val="0"/>
              </a:spcAft>
              <a:buClr>
                <a:schemeClr val="accent1"/>
              </a:buClr>
              <a:buSzPct val="80000"/>
              <a:buFontTx/>
              <a:buBlip>
                <a:blip r:embed="rId3"/>
              </a:buBlip>
              <a:defRPr sz="2000" kern="1200">
                <a:solidFill>
                  <a:schemeClr val="tx1"/>
                </a:solidFill>
                <a:latin typeface="+mn-lt"/>
                <a:ea typeface="+mn-ea"/>
                <a:cs typeface="+mn-cs"/>
              </a:defRPr>
            </a:lvl3pPr>
            <a:lvl4pPr marL="541338" indent="-271463" algn="l" defTabSz="914400" rtl="0" eaLnBrk="1" latinLnBrk="0" hangingPunct="1">
              <a:lnSpc>
                <a:spcPct val="110000"/>
              </a:lnSpc>
              <a:spcBef>
                <a:spcPts val="600"/>
              </a:spcBef>
              <a:spcAft>
                <a:spcPts val="0"/>
              </a:spcAft>
              <a:buClr>
                <a:schemeClr val="accent1"/>
              </a:buClr>
              <a:buSzPct val="80000"/>
              <a:buFontTx/>
              <a:buBlip>
                <a:blip r:embed="rId3"/>
              </a:buBlip>
              <a:defRPr sz="2000" kern="1200">
                <a:solidFill>
                  <a:schemeClr val="tx1"/>
                </a:solidFill>
                <a:latin typeface="+mn-lt"/>
                <a:ea typeface="+mn-ea"/>
                <a:cs typeface="+mn-cs"/>
              </a:defRPr>
            </a:lvl4pPr>
            <a:lvl5pPr marL="0" indent="0" algn="l" defTabSz="914400" rtl="0" eaLnBrk="1" latinLnBrk="0" hangingPunct="1">
              <a:lnSpc>
                <a:spcPct val="110000"/>
              </a:lnSpc>
              <a:spcBef>
                <a:spcPts val="600"/>
              </a:spcBef>
              <a:spcAft>
                <a:spcPts val="0"/>
              </a:spcAft>
              <a:buClr>
                <a:schemeClr val="accent1"/>
              </a:buClr>
              <a:buFont typeface="Arial" panose="020B0604020202020204" pitchFamily="34" charset="0"/>
              <a:buNone/>
              <a:defRPr sz="3000" kern="1200">
                <a:solidFill>
                  <a:schemeClr val="tx1"/>
                </a:solidFill>
                <a:latin typeface="Barlow Light" panose="00000400000000000000" pitchFamily="2" charset="0"/>
                <a:ea typeface="+mn-ea"/>
                <a:cs typeface="+mn-cs"/>
              </a:defRPr>
            </a:lvl5pPr>
            <a:lvl6pPr marL="361950" indent="-361950" algn="l" defTabSz="914400" rtl="0" eaLnBrk="1" latinLnBrk="0" hangingPunct="1">
              <a:lnSpc>
                <a:spcPct val="110000"/>
              </a:lnSpc>
              <a:spcBef>
                <a:spcPts val="600"/>
              </a:spcBef>
              <a:spcAft>
                <a:spcPts val="0"/>
              </a:spcAft>
              <a:buClr>
                <a:schemeClr val="accent1"/>
              </a:buClr>
              <a:buSzPct val="80000"/>
              <a:buFontTx/>
              <a:buBlip>
                <a:blip r:embed="rId3"/>
              </a:buBlip>
              <a:defRPr sz="2500" kern="1200">
                <a:solidFill>
                  <a:schemeClr val="tx1"/>
                </a:solidFill>
                <a:latin typeface="+mn-lt"/>
                <a:ea typeface="+mn-ea"/>
                <a:cs typeface="+mn-cs"/>
              </a:defRPr>
            </a:lvl6pPr>
            <a:lvl7pPr marL="360000" indent="-360000" algn="l" defTabSz="914400" rtl="0" eaLnBrk="1" latinLnBrk="0" hangingPunct="1">
              <a:lnSpc>
                <a:spcPct val="110000"/>
              </a:lnSpc>
              <a:spcBef>
                <a:spcPts val="600"/>
              </a:spcBef>
              <a:spcAft>
                <a:spcPts val="0"/>
              </a:spcAft>
              <a:buClr>
                <a:schemeClr val="accent1"/>
              </a:buClr>
              <a:buFont typeface="+mj-lt"/>
              <a:buAutoNum type="arabicPeriod"/>
              <a:defRPr sz="2000" kern="1200">
                <a:solidFill>
                  <a:schemeClr val="tx1"/>
                </a:solidFill>
                <a:latin typeface="+mn-lt"/>
                <a:ea typeface="+mn-ea"/>
                <a:cs typeface="+mn-cs"/>
              </a:defRPr>
            </a:lvl7pPr>
            <a:lvl8pPr marL="625475" indent="-265113" algn="l" defTabSz="914400" rtl="0" eaLnBrk="1" latinLnBrk="0" hangingPunct="1">
              <a:lnSpc>
                <a:spcPct val="110000"/>
              </a:lnSpc>
              <a:spcBef>
                <a:spcPts val="600"/>
              </a:spcBef>
              <a:spcAft>
                <a:spcPts val="0"/>
              </a:spcAft>
              <a:buClr>
                <a:schemeClr val="accent1"/>
              </a:buClr>
              <a:buSzPct val="80000"/>
              <a:buFontTx/>
              <a:buBlip>
                <a:blip r:embed="rId3"/>
              </a:buBlip>
              <a:defRPr sz="2000" kern="1200">
                <a:solidFill>
                  <a:schemeClr val="tx1"/>
                </a:solidFill>
                <a:latin typeface="+mn-lt"/>
                <a:ea typeface="+mn-ea"/>
                <a:cs typeface="+mn-cs"/>
              </a:defRPr>
            </a:lvl8pPr>
            <a:lvl9pPr marL="895350" indent="-269875" algn="l" defTabSz="914400" rtl="0" eaLnBrk="1" latinLnBrk="0" hangingPunct="1">
              <a:lnSpc>
                <a:spcPct val="110000"/>
              </a:lnSpc>
              <a:spcBef>
                <a:spcPts val="600"/>
              </a:spcBef>
              <a:spcAft>
                <a:spcPts val="0"/>
              </a:spcAft>
              <a:buClr>
                <a:schemeClr val="accent1"/>
              </a:buClr>
              <a:buSzPct val="80000"/>
              <a:buFontTx/>
              <a:buBlip>
                <a:blip r:embed="rId3"/>
              </a:buBlip>
              <a:defRPr sz="2000" kern="1200">
                <a:solidFill>
                  <a:schemeClr val="tx1"/>
                </a:solidFill>
                <a:latin typeface="+mn-lt"/>
                <a:ea typeface="+mn-ea"/>
                <a:cs typeface="+mn-cs"/>
              </a:defRPr>
            </a:lvl9pPr>
          </a:lstStyle>
          <a:p>
            <a:pPr lvl="5"/>
            <a:r>
              <a:rPr lang="en-US" dirty="0">
                <a:ea typeface="+mn-lt"/>
                <a:cs typeface="+mn-lt"/>
              </a:rPr>
              <a:t>The reporting party will enter the details of their alleged ethics violation. The table below describes the fields and options that might be available by default on the intake form. </a:t>
            </a:r>
          </a:p>
        </p:txBody>
      </p:sp>
    </p:spTree>
    <p:extLst>
      <p:ext uri="{BB962C8B-B14F-4D97-AF65-F5344CB8AC3E}">
        <p14:creationId xmlns:p14="http://schemas.microsoft.com/office/powerpoint/2010/main" val="358953553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FE2EE39-935F-C28B-2485-E4CF6F2BC84A}"/>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0E50D80E-C048-0C04-C2D6-8012637946E7}"/>
              </a:ext>
            </a:extLst>
          </p:cNvPr>
          <p:cNvSpPr>
            <a:spLocks noGrp="1"/>
          </p:cNvSpPr>
          <p:nvPr>
            <p:ph type="title"/>
          </p:nvPr>
        </p:nvSpPr>
        <p:spPr/>
        <p:txBody>
          <a:bodyPr/>
          <a:lstStyle/>
          <a:p>
            <a:r>
              <a:rPr lang="en-GB"/>
              <a:t>Making a Report</a:t>
            </a:r>
          </a:p>
        </p:txBody>
      </p:sp>
      <p:sp>
        <p:nvSpPr>
          <p:cNvPr id="6" name="Slide Number Placeholder 5">
            <a:extLst>
              <a:ext uri="{FF2B5EF4-FFF2-40B4-BE49-F238E27FC236}">
                <a16:creationId xmlns:a16="http://schemas.microsoft.com/office/drawing/2014/main" id="{6829024B-4839-7363-2DB6-469798857E39}"/>
              </a:ext>
            </a:extLst>
          </p:cNvPr>
          <p:cNvSpPr>
            <a:spLocks noGrp="1"/>
          </p:cNvSpPr>
          <p:nvPr>
            <p:ph type="sldNum" sz="quarter" idx="13"/>
          </p:nvPr>
        </p:nvSpPr>
        <p:spPr/>
        <p:txBody>
          <a:bodyPr/>
          <a:lstStyle/>
          <a:p>
            <a:fld id="{44661A95-0089-4306-9485-D330C59FE3ED}" type="slidenum">
              <a:rPr lang="de-DE" smtClean="0"/>
              <a:pPr/>
              <a:t>8</a:t>
            </a:fld>
            <a:endParaRPr lang="de-DE"/>
          </a:p>
        </p:txBody>
      </p:sp>
      <p:sp>
        <p:nvSpPr>
          <p:cNvPr id="11" name="Rectangle 2">
            <a:extLst>
              <a:ext uri="{FF2B5EF4-FFF2-40B4-BE49-F238E27FC236}">
                <a16:creationId xmlns:a16="http://schemas.microsoft.com/office/drawing/2014/main" id="{C8BAD9F3-BD27-DFCE-D77F-A914671F470F}"/>
              </a:ext>
            </a:extLst>
          </p:cNvPr>
          <p:cNvSpPr>
            <a:spLocks noChangeArrowheads="1"/>
          </p:cNvSpPr>
          <p:nvPr/>
        </p:nvSpPr>
        <p:spPr bwMode="auto">
          <a:xfrm>
            <a:off x="3944938" y="1984375"/>
            <a:ext cx="12192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GB" altLang="en-US" sz="1200" b="0" i="0" u="none" strike="noStrike" cap="none" normalizeH="0" baseline="0">
                <a:ln>
                  <a:noFill/>
                </a:ln>
                <a:solidFill>
                  <a:schemeClr val="tx1"/>
                </a:solidFill>
                <a:effectLst/>
                <a:latin typeface="Aptos" panose="020B0004020202020204" pitchFamily="34" charset="0"/>
                <a:ea typeface="Aptos" panose="020B0004020202020204" pitchFamily="34" charset="0"/>
                <a:cs typeface="Times New Roman" panose="02020603050405020304" pitchFamily="18" charset="0"/>
              </a:rPr>
              <a:t>	</a:t>
            </a:r>
            <a:endParaRPr kumimoji="0" lang="en-GB" altLang="en-US" sz="1800" b="0" i="0" u="none" strike="noStrike" cap="none" normalizeH="0" baseline="0">
              <a:ln>
                <a:noFill/>
              </a:ln>
              <a:solidFill>
                <a:schemeClr val="tx1"/>
              </a:solidFill>
              <a:effectLst/>
              <a:latin typeface="Arial" panose="020B0604020202020204" pitchFamily="34" charset="0"/>
            </a:endParaRPr>
          </a:p>
        </p:txBody>
      </p:sp>
      <p:graphicFrame>
        <p:nvGraphicFramePr>
          <p:cNvPr id="25" name="Content Placeholder 24">
            <a:extLst>
              <a:ext uri="{FF2B5EF4-FFF2-40B4-BE49-F238E27FC236}">
                <a16:creationId xmlns:a16="http://schemas.microsoft.com/office/drawing/2014/main" id="{3527D289-7030-9F0E-D279-DCEA4B49BDF5}"/>
              </a:ext>
            </a:extLst>
          </p:cNvPr>
          <p:cNvGraphicFramePr>
            <a:graphicFrameLocks noGrp="1"/>
          </p:cNvGraphicFramePr>
          <p:nvPr>
            <p:ph idx="1"/>
            <p:extLst>
              <p:ext uri="{D42A27DB-BD31-4B8C-83A1-F6EECF244321}">
                <p14:modId xmlns:p14="http://schemas.microsoft.com/office/powerpoint/2010/main" val="3259601673"/>
              </p:ext>
            </p:extLst>
          </p:nvPr>
        </p:nvGraphicFramePr>
        <p:xfrm>
          <a:off x="3944985" y="1831259"/>
          <a:ext cx="4302030" cy="4497562"/>
        </p:xfrm>
        <a:graphic>
          <a:graphicData uri="http://schemas.openxmlformats.org/drawingml/2006/table">
            <a:tbl>
              <a:tblPr firstRow="1" firstCol="1" bandRow="1">
                <a:tableStyleId>{C6334807-E537-4099-9411-48B81318F7D4}</a:tableStyleId>
              </a:tblPr>
              <a:tblGrid>
                <a:gridCol w="2151015">
                  <a:extLst>
                    <a:ext uri="{9D8B030D-6E8A-4147-A177-3AD203B41FA5}">
                      <a16:colId xmlns:a16="http://schemas.microsoft.com/office/drawing/2014/main" val="427823154"/>
                    </a:ext>
                  </a:extLst>
                </a:gridCol>
                <a:gridCol w="2151015">
                  <a:extLst>
                    <a:ext uri="{9D8B030D-6E8A-4147-A177-3AD203B41FA5}">
                      <a16:colId xmlns:a16="http://schemas.microsoft.com/office/drawing/2014/main" val="4057838438"/>
                    </a:ext>
                  </a:extLst>
                </a:gridCol>
              </a:tblGrid>
              <a:tr h="170862">
                <a:tc>
                  <a:txBody>
                    <a:bodyPr/>
                    <a:lstStyle/>
                    <a:p>
                      <a:pPr>
                        <a:lnSpc>
                          <a:spcPct val="115000"/>
                        </a:lnSpc>
                        <a:spcAft>
                          <a:spcPts val="800"/>
                        </a:spcAft>
                        <a:buNone/>
                      </a:pPr>
                      <a:r>
                        <a:rPr lang="en-GB" sz="600" kern="100" dirty="0">
                          <a:effectLst/>
                        </a:rPr>
                        <a:t>Field</a:t>
                      </a:r>
                      <a:endParaRPr lang="en-GB" sz="600" kern="100" dirty="0">
                        <a:effectLst/>
                        <a:latin typeface="Aptos" panose="020B0004020202020204" pitchFamily="34" charset="0"/>
                        <a:ea typeface="Aptos" panose="020B0004020202020204" pitchFamily="34" charset="0"/>
                        <a:cs typeface="Times New Roman" panose="02020603050405020304" pitchFamily="18" charset="0"/>
                      </a:endParaRPr>
                    </a:p>
                  </a:txBody>
                  <a:tcPr marL="36956" marR="36956" marT="36956" marB="36956" anchor="ctr"/>
                </a:tc>
                <a:tc>
                  <a:txBody>
                    <a:bodyPr/>
                    <a:lstStyle/>
                    <a:p>
                      <a:pPr>
                        <a:lnSpc>
                          <a:spcPct val="115000"/>
                        </a:lnSpc>
                        <a:spcAft>
                          <a:spcPts val="800"/>
                        </a:spcAft>
                        <a:buNone/>
                      </a:pPr>
                      <a:r>
                        <a:rPr lang="en-GB" sz="600" kern="100" dirty="0">
                          <a:effectLst/>
                        </a:rPr>
                        <a:t>Description</a:t>
                      </a:r>
                      <a:endParaRPr lang="en-GB" sz="600" kern="100" dirty="0">
                        <a:effectLst/>
                        <a:latin typeface="Aptos" panose="020B0004020202020204" pitchFamily="34" charset="0"/>
                        <a:ea typeface="Aptos" panose="020B0004020202020204" pitchFamily="34" charset="0"/>
                        <a:cs typeface="Times New Roman" panose="02020603050405020304" pitchFamily="18" charset="0"/>
                      </a:endParaRPr>
                    </a:p>
                  </a:txBody>
                  <a:tcPr marL="36956" marR="36956" marT="36956" marB="36956" anchor="ctr"/>
                </a:tc>
                <a:extLst>
                  <a:ext uri="{0D108BD9-81ED-4DB2-BD59-A6C34878D82A}">
                    <a16:rowId xmlns:a16="http://schemas.microsoft.com/office/drawing/2014/main" val="1896128460"/>
                  </a:ext>
                </a:extLst>
              </a:tr>
              <a:tr h="730135">
                <a:tc>
                  <a:txBody>
                    <a:bodyPr/>
                    <a:lstStyle/>
                    <a:p>
                      <a:pPr>
                        <a:lnSpc>
                          <a:spcPct val="115000"/>
                        </a:lnSpc>
                        <a:spcAft>
                          <a:spcPts val="800"/>
                        </a:spcAft>
                        <a:buNone/>
                      </a:pPr>
                      <a:r>
                        <a:rPr lang="en-GB" sz="600" kern="100" dirty="0">
                          <a:effectLst/>
                        </a:rPr>
                        <a:t>Please describe the details of the incident</a:t>
                      </a:r>
                      <a:endParaRPr lang="en-GB" sz="600" kern="100" dirty="0">
                        <a:effectLst/>
                        <a:latin typeface="Aptos" panose="020B0004020202020204" pitchFamily="34" charset="0"/>
                        <a:ea typeface="Aptos" panose="020B0004020202020204" pitchFamily="34" charset="0"/>
                        <a:cs typeface="Times New Roman" panose="02020603050405020304" pitchFamily="18" charset="0"/>
                      </a:endParaRPr>
                    </a:p>
                  </a:txBody>
                  <a:tcPr marL="36956" marR="36956" marT="36956" marB="36956"/>
                </a:tc>
                <a:tc>
                  <a:txBody>
                    <a:bodyPr/>
                    <a:lstStyle/>
                    <a:p>
                      <a:pPr>
                        <a:lnSpc>
                          <a:spcPct val="115000"/>
                        </a:lnSpc>
                        <a:spcAft>
                          <a:spcPts val="800"/>
                        </a:spcAft>
                        <a:buNone/>
                      </a:pPr>
                      <a:r>
                        <a:rPr lang="en-GB" sz="600" kern="100" dirty="0">
                          <a:effectLst/>
                        </a:rPr>
                        <a:t>Reporting party will describe the incident. These details will be viewed by the internal compliance team and appear in the Case Management screen. </a:t>
                      </a:r>
                    </a:p>
                    <a:p>
                      <a:pPr>
                        <a:lnSpc>
                          <a:spcPct val="115000"/>
                        </a:lnSpc>
                        <a:spcAft>
                          <a:spcPts val="800"/>
                        </a:spcAft>
                        <a:buNone/>
                      </a:pPr>
                      <a:r>
                        <a:rPr lang="en-GB" sz="600" kern="100" dirty="0">
                          <a:effectLst/>
                        </a:rPr>
                        <a:t>Clicking the microphone button enables you to record what happen in a voice note. Your voice will be automatically distorted to safeguard your anonymity throughout the process. </a:t>
                      </a:r>
                      <a:endParaRPr lang="en-GB" sz="600" kern="100" dirty="0">
                        <a:effectLst/>
                        <a:latin typeface="Aptos" panose="020B0004020202020204" pitchFamily="34" charset="0"/>
                        <a:ea typeface="Aptos" panose="020B0004020202020204" pitchFamily="34" charset="0"/>
                        <a:cs typeface="Times New Roman" panose="02020603050405020304" pitchFamily="18" charset="0"/>
                      </a:endParaRPr>
                    </a:p>
                  </a:txBody>
                  <a:tcPr marL="36956" marR="36956" marT="36956" marB="36956"/>
                </a:tc>
                <a:extLst>
                  <a:ext uri="{0D108BD9-81ED-4DB2-BD59-A6C34878D82A}">
                    <a16:rowId xmlns:a16="http://schemas.microsoft.com/office/drawing/2014/main" val="3230007331"/>
                  </a:ext>
                </a:extLst>
              </a:tr>
              <a:tr h="726685">
                <a:tc>
                  <a:txBody>
                    <a:bodyPr/>
                    <a:lstStyle/>
                    <a:p>
                      <a:pPr>
                        <a:lnSpc>
                          <a:spcPct val="115000"/>
                        </a:lnSpc>
                        <a:spcAft>
                          <a:spcPts val="800"/>
                        </a:spcAft>
                        <a:buNone/>
                      </a:pPr>
                      <a:r>
                        <a:rPr lang="en-GB" sz="600" kern="100" dirty="0">
                          <a:effectLst/>
                        </a:rPr>
                        <a:t>Who was involved</a:t>
                      </a:r>
                      <a:endParaRPr lang="en-GB" sz="600" kern="100" dirty="0">
                        <a:effectLst/>
                        <a:latin typeface="Aptos" panose="020B0004020202020204" pitchFamily="34" charset="0"/>
                        <a:ea typeface="Aptos" panose="020B0004020202020204" pitchFamily="34" charset="0"/>
                        <a:cs typeface="Times New Roman" panose="02020603050405020304" pitchFamily="18" charset="0"/>
                      </a:endParaRPr>
                    </a:p>
                  </a:txBody>
                  <a:tcPr marL="36956" marR="36956" marT="36956" marB="36956"/>
                </a:tc>
                <a:tc>
                  <a:txBody>
                    <a:bodyPr/>
                    <a:lstStyle/>
                    <a:p>
                      <a:pPr>
                        <a:lnSpc>
                          <a:spcPct val="115000"/>
                        </a:lnSpc>
                        <a:spcAft>
                          <a:spcPts val="800"/>
                        </a:spcAft>
                        <a:buNone/>
                      </a:pPr>
                      <a:r>
                        <a:rPr lang="en-GB" sz="600" kern="100" dirty="0">
                          <a:effectLst/>
                        </a:rPr>
                        <a:t>Reporting party will list the individuals who were involved in the incident i.e.:</a:t>
                      </a:r>
                    </a:p>
                    <a:p>
                      <a:pPr marL="342900" lvl="0" indent="-342900">
                        <a:lnSpc>
                          <a:spcPct val="115000"/>
                        </a:lnSpc>
                        <a:spcAft>
                          <a:spcPts val="800"/>
                        </a:spcAft>
                        <a:buSzPts val="1000"/>
                        <a:buFont typeface="Symbol" panose="05050102010706020507" pitchFamily="18" charset="2"/>
                        <a:buChar char=""/>
                        <a:tabLst>
                          <a:tab pos="457200" algn="l"/>
                        </a:tabLst>
                      </a:pPr>
                      <a:r>
                        <a:rPr lang="en-GB" sz="600" kern="100" dirty="0">
                          <a:effectLst/>
                        </a:rPr>
                        <a:t>Subject</a:t>
                      </a:r>
                    </a:p>
                    <a:p>
                      <a:pPr marL="342900" lvl="0" indent="-342900">
                        <a:lnSpc>
                          <a:spcPct val="115000"/>
                        </a:lnSpc>
                        <a:spcAft>
                          <a:spcPts val="800"/>
                        </a:spcAft>
                        <a:buSzPts val="1000"/>
                        <a:buFont typeface="Symbol" panose="05050102010706020507" pitchFamily="18" charset="2"/>
                        <a:buChar char=""/>
                        <a:tabLst>
                          <a:tab pos="457200" algn="l"/>
                        </a:tabLst>
                      </a:pPr>
                      <a:r>
                        <a:rPr lang="en-GB" sz="600" kern="100" dirty="0">
                          <a:effectLst/>
                        </a:rPr>
                        <a:t>Witness</a:t>
                      </a:r>
                    </a:p>
                    <a:p>
                      <a:pPr marL="342900" lvl="0" indent="-342900">
                        <a:lnSpc>
                          <a:spcPct val="115000"/>
                        </a:lnSpc>
                        <a:spcAft>
                          <a:spcPts val="800"/>
                        </a:spcAft>
                        <a:buSzPts val="1000"/>
                        <a:buFont typeface="Symbol" panose="05050102010706020507" pitchFamily="18" charset="2"/>
                        <a:buChar char=""/>
                        <a:tabLst>
                          <a:tab pos="457200" algn="l"/>
                        </a:tabLst>
                      </a:pPr>
                      <a:r>
                        <a:rPr lang="en-GB" sz="600" kern="100" dirty="0">
                          <a:effectLst/>
                        </a:rPr>
                        <a:t>Victim</a:t>
                      </a:r>
                      <a:endParaRPr lang="en-GB" sz="600" kern="100" dirty="0">
                        <a:effectLst/>
                        <a:latin typeface="Aptos" panose="020B0004020202020204" pitchFamily="34" charset="0"/>
                        <a:ea typeface="Aptos" panose="020B0004020202020204" pitchFamily="34" charset="0"/>
                        <a:cs typeface="Times New Roman" panose="02020603050405020304" pitchFamily="18" charset="0"/>
                      </a:endParaRPr>
                    </a:p>
                  </a:txBody>
                  <a:tcPr marL="36956" marR="36956" marT="36956" marB="36956"/>
                </a:tc>
                <a:extLst>
                  <a:ext uri="{0D108BD9-81ED-4DB2-BD59-A6C34878D82A}">
                    <a16:rowId xmlns:a16="http://schemas.microsoft.com/office/drawing/2014/main" val="1814849066"/>
                  </a:ext>
                </a:extLst>
              </a:tr>
              <a:tr h="170862">
                <a:tc>
                  <a:txBody>
                    <a:bodyPr/>
                    <a:lstStyle/>
                    <a:p>
                      <a:pPr>
                        <a:lnSpc>
                          <a:spcPct val="115000"/>
                        </a:lnSpc>
                        <a:spcAft>
                          <a:spcPts val="800"/>
                        </a:spcAft>
                        <a:buNone/>
                      </a:pPr>
                      <a:endParaRPr lang="en-GB" sz="600" kern="100" dirty="0">
                        <a:effectLst/>
                        <a:latin typeface="Aptos" panose="020B0004020202020204" pitchFamily="34" charset="0"/>
                        <a:ea typeface="Aptos" panose="020B0004020202020204" pitchFamily="34" charset="0"/>
                        <a:cs typeface="Times New Roman" panose="02020603050405020304" pitchFamily="18" charset="0"/>
                      </a:endParaRPr>
                    </a:p>
                  </a:txBody>
                  <a:tcPr marL="36956" marR="36956" marT="36956" marB="36956"/>
                </a:tc>
                <a:tc>
                  <a:txBody>
                    <a:bodyPr/>
                    <a:lstStyle/>
                    <a:p>
                      <a:endParaRPr lang="en-GB" sz="800"/>
                    </a:p>
                  </a:txBody>
                  <a:tcPr marL="44348" marR="44348" marT="22174" marB="22174"/>
                </a:tc>
                <a:extLst>
                  <a:ext uri="{0D108BD9-81ED-4DB2-BD59-A6C34878D82A}">
                    <a16:rowId xmlns:a16="http://schemas.microsoft.com/office/drawing/2014/main" val="4198855625"/>
                  </a:ext>
                </a:extLst>
              </a:tr>
              <a:tr h="775960">
                <a:tc>
                  <a:txBody>
                    <a:bodyPr/>
                    <a:lstStyle/>
                    <a:p>
                      <a:pPr>
                        <a:lnSpc>
                          <a:spcPct val="115000"/>
                        </a:lnSpc>
                        <a:spcAft>
                          <a:spcPts val="800"/>
                        </a:spcAft>
                        <a:buNone/>
                      </a:pPr>
                      <a:r>
                        <a:rPr lang="en-GB" sz="600" kern="100" dirty="0">
                          <a:effectLst/>
                        </a:rPr>
                        <a:t>Please indicate where the issue occurred</a:t>
                      </a:r>
                      <a:endParaRPr lang="en-GB" sz="600" kern="100" dirty="0">
                        <a:effectLst/>
                        <a:latin typeface="Aptos" panose="020B0004020202020204" pitchFamily="34" charset="0"/>
                        <a:ea typeface="Aptos" panose="020B0004020202020204" pitchFamily="34" charset="0"/>
                        <a:cs typeface="Times New Roman" panose="02020603050405020304" pitchFamily="18" charset="0"/>
                      </a:endParaRPr>
                    </a:p>
                  </a:txBody>
                  <a:tcPr marL="36956" marR="36956" marT="36956" marB="36956"/>
                </a:tc>
                <a:tc>
                  <a:txBody>
                    <a:bodyPr/>
                    <a:lstStyle/>
                    <a:p>
                      <a:pPr>
                        <a:lnSpc>
                          <a:spcPct val="115000"/>
                        </a:lnSpc>
                        <a:spcAft>
                          <a:spcPts val="800"/>
                        </a:spcAft>
                        <a:buNone/>
                      </a:pPr>
                      <a:r>
                        <a:rPr lang="en-GB" sz="600" kern="100" dirty="0">
                          <a:effectLst/>
                        </a:rPr>
                        <a:t>Reporting party will select one of the following i.e.:</a:t>
                      </a:r>
                    </a:p>
                    <a:p>
                      <a:pPr marL="342900" lvl="0" indent="-342900">
                        <a:lnSpc>
                          <a:spcPct val="115000"/>
                        </a:lnSpc>
                        <a:spcAft>
                          <a:spcPts val="800"/>
                        </a:spcAft>
                        <a:buSzPts val="1000"/>
                        <a:buFont typeface="Symbol" panose="05050102010706020507" pitchFamily="18" charset="2"/>
                        <a:buChar char=""/>
                        <a:tabLst>
                          <a:tab pos="457200" algn="l"/>
                        </a:tabLst>
                      </a:pPr>
                      <a:r>
                        <a:rPr lang="en-GB" sz="600" kern="100" dirty="0">
                          <a:effectLst/>
                        </a:rPr>
                        <a:t>Company Location</a:t>
                      </a:r>
                    </a:p>
                    <a:p>
                      <a:pPr marL="342900" lvl="0" indent="-342900">
                        <a:lnSpc>
                          <a:spcPct val="115000"/>
                        </a:lnSpc>
                        <a:spcAft>
                          <a:spcPts val="800"/>
                        </a:spcAft>
                        <a:buSzPts val="1000"/>
                        <a:buFont typeface="Symbol" panose="05050102010706020507" pitchFamily="18" charset="2"/>
                        <a:buChar char=""/>
                        <a:tabLst>
                          <a:tab pos="457200" algn="l"/>
                        </a:tabLst>
                      </a:pPr>
                      <a:r>
                        <a:rPr lang="en-GB" sz="600" kern="100" dirty="0">
                          <a:effectLst/>
                        </a:rPr>
                        <a:t>City</a:t>
                      </a:r>
                    </a:p>
                    <a:p>
                      <a:pPr marL="342900" lvl="0" indent="-342900">
                        <a:lnSpc>
                          <a:spcPct val="115000"/>
                        </a:lnSpc>
                        <a:spcAft>
                          <a:spcPts val="800"/>
                        </a:spcAft>
                        <a:buSzPts val="1000"/>
                        <a:buFont typeface="Symbol" panose="05050102010706020507" pitchFamily="18" charset="2"/>
                        <a:buChar char=""/>
                        <a:tabLst>
                          <a:tab pos="457200" algn="l"/>
                        </a:tabLst>
                      </a:pPr>
                      <a:r>
                        <a:rPr lang="en-GB" sz="600" kern="100" dirty="0">
                          <a:effectLst/>
                        </a:rPr>
                        <a:t>Country</a:t>
                      </a:r>
                    </a:p>
                    <a:p>
                      <a:pPr marL="342900" lvl="0" indent="-342900">
                        <a:lnSpc>
                          <a:spcPct val="115000"/>
                        </a:lnSpc>
                        <a:spcAft>
                          <a:spcPts val="800"/>
                        </a:spcAft>
                        <a:buSzPts val="1000"/>
                        <a:buFont typeface="Symbol" panose="05050102010706020507" pitchFamily="18" charset="2"/>
                        <a:buChar char=""/>
                        <a:tabLst>
                          <a:tab pos="457200" algn="l"/>
                        </a:tabLst>
                      </a:pPr>
                      <a:r>
                        <a:rPr lang="en-GB" sz="600" kern="100" dirty="0">
                          <a:effectLst/>
                        </a:rPr>
                        <a:t>Other</a:t>
                      </a:r>
                      <a:endParaRPr lang="en-GB" sz="600" kern="100" dirty="0">
                        <a:effectLst/>
                        <a:latin typeface="Aptos" panose="020B0004020202020204" pitchFamily="34" charset="0"/>
                        <a:ea typeface="Aptos" panose="020B0004020202020204" pitchFamily="34" charset="0"/>
                        <a:cs typeface="Times New Roman" panose="02020603050405020304" pitchFamily="18" charset="0"/>
                      </a:endParaRPr>
                    </a:p>
                  </a:txBody>
                  <a:tcPr marL="36956" marR="36956" marT="36956" marB="36956"/>
                </a:tc>
                <a:extLst>
                  <a:ext uri="{0D108BD9-81ED-4DB2-BD59-A6C34878D82A}">
                    <a16:rowId xmlns:a16="http://schemas.microsoft.com/office/drawing/2014/main" val="3665123828"/>
                  </a:ext>
                </a:extLst>
              </a:tr>
              <a:tr h="272861">
                <a:tc>
                  <a:txBody>
                    <a:bodyPr/>
                    <a:lstStyle/>
                    <a:p>
                      <a:pPr>
                        <a:lnSpc>
                          <a:spcPct val="115000"/>
                        </a:lnSpc>
                        <a:spcAft>
                          <a:spcPts val="800"/>
                        </a:spcAft>
                        <a:buNone/>
                      </a:pPr>
                      <a:r>
                        <a:rPr lang="en-GB" sz="600" kern="100" dirty="0">
                          <a:effectLst/>
                        </a:rPr>
                        <a:t>Please indicate when the issue occurred</a:t>
                      </a:r>
                      <a:endParaRPr lang="en-GB" sz="600" kern="100" dirty="0">
                        <a:effectLst/>
                        <a:latin typeface="Aptos" panose="020B0004020202020204" pitchFamily="34" charset="0"/>
                        <a:ea typeface="Aptos" panose="020B0004020202020204" pitchFamily="34" charset="0"/>
                        <a:cs typeface="Times New Roman" panose="02020603050405020304" pitchFamily="18" charset="0"/>
                      </a:endParaRPr>
                    </a:p>
                  </a:txBody>
                  <a:tcPr marL="36956" marR="36956" marT="36956" marB="36956"/>
                </a:tc>
                <a:tc>
                  <a:txBody>
                    <a:bodyPr/>
                    <a:lstStyle/>
                    <a:p>
                      <a:pPr>
                        <a:lnSpc>
                          <a:spcPct val="115000"/>
                        </a:lnSpc>
                        <a:spcAft>
                          <a:spcPts val="800"/>
                        </a:spcAft>
                        <a:buNone/>
                      </a:pPr>
                      <a:r>
                        <a:rPr lang="en-GB" sz="600" kern="100" dirty="0">
                          <a:effectLst/>
                        </a:rPr>
                        <a:t>Reporting party will be able to provide specific date and time or a general timeframe. </a:t>
                      </a:r>
                      <a:endParaRPr lang="en-GB" sz="600" kern="100" dirty="0">
                        <a:effectLst/>
                        <a:latin typeface="Aptos" panose="020B0004020202020204" pitchFamily="34" charset="0"/>
                        <a:ea typeface="Aptos" panose="020B0004020202020204" pitchFamily="34" charset="0"/>
                        <a:cs typeface="Times New Roman" panose="02020603050405020304" pitchFamily="18" charset="0"/>
                      </a:endParaRPr>
                    </a:p>
                  </a:txBody>
                  <a:tcPr marL="36956" marR="36956" marT="36956" marB="36956"/>
                </a:tc>
                <a:extLst>
                  <a:ext uri="{0D108BD9-81ED-4DB2-BD59-A6C34878D82A}">
                    <a16:rowId xmlns:a16="http://schemas.microsoft.com/office/drawing/2014/main" val="4289797387"/>
                  </a:ext>
                </a:extLst>
              </a:tr>
              <a:tr h="170862">
                <a:tc>
                  <a:txBody>
                    <a:bodyPr/>
                    <a:lstStyle/>
                    <a:p>
                      <a:pPr>
                        <a:lnSpc>
                          <a:spcPct val="115000"/>
                        </a:lnSpc>
                        <a:spcAft>
                          <a:spcPts val="800"/>
                        </a:spcAft>
                        <a:buNone/>
                      </a:pPr>
                      <a:r>
                        <a:rPr lang="en-GB" sz="600" kern="100" dirty="0">
                          <a:effectLst/>
                        </a:rPr>
                        <a:t>Photos or File Uploads</a:t>
                      </a:r>
                      <a:endParaRPr lang="en-GB" sz="600" kern="100" dirty="0">
                        <a:effectLst/>
                        <a:latin typeface="Aptos" panose="020B0004020202020204" pitchFamily="34" charset="0"/>
                        <a:ea typeface="Aptos" panose="020B0004020202020204" pitchFamily="34" charset="0"/>
                        <a:cs typeface="Times New Roman" panose="02020603050405020304" pitchFamily="18" charset="0"/>
                      </a:endParaRPr>
                    </a:p>
                  </a:txBody>
                  <a:tcPr marL="36956" marR="36956" marT="36956" marB="36956"/>
                </a:tc>
                <a:tc>
                  <a:txBody>
                    <a:bodyPr/>
                    <a:lstStyle/>
                    <a:p>
                      <a:pPr>
                        <a:lnSpc>
                          <a:spcPct val="115000"/>
                        </a:lnSpc>
                        <a:spcAft>
                          <a:spcPts val="800"/>
                        </a:spcAft>
                        <a:buNone/>
                      </a:pPr>
                      <a:r>
                        <a:rPr lang="en-GB" sz="600" kern="100" dirty="0">
                          <a:effectLst/>
                        </a:rPr>
                        <a:t>Reporting party will be able to attach files.</a:t>
                      </a:r>
                      <a:endParaRPr lang="en-GB" sz="600" kern="100" dirty="0">
                        <a:effectLst/>
                        <a:latin typeface="Aptos" panose="020B0004020202020204" pitchFamily="34" charset="0"/>
                        <a:ea typeface="Aptos" panose="020B0004020202020204" pitchFamily="34" charset="0"/>
                        <a:cs typeface="Times New Roman" panose="02020603050405020304" pitchFamily="18" charset="0"/>
                      </a:endParaRPr>
                    </a:p>
                  </a:txBody>
                  <a:tcPr marL="36956" marR="36956" marT="36956" marB="36956"/>
                </a:tc>
                <a:extLst>
                  <a:ext uri="{0D108BD9-81ED-4DB2-BD59-A6C34878D82A}">
                    <a16:rowId xmlns:a16="http://schemas.microsoft.com/office/drawing/2014/main" val="3657144322"/>
                  </a:ext>
                </a:extLst>
              </a:tr>
              <a:tr h="726685">
                <a:tc>
                  <a:txBody>
                    <a:bodyPr/>
                    <a:lstStyle/>
                    <a:p>
                      <a:pPr>
                        <a:lnSpc>
                          <a:spcPct val="115000"/>
                        </a:lnSpc>
                        <a:spcAft>
                          <a:spcPts val="800"/>
                        </a:spcAft>
                        <a:buNone/>
                      </a:pPr>
                      <a:r>
                        <a:rPr lang="en-GB" sz="600" kern="100" dirty="0">
                          <a:effectLst/>
                        </a:rPr>
                        <a:t>Your Relationship to the Organization</a:t>
                      </a:r>
                      <a:endParaRPr lang="en-GB" sz="600" kern="100" dirty="0">
                        <a:effectLst/>
                        <a:latin typeface="Aptos" panose="020B0004020202020204" pitchFamily="34" charset="0"/>
                        <a:ea typeface="Aptos" panose="020B0004020202020204" pitchFamily="34" charset="0"/>
                        <a:cs typeface="Times New Roman" panose="02020603050405020304" pitchFamily="18" charset="0"/>
                      </a:endParaRPr>
                    </a:p>
                  </a:txBody>
                  <a:tcPr marL="36956" marR="36956" marT="36956" marB="36956"/>
                </a:tc>
                <a:tc>
                  <a:txBody>
                    <a:bodyPr/>
                    <a:lstStyle/>
                    <a:p>
                      <a:pPr>
                        <a:lnSpc>
                          <a:spcPct val="115000"/>
                        </a:lnSpc>
                        <a:spcAft>
                          <a:spcPts val="800"/>
                        </a:spcAft>
                        <a:buNone/>
                      </a:pPr>
                      <a:r>
                        <a:rPr lang="en-GB" sz="600" kern="100" dirty="0">
                          <a:effectLst/>
                        </a:rPr>
                        <a:t>Reporting party will select one of the following:</a:t>
                      </a:r>
                    </a:p>
                    <a:p>
                      <a:pPr marL="342900" lvl="0" indent="-342900">
                        <a:lnSpc>
                          <a:spcPct val="115000"/>
                        </a:lnSpc>
                        <a:spcAft>
                          <a:spcPts val="800"/>
                        </a:spcAft>
                        <a:buSzPts val="1000"/>
                        <a:buFont typeface="Symbol" panose="05050102010706020507" pitchFamily="18" charset="2"/>
                        <a:buChar char=""/>
                        <a:tabLst>
                          <a:tab pos="457200" algn="l"/>
                        </a:tabLst>
                      </a:pPr>
                      <a:r>
                        <a:rPr lang="en-GB" sz="600" kern="100" dirty="0">
                          <a:effectLst/>
                        </a:rPr>
                        <a:t>I am currently an employee </a:t>
                      </a:r>
                    </a:p>
                    <a:p>
                      <a:pPr marL="342900" lvl="0" indent="-342900">
                        <a:lnSpc>
                          <a:spcPct val="115000"/>
                        </a:lnSpc>
                        <a:spcAft>
                          <a:spcPts val="800"/>
                        </a:spcAft>
                        <a:buSzPts val="1000"/>
                        <a:buFont typeface="Symbol" panose="05050102010706020507" pitchFamily="18" charset="2"/>
                        <a:buChar char=""/>
                        <a:tabLst>
                          <a:tab pos="457200" algn="l"/>
                        </a:tabLst>
                      </a:pPr>
                      <a:r>
                        <a:rPr lang="en-GB" sz="600" kern="100" dirty="0">
                          <a:effectLst/>
                        </a:rPr>
                        <a:t>I am a former employee</a:t>
                      </a:r>
                    </a:p>
                    <a:p>
                      <a:pPr marL="342900" lvl="0" indent="-342900">
                        <a:lnSpc>
                          <a:spcPct val="115000"/>
                        </a:lnSpc>
                        <a:spcAft>
                          <a:spcPts val="800"/>
                        </a:spcAft>
                        <a:buSzPts val="1000"/>
                        <a:buFont typeface="Symbol" panose="05050102010706020507" pitchFamily="18" charset="2"/>
                        <a:buChar char=""/>
                        <a:tabLst>
                          <a:tab pos="457200" algn="l"/>
                        </a:tabLst>
                      </a:pPr>
                      <a:r>
                        <a:rPr lang="en-GB" sz="600" kern="100" dirty="0">
                          <a:effectLst/>
                        </a:rPr>
                        <a:t>Non employee (this includes contractor, student, supplier, partner, member, etc.)</a:t>
                      </a:r>
                      <a:endParaRPr lang="en-GB" sz="600" kern="100" dirty="0">
                        <a:effectLst/>
                        <a:latin typeface="Aptos" panose="020B0004020202020204" pitchFamily="34" charset="0"/>
                        <a:ea typeface="Aptos" panose="020B0004020202020204" pitchFamily="34" charset="0"/>
                        <a:cs typeface="Times New Roman" panose="02020603050405020304" pitchFamily="18" charset="0"/>
                      </a:endParaRPr>
                    </a:p>
                  </a:txBody>
                  <a:tcPr marL="36956" marR="36956" marT="36956" marB="36956"/>
                </a:tc>
                <a:extLst>
                  <a:ext uri="{0D108BD9-81ED-4DB2-BD59-A6C34878D82A}">
                    <a16:rowId xmlns:a16="http://schemas.microsoft.com/office/drawing/2014/main" val="348739939"/>
                  </a:ext>
                </a:extLst>
              </a:tr>
            </a:tbl>
          </a:graphicData>
        </a:graphic>
      </p:graphicFrame>
    </p:spTree>
    <p:extLst>
      <p:ext uri="{BB962C8B-B14F-4D97-AF65-F5344CB8AC3E}">
        <p14:creationId xmlns:p14="http://schemas.microsoft.com/office/powerpoint/2010/main" val="289732724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BA49085-87FA-00C8-B3C5-617DA95C0CEE}"/>
            </a:ext>
          </a:extLst>
        </p:cNvPr>
        <p:cNvGrpSpPr/>
        <p:nvPr/>
      </p:nvGrpSpPr>
      <p:grpSpPr>
        <a:xfrm>
          <a:off x="0" y="0"/>
          <a:ext cx="0" cy="0"/>
          <a:chOff x="0" y="0"/>
          <a:chExt cx="0" cy="0"/>
        </a:xfrm>
      </p:grpSpPr>
      <p:pic>
        <p:nvPicPr>
          <p:cNvPr id="7" name="Picture 6" descr="A screenshot of a computer&#10;&#10;AI-generated content may be incorrect.">
            <a:extLst>
              <a:ext uri="{FF2B5EF4-FFF2-40B4-BE49-F238E27FC236}">
                <a16:creationId xmlns:a16="http://schemas.microsoft.com/office/drawing/2014/main" id="{B2F3CA74-3A1C-03C1-BFD1-787A31B71AE1}"/>
              </a:ext>
            </a:extLst>
          </p:cNvPr>
          <p:cNvPicPr>
            <a:picLocks noChangeAspect="1"/>
          </p:cNvPicPr>
          <p:nvPr/>
        </p:nvPicPr>
        <p:blipFill>
          <a:blip r:embed="rId2"/>
          <a:stretch>
            <a:fillRect/>
          </a:stretch>
        </p:blipFill>
        <p:spPr>
          <a:xfrm>
            <a:off x="6474418" y="2312988"/>
            <a:ext cx="4540084" cy="2727046"/>
          </a:xfrm>
          <a:prstGeom prst="rect">
            <a:avLst/>
          </a:prstGeom>
          <a:noFill/>
        </p:spPr>
      </p:pic>
      <p:sp>
        <p:nvSpPr>
          <p:cNvPr id="21" name="Title 4">
            <a:extLst>
              <a:ext uri="{FF2B5EF4-FFF2-40B4-BE49-F238E27FC236}">
                <a16:creationId xmlns:a16="http://schemas.microsoft.com/office/drawing/2014/main" id="{6E25E2D6-F94C-D8D8-0EDE-66263AAA6C90}"/>
              </a:ext>
            </a:extLst>
          </p:cNvPr>
          <p:cNvSpPr>
            <a:spLocks noGrp="1"/>
          </p:cNvSpPr>
          <p:nvPr>
            <p:ph type="title"/>
          </p:nvPr>
        </p:nvSpPr>
        <p:spPr>
          <a:xfrm>
            <a:off x="1092200" y="789687"/>
            <a:ext cx="10007600" cy="604039"/>
          </a:xfrm>
        </p:spPr>
        <p:txBody>
          <a:bodyPr/>
          <a:lstStyle/>
          <a:p>
            <a:r>
              <a:rPr lang="en-GB"/>
              <a:t>Making a Report</a:t>
            </a:r>
            <a:endParaRPr lang="en-US"/>
          </a:p>
        </p:txBody>
      </p:sp>
      <p:sp>
        <p:nvSpPr>
          <p:cNvPr id="6" name="Slide Number Placeholder 5">
            <a:extLst>
              <a:ext uri="{FF2B5EF4-FFF2-40B4-BE49-F238E27FC236}">
                <a16:creationId xmlns:a16="http://schemas.microsoft.com/office/drawing/2014/main" id="{8D16F57E-5853-0F92-F864-B7707CA89D08}"/>
              </a:ext>
            </a:extLst>
          </p:cNvPr>
          <p:cNvSpPr>
            <a:spLocks noGrp="1"/>
          </p:cNvSpPr>
          <p:nvPr>
            <p:ph type="sldNum" sz="quarter" idx="13"/>
          </p:nvPr>
        </p:nvSpPr>
        <p:spPr>
          <a:xfrm>
            <a:off x="11526329" y="6198777"/>
            <a:ext cx="665672" cy="659223"/>
          </a:xfrm>
        </p:spPr>
        <p:txBody>
          <a:bodyPr wrap="square" anchor="b">
            <a:normAutofit/>
          </a:bodyPr>
          <a:lstStyle/>
          <a:p>
            <a:pPr>
              <a:spcAft>
                <a:spcPts val="600"/>
              </a:spcAft>
            </a:pPr>
            <a:fld id="{44661A95-0089-4306-9485-D330C59FE3ED}" type="slidenum">
              <a:rPr lang="de-DE" smtClean="0"/>
              <a:pPr>
                <a:spcAft>
                  <a:spcPts val="600"/>
                </a:spcAft>
              </a:pPr>
              <a:t>9</a:t>
            </a:fld>
            <a:endParaRPr lang="de-DE"/>
          </a:p>
        </p:txBody>
      </p:sp>
      <p:sp>
        <p:nvSpPr>
          <p:cNvPr id="5" name="Inhaltsplatzhalter 5">
            <a:extLst>
              <a:ext uri="{FF2B5EF4-FFF2-40B4-BE49-F238E27FC236}">
                <a16:creationId xmlns:a16="http://schemas.microsoft.com/office/drawing/2014/main" id="{DD010A09-3001-FC17-93A6-9EFF6CF64BF7}"/>
              </a:ext>
            </a:extLst>
          </p:cNvPr>
          <p:cNvSpPr txBox="1">
            <a:spLocks/>
          </p:cNvSpPr>
          <p:nvPr/>
        </p:nvSpPr>
        <p:spPr bwMode="gray">
          <a:xfrm>
            <a:off x="1092200" y="2312876"/>
            <a:ext cx="5009638" cy="3745024"/>
          </a:xfrm>
          <a:prstGeom prst="rect">
            <a:avLst/>
          </a:prstGeom>
        </p:spPr>
        <p:txBody>
          <a:bodyPr vert="horz" lIns="0" tIns="0" rIns="0" bIns="0" rtlCol="0" anchor="t">
            <a:normAutofit fontScale="92500" lnSpcReduction="10000"/>
          </a:bodyPr>
          <a:lstStyle>
            <a:lvl1pPr marL="0" indent="0" algn="l" defTabSz="914400" rtl="0" eaLnBrk="1" latinLnBrk="0" hangingPunct="1">
              <a:lnSpc>
                <a:spcPct val="110000"/>
              </a:lnSpc>
              <a:spcBef>
                <a:spcPts val="600"/>
              </a:spcBef>
              <a:spcAft>
                <a:spcPts val="0"/>
              </a:spcAft>
              <a:buFont typeface="Arial" panose="020B0604020202020204" pitchFamily="34" charset="0"/>
              <a:buNone/>
              <a:defRPr sz="2000" b="0" kern="1200">
                <a:solidFill>
                  <a:schemeClr val="tx1"/>
                </a:solidFill>
                <a:latin typeface="+mj-lt"/>
                <a:ea typeface="+mn-ea"/>
                <a:cs typeface="+mn-cs"/>
              </a:defRPr>
            </a:lvl1pPr>
            <a:lvl2pPr marL="0" indent="0" algn="l" defTabSz="914400" rtl="0" eaLnBrk="1" latinLnBrk="0" hangingPunct="1">
              <a:lnSpc>
                <a:spcPct val="110000"/>
              </a:lnSpc>
              <a:spcBef>
                <a:spcPts val="600"/>
              </a:spcBef>
              <a:spcAft>
                <a:spcPts val="0"/>
              </a:spcAft>
              <a:buFont typeface="Arial" panose="020B0604020202020204" pitchFamily="34" charset="0"/>
              <a:buNone/>
              <a:defRPr sz="2000" kern="1200">
                <a:solidFill>
                  <a:schemeClr val="tx1"/>
                </a:solidFill>
                <a:latin typeface="+mn-lt"/>
                <a:ea typeface="+mn-ea"/>
                <a:cs typeface="+mn-cs"/>
              </a:defRPr>
            </a:lvl2pPr>
            <a:lvl3pPr marL="269875" indent="-269875" algn="l" defTabSz="914400" rtl="0" eaLnBrk="1" latinLnBrk="0" hangingPunct="1">
              <a:lnSpc>
                <a:spcPct val="110000"/>
              </a:lnSpc>
              <a:spcBef>
                <a:spcPts val="600"/>
              </a:spcBef>
              <a:spcAft>
                <a:spcPts val="0"/>
              </a:spcAft>
              <a:buClr>
                <a:schemeClr val="accent1"/>
              </a:buClr>
              <a:buSzPct val="80000"/>
              <a:buFontTx/>
              <a:buBlip>
                <a:blip r:embed="rId3"/>
              </a:buBlip>
              <a:defRPr sz="2000" kern="1200">
                <a:solidFill>
                  <a:schemeClr val="tx1"/>
                </a:solidFill>
                <a:latin typeface="+mn-lt"/>
                <a:ea typeface="+mn-ea"/>
                <a:cs typeface="+mn-cs"/>
              </a:defRPr>
            </a:lvl3pPr>
            <a:lvl4pPr marL="541338" indent="-271463" algn="l" defTabSz="914400" rtl="0" eaLnBrk="1" latinLnBrk="0" hangingPunct="1">
              <a:lnSpc>
                <a:spcPct val="110000"/>
              </a:lnSpc>
              <a:spcBef>
                <a:spcPts val="600"/>
              </a:spcBef>
              <a:spcAft>
                <a:spcPts val="0"/>
              </a:spcAft>
              <a:buClr>
                <a:schemeClr val="accent1"/>
              </a:buClr>
              <a:buSzPct val="80000"/>
              <a:buFontTx/>
              <a:buBlip>
                <a:blip r:embed="rId3"/>
              </a:buBlip>
              <a:defRPr sz="2000" kern="1200">
                <a:solidFill>
                  <a:schemeClr val="tx1"/>
                </a:solidFill>
                <a:latin typeface="+mn-lt"/>
                <a:ea typeface="+mn-ea"/>
                <a:cs typeface="+mn-cs"/>
              </a:defRPr>
            </a:lvl4pPr>
            <a:lvl5pPr marL="0" indent="0" algn="l" defTabSz="914400" rtl="0" eaLnBrk="1" latinLnBrk="0" hangingPunct="1">
              <a:lnSpc>
                <a:spcPct val="110000"/>
              </a:lnSpc>
              <a:spcBef>
                <a:spcPts val="600"/>
              </a:spcBef>
              <a:spcAft>
                <a:spcPts val="0"/>
              </a:spcAft>
              <a:buClr>
                <a:schemeClr val="accent1"/>
              </a:buClr>
              <a:buFont typeface="Arial" panose="020B0604020202020204" pitchFamily="34" charset="0"/>
              <a:buNone/>
              <a:defRPr sz="3000" kern="1200">
                <a:solidFill>
                  <a:schemeClr val="tx1"/>
                </a:solidFill>
                <a:latin typeface="Barlow Light" panose="00000400000000000000" pitchFamily="2" charset="0"/>
                <a:ea typeface="+mn-ea"/>
                <a:cs typeface="+mn-cs"/>
              </a:defRPr>
            </a:lvl5pPr>
            <a:lvl6pPr marL="361950" indent="-361950" algn="l" defTabSz="914400" rtl="0" eaLnBrk="1" latinLnBrk="0" hangingPunct="1">
              <a:lnSpc>
                <a:spcPct val="110000"/>
              </a:lnSpc>
              <a:spcBef>
                <a:spcPts val="600"/>
              </a:spcBef>
              <a:spcAft>
                <a:spcPts val="0"/>
              </a:spcAft>
              <a:buClr>
                <a:schemeClr val="accent1"/>
              </a:buClr>
              <a:buSzPct val="80000"/>
              <a:buFontTx/>
              <a:buBlip>
                <a:blip r:embed="rId3"/>
              </a:buBlip>
              <a:defRPr sz="2500" kern="1200">
                <a:solidFill>
                  <a:schemeClr val="tx1"/>
                </a:solidFill>
                <a:latin typeface="+mn-lt"/>
                <a:ea typeface="+mn-ea"/>
                <a:cs typeface="+mn-cs"/>
              </a:defRPr>
            </a:lvl6pPr>
            <a:lvl7pPr marL="360000" indent="-360000" algn="l" defTabSz="914400" rtl="0" eaLnBrk="1" latinLnBrk="0" hangingPunct="1">
              <a:lnSpc>
                <a:spcPct val="110000"/>
              </a:lnSpc>
              <a:spcBef>
                <a:spcPts val="600"/>
              </a:spcBef>
              <a:spcAft>
                <a:spcPts val="0"/>
              </a:spcAft>
              <a:buClr>
                <a:schemeClr val="accent1"/>
              </a:buClr>
              <a:buFont typeface="+mj-lt"/>
              <a:buAutoNum type="arabicPeriod"/>
              <a:defRPr sz="2000" kern="1200">
                <a:solidFill>
                  <a:schemeClr val="tx1"/>
                </a:solidFill>
                <a:latin typeface="+mn-lt"/>
                <a:ea typeface="+mn-ea"/>
                <a:cs typeface="+mn-cs"/>
              </a:defRPr>
            </a:lvl7pPr>
            <a:lvl8pPr marL="625475" indent="-265113" algn="l" defTabSz="914400" rtl="0" eaLnBrk="1" latinLnBrk="0" hangingPunct="1">
              <a:lnSpc>
                <a:spcPct val="110000"/>
              </a:lnSpc>
              <a:spcBef>
                <a:spcPts val="600"/>
              </a:spcBef>
              <a:spcAft>
                <a:spcPts val="0"/>
              </a:spcAft>
              <a:buClr>
                <a:schemeClr val="accent1"/>
              </a:buClr>
              <a:buSzPct val="80000"/>
              <a:buFontTx/>
              <a:buBlip>
                <a:blip r:embed="rId3"/>
              </a:buBlip>
              <a:defRPr sz="2000" kern="1200">
                <a:solidFill>
                  <a:schemeClr val="tx1"/>
                </a:solidFill>
                <a:latin typeface="+mn-lt"/>
                <a:ea typeface="+mn-ea"/>
                <a:cs typeface="+mn-cs"/>
              </a:defRPr>
            </a:lvl8pPr>
            <a:lvl9pPr marL="895350" indent="-269875" algn="l" defTabSz="914400" rtl="0" eaLnBrk="1" latinLnBrk="0" hangingPunct="1">
              <a:lnSpc>
                <a:spcPct val="110000"/>
              </a:lnSpc>
              <a:spcBef>
                <a:spcPts val="600"/>
              </a:spcBef>
              <a:spcAft>
                <a:spcPts val="0"/>
              </a:spcAft>
              <a:buClr>
                <a:schemeClr val="accent1"/>
              </a:buClr>
              <a:buSzPct val="80000"/>
              <a:buFontTx/>
              <a:buBlip>
                <a:blip r:embed="rId3"/>
              </a:buBlip>
              <a:defRPr sz="2000" kern="1200">
                <a:solidFill>
                  <a:schemeClr val="tx1"/>
                </a:solidFill>
                <a:latin typeface="+mn-lt"/>
                <a:ea typeface="+mn-ea"/>
                <a:cs typeface="+mn-cs"/>
              </a:defRPr>
            </a:lvl9pPr>
          </a:lstStyle>
          <a:p>
            <a:pPr lvl="5"/>
            <a:r>
              <a:rPr lang="en-US" dirty="0">
                <a:ea typeface="+mn-lt"/>
                <a:cs typeface="+mn-lt"/>
              </a:rPr>
              <a:t>In the contact information section, you can choose to stay anonymous or provide your name, phone number and email. If you provide your email address, you will receive email notifications once a new message is waiting for you in the Secure Inbox. If you do not want to provide the email address, please log in regularly to check for any new messages.</a:t>
            </a:r>
          </a:p>
        </p:txBody>
      </p:sp>
    </p:spTree>
    <p:extLst>
      <p:ext uri="{BB962C8B-B14F-4D97-AF65-F5344CB8AC3E}">
        <p14:creationId xmlns:p14="http://schemas.microsoft.com/office/powerpoint/2010/main" val="123164115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_rels/theme1.xml.rels><?xml version="1.0" encoding="UTF-8" standalone="yes"?>
<Relationships xmlns="http://schemas.openxmlformats.org/package/2006/relationships"><Relationship Id="rId1" Type="http://schemas.openxmlformats.org/officeDocument/2006/relationships/image" Target="../media/image1.emf"/></Relationships>
</file>

<file path=ppt/theme/theme1.xml><?xml version="1.0" encoding="utf-8"?>
<a:theme xmlns:a="http://schemas.openxmlformats.org/drawingml/2006/main" name="EQS Group_PPT-Master_16zu9">
  <a:themeElements>
    <a:clrScheme name="EQS">
      <a:dk1>
        <a:srgbClr val="262C38"/>
      </a:dk1>
      <a:lt1>
        <a:sysClr val="window" lastClr="FFFFFF"/>
      </a:lt1>
      <a:dk2>
        <a:srgbClr val="ECEFF8"/>
      </a:dk2>
      <a:lt2>
        <a:srgbClr val="9BA4BF"/>
      </a:lt2>
      <a:accent1>
        <a:srgbClr val="E90055"/>
      </a:accent1>
      <a:accent2>
        <a:srgbClr val="FF6300"/>
      </a:accent2>
      <a:accent3>
        <a:srgbClr val="FFA000"/>
      </a:accent3>
      <a:accent4>
        <a:srgbClr val="FFD900"/>
      </a:accent4>
      <a:accent5>
        <a:srgbClr val="F2D4ED"/>
      </a:accent5>
      <a:accent6>
        <a:srgbClr val="DD93D2"/>
      </a:accent6>
      <a:hlink>
        <a:srgbClr val="E90055"/>
      </a:hlink>
      <a:folHlink>
        <a:srgbClr val="E90055"/>
      </a:folHlink>
    </a:clrScheme>
    <a:fontScheme name="EQS">
      <a:majorFont>
        <a:latin typeface="Barlow"/>
        <a:ea typeface=""/>
        <a:cs typeface=""/>
      </a:majorFont>
      <a:minorFont>
        <a:latin typeface="Barlow"/>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gray">
        <a:solidFill>
          <a:schemeClr val="tx2"/>
        </a:solidFill>
        <a:ln w="139700" cap="rnd">
          <a:solidFill>
            <a:schemeClr val="tx2"/>
          </a:solidFill>
          <a:round/>
        </a:ln>
      </a:spPr>
      <a:bodyPr lIns="72000" tIns="36000" rIns="72000" bIns="36000" rtlCol="0" anchor="ctr"/>
      <a:lstStyle>
        <a:defPPr algn="ctr">
          <a:defRPr sz="200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bwMode="gray">
        <a:ln w="635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bwMode="gray">
        <a:noFill/>
      </a:spPr>
      <a:bodyPr wrap="square" lIns="0" tIns="0" rIns="0" bIns="0" rtlCol="0">
        <a:noAutofit/>
      </a:bodyPr>
      <a:lstStyle>
        <a:defPPr marL="355600" indent="-355600" algn="l">
          <a:lnSpc>
            <a:spcPct val="110000"/>
          </a:lnSpc>
          <a:spcAft>
            <a:spcPts val="600"/>
          </a:spcAft>
          <a:buClr>
            <a:schemeClr val="accent1"/>
          </a:buClr>
          <a:buBlip>
            <a:blip xmlns:r="http://schemas.openxmlformats.org/officeDocument/2006/relationships" r:embed="rId1"/>
          </a:buBlip>
          <a:defRPr sz="2000" smtClean="0"/>
        </a:defPPr>
      </a:lstStyle>
    </a:txDef>
  </a:objectDefaults>
  <a:extraClrSchemeLst/>
  <a:custClrLst>
    <a:custClr name="#F5F7FD">
      <a:srgbClr val="F5F7FD"/>
    </a:custClr>
    <a:custClr name="#707c9e">
      <a:srgbClr val="707C9E"/>
    </a:custClr>
    <a:custClr name="#">
      <a:srgbClr val="FFFFFF"/>
    </a:custClr>
    <a:custClr name="#DAFBED">
      <a:srgbClr val="DAFBED"/>
    </a:custClr>
    <a:custClr name="#FBCCDD">
      <a:srgbClr val="FBCCDD"/>
    </a:custClr>
    <a:custClr name="#FFE0CC">
      <a:srgbClr val="FFE0CC"/>
    </a:custClr>
    <a:custClr name="#FFECCC">
      <a:srgbClr val="FFECCC"/>
    </a:custClr>
    <a:custClr name="#FFF7CC">
      <a:srgbClr val="FFF7CC"/>
    </a:custClr>
    <a:custClr name="#F2D4ED">
      <a:srgbClr val="F2D4ED"/>
    </a:custClr>
    <a:custClr name="#beeef6">
      <a:srgbClr val="BEEEF6"/>
    </a:custClr>
    <a:custClr name="#ECEFF8">
      <a:srgbClr val="ECEFF8"/>
    </a:custClr>
    <a:custClr name="#515a76">
      <a:srgbClr val="515A76"/>
    </a:custClr>
    <a:custClr name="#">
      <a:srgbClr val="FFFFFF"/>
    </a:custClr>
    <a:custClr name="#B6F6DA">
      <a:srgbClr val="B6F6DA"/>
    </a:custClr>
    <a:custClr name="#F699BB">
      <a:srgbClr val="F699BB"/>
    </a:custClr>
    <a:custClr name="#FFC199">
      <a:srgbClr val="FFC199"/>
    </a:custClr>
    <a:custClr name="#FFD999">
      <a:srgbClr val="FFD999"/>
    </a:custClr>
    <a:custClr name="#FFF099">
      <a:srgbClr val="FFF099"/>
    </a:custClr>
    <a:custClr name="#dd93d2">
      <a:srgbClr val="DD93D2"/>
    </a:custClr>
    <a:custClr name="#A8E9F3">
      <a:srgbClr val="A8E9F3"/>
    </a:custClr>
    <a:custClr name="#DCE1EF">
      <a:srgbClr val="DCE1EF"/>
    </a:custClr>
    <a:custClr name="#3a4155">
      <a:srgbClr val="3A4155"/>
    </a:custClr>
    <a:custClr name="#">
      <a:srgbClr val="FFFFFF"/>
    </a:custClr>
    <a:custClr name="#7ff0bf">
      <a:srgbClr val="7FF0BF"/>
    </a:custClr>
    <a:custClr name="#F04C88">
      <a:srgbClr val="F04C88"/>
    </a:custClr>
    <a:custClr name="#FF924D">
      <a:srgbClr val="FF924D"/>
    </a:custClr>
    <a:custClr name="#FFBC4D">
      <a:srgbClr val="FFBC4D"/>
    </a:custClr>
    <a:custClr name="#FFE44D">
      <a:srgbClr val="FFE44D"/>
    </a:custClr>
    <a:custClr name="#BC27A5">
      <a:srgbClr val="BC27A5"/>
    </a:custClr>
    <a:custClr name="#25C7E0">
      <a:srgbClr val="25C7E0"/>
    </a:custClr>
    <a:custClr name="#C4CBDE">
      <a:srgbClr val="C4CBDE"/>
    </a:custClr>
    <a:custClr name="#12161f">
      <a:srgbClr val="12161F"/>
    </a:custClr>
    <a:custClr name="#">
      <a:srgbClr val="FFFFFF"/>
    </a:custClr>
    <a:custClr name="#48e9a3">
      <a:srgbClr val="48E9A3"/>
    </a:custClr>
    <a:custClr name="#A3003C">
      <a:srgbClr val="A3003C"/>
    </a:custClr>
    <a:custClr name="#B24600">
      <a:srgbClr val="B24600"/>
    </a:custClr>
    <a:custClr name="#B27000">
      <a:srgbClr val="B27000"/>
    </a:custClr>
    <a:custClr name="#B29800">
      <a:srgbClr val="B29800"/>
    </a:custClr>
    <a:custClr name="#871c77">
      <a:srgbClr val="871C77"/>
    </a:custClr>
    <a:custClr name="#1caec4">
      <a:srgbClr val="1CAEC4"/>
    </a:custClr>
    <a:custClr name="#9ba4bf">
      <a:srgbClr val="9BA4BF"/>
    </a:custClr>
    <a:custClr name="#000000">
      <a:srgbClr val="000000"/>
    </a:custClr>
    <a:custClr name="#">
      <a:srgbClr val="FFFFFF"/>
    </a:custClr>
    <a:custClr name="#0d6d44">
      <a:srgbClr val="0D6D44"/>
    </a:custClr>
    <a:custClr name="#660025">
      <a:srgbClr val="660025"/>
    </a:custClr>
    <a:custClr name="#662800">
      <a:srgbClr val="662800"/>
    </a:custClr>
    <a:custClr name="#664000">
      <a:srgbClr val="664000"/>
    </a:custClr>
    <a:custClr name="#665700">
      <a:srgbClr val="665700"/>
    </a:custClr>
    <a:custClr name="#55114b">
      <a:srgbClr val="55114B"/>
    </a:custClr>
    <a:custClr name="#126f7d">
      <a:srgbClr val="126F7D"/>
    </a:custClr>
  </a:custClrLst>
  <a:extLst>
    <a:ext uri="{05A4C25C-085E-4340-85A3-A5531E510DB2}">
      <thm15:themeFamily xmlns:thm15="http://schemas.microsoft.com/office/thememl/2012/main" name="Präsentation1" id="{320F6E9D-75ED-9F47-BA85-B86DB317BBCC}" vid="{700B3038-31E2-9C48-B747-D3D7C6D96778}"/>
    </a:ext>
  </a:extLst>
</a:theme>
</file>

<file path=ppt/theme/theme2.xml><?xml version="1.0" encoding="utf-8"?>
<a:theme xmlns:a="http://schemas.openxmlformats.org/drawingml/2006/main" name="Office">
  <a:themeElements>
    <a:clrScheme name="EQS">
      <a:dk1>
        <a:srgbClr val="262C38"/>
      </a:dk1>
      <a:lt1>
        <a:sysClr val="window" lastClr="FFFFFF"/>
      </a:lt1>
      <a:dk2>
        <a:srgbClr val="ECEFF8"/>
      </a:dk2>
      <a:lt2>
        <a:srgbClr val="3B4054"/>
      </a:lt2>
      <a:accent1>
        <a:srgbClr val="E50F46"/>
      </a:accent1>
      <a:accent2>
        <a:srgbClr val="FF6300"/>
      </a:accent2>
      <a:accent3>
        <a:srgbClr val="FFA100"/>
      </a:accent3>
      <a:accent4>
        <a:srgbClr val="FFD900"/>
      </a:accent4>
      <a:accent5>
        <a:srgbClr val="FACCD9"/>
      </a:accent5>
      <a:accent6>
        <a:srgbClr val="A378AD"/>
      </a:accent6>
      <a:hlink>
        <a:srgbClr val="E50F46"/>
      </a:hlink>
      <a:folHlink>
        <a:srgbClr val="E50F46"/>
      </a:folHlink>
    </a:clrScheme>
    <a:fontScheme name="EQS">
      <a:majorFont>
        <a:latin typeface="Barlow"/>
        <a:ea typeface=""/>
        <a:cs typeface=""/>
      </a:majorFont>
      <a:minorFont>
        <a:latin typeface="Barlow"/>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Larissa">
  <a:themeElements>
    <a:clrScheme name="EQS">
      <a:dk1>
        <a:srgbClr val="262C38"/>
      </a:dk1>
      <a:lt1>
        <a:sysClr val="window" lastClr="FFFFFF"/>
      </a:lt1>
      <a:dk2>
        <a:srgbClr val="ECEFF8"/>
      </a:dk2>
      <a:lt2>
        <a:srgbClr val="3B4054"/>
      </a:lt2>
      <a:accent1>
        <a:srgbClr val="E50F46"/>
      </a:accent1>
      <a:accent2>
        <a:srgbClr val="FF6300"/>
      </a:accent2>
      <a:accent3>
        <a:srgbClr val="FFA100"/>
      </a:accent3>
      <a:accent4>
        <a:srgbClr val="FFD900"/>
      </a:accent4>
      <a:accent5>
        <a:srgbClr val="FACCD9"/>
      </a:accent5>
      <a:accent6>
        <a:srgbClr val="A378AD"/>
      </a:accent6>
      <a:hlink>
        <a:srgbClr val="E50F46"/>
      </a:hlink>
      <a:folHlink>
        <a:srgbClr val="E50F46"/>
      </a:folHlink>
    </a:clrScheme>
    <a:fontScheme name="EQS">
      <a:majorFont>
        <a:latin typeface="Barlow"/>
        <a:ea typeface=""/>
        <a:cs typeface=""/>
      </a:majorFont>
      <a:minorFont>
        <a:latin typeface="Barlow"/>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lcf76f155ced4ddcb4097134ff3c332f xmlns="50e13c11-405e-4a8e-8652-d220e0fa51ce">
      <Terms xmlns="http://schemas.microsoft.com/office/infopath/2007/PartnerControls"/>
    </lcf76f155ced4ddcb4097134ff3c332f>
    <TaxCatchAll xmlns="1dd26536-b335-48d9-97ae-50a8dfab001f" xsi:nil="true"/>
    <Reviewed_x003f_ xmlns="50e13c11-405e-4a8e-8652-d220e0fa51ce" xsi:nil="true"/>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676F8332F7EC3047AEED30EEF58C5F70" ma:contentTypeVersion="14" ma:contentTypeDescription="Create a new document." ma:contentTypeScope="" ma:versionID="e98f17ff33ce80290498d4cf8f9d26f9">
  <xsd:schema xmlns:xsd="http://www.w3.org/2001/XMLSchema" xmlns:xs="http://www.w3.org/2001/XMLSchema" xmlns:p="http://schemas.microsoft.com/office/2006/metadata/properties" xmlns:ns2="50e13c11-405e-4a8e-8652-d220e0fa51ce" xmlns:ns3="1dd26536-b335-48d9-97ae-50a8dfab001f" targetNamespace="http://schemas.microsoft.com/office/2006/metadata/properties" ma:root="true" ma:fieldsID="54892fb28a0933b95b49405d7980e159" ns2:_="" ns3:_="">
    <xsd:import namespace="50e13c11-405e-4a8e-8652-d220e0fa51ce"/>
    <xsd:import namespace="1dd26536-b335-48d9-97ae-50a8dfab001f"/>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element ref="ns2:lcf76f155ced4ddcb4097134ff3c332f" minOccurs="0"/>
                <xsd:element ref="ns3:TaxCatchAll" minOccurs="0"/>
                <xsd:element ref="ns2:MediaServiceDateTaken" minOccurs="0"/>
                <xsd:element ref="ns2:MediaServiceOCR" minOccurs="0"/>
                <xsd:element ref="ns2:MediaServiceGenerationTime" minOccurs="0"/>
                <xsd:element ref="ns2:MediaServiceEventHashCode" minOccurs="0"/>
                <xsd:element ref="ns2:MediaLengthInSeconds" minOccurs="0"/>
                <xsd:element ref="ns2:MediaServiceLocation" minOccurs="0"/>
                <xsd:element ref="ns2:Reviewed_x003f_"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50e13c11-405e-4a8e-8652-d220e0fa51ce"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element name="lcf76f155ced4ddcb4097134ff3c332f" ma:index="13" nillable="true" ma:taxonomy="true" ma:internalName="lcf76f155ced4ddcb4097134ff3c332f" ma:taxonomyFieldName="MediaServiceImageTags" ma:displayName="Image Tags" ma:readOnly="false" ma:fieldId="{5cf76f15-5ced-4ddc-b409-7134ff3c332f}" ma:taxonomyMulti="true" ma:sspId="b11f235c-9694-4717-940c-eb0db9c76951" ma:termSetId="09814cd3-568e-fe90-9814-8d621ff8fb84" ma:anchorId="fba54fb3-c3e1-fe81-a776-ca4b69148c4d" ma:open="true" ma:isKeyword="false">
      <xsd:complexType>
        <xsd:sequence>
          <xsd:element ref="pc:Terms" minOccurs="0" maxOccurs="1"/>
        </xsd:sequence>
      </xsd:complexType>
    </xsd:element>
    <xsd:element name="MediaServiceDateTaken" ma:index="15" nillable="true" ma:displayName="MediaServiceDateTaken" ma:hidden="true" ma:indexed="true" ma:internalName="MediaServiceDateTaken"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LengthInSeconds" ma:index="19" nillable="true" ma:displayName="MediaLengthInSeconds" ma:hidden="true" ma:internalName="MediaLengthInSeconds" ma:readOnly="true">
      <xsd:simpleType>
        <xsd:restriction base="dms:Unknown"/>
      </xsd:simpleType>
    </xsd:element>
    <xsd:element name="MediaServiceLocation" ma:index="20" nillable="true" ma:displayName="Location" ma:indexed="true" ma:internalName="MediaServiceLocation" ma:readOnly="true">
      <xsd:simpleType>
        <xsd:restriction base="dms:Text"/>
      </xsd:simpleType>
    </xsd:element>
    <xsd:element name="Reviewed_x003f_" ma:index="21" nillable="true" ma:displayName="Reviewed?" ma:format="Dropdown" ma:internalName="Reviewed_x003f_">
      <xsd:simpleType>
        <xsd:restriction base="dms:Choice">
          <xsd:enumeration value="Yes"/>
          <xsd:enumeration value="No"/>
        </xsd:restriction>
      </xsd:simpleType>
    </xsd:element>
  </xsd:schema>
  <xsd:schema xmlns:xsd="http://www.w3.org/2001/XMLSchema" xmlns:xs="http://www.w3.org/2001/XMLSchema" xmlns:dms="http://schemas.microsoft.com/office/2006/documentManagement/types" xmlns:pc="http://schemas.microsoft.com/office/infopath/2007/PartnerControls" targetNamespace="1dd26536-b335-48d9-97ae-50a8dfab001f" elementFormDefault="qualified">
    <xsd:import namespace="http://schemas.microsoft.com/office/2006/documentManagement/types"/>
    <xsd:import namespace="http://schemas.microsoft.com/office/infopath/2007/PartnerControls"/>
    <xsd:element name="TaxCatchAll" ma:index="14" nillable="true" ma:displayName="Taxonomy Catch All Column" ma:hidden="true" ma:list="{2c1f7180-de1a-44cd-86b9-1b05a2a08b16}" ma:internalName="TaxCatchAll" ma:showField="CatchAllData" ma:web="1dd26536-b335-48d9-97ae-50a8dfab001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6FACC4AB-DB94-4D18-AE40-1CC16919CD2D}">
  <ds:schemaRefs>
    <ds:schemaRef ds:uri="http://schemas.microsoft.com/sharepoint/v3/contenttype/forms"/>
  </ds:schemaRefs>
</ds:datastoreItem>
</file>

<file path=customXml/itemProps2.xml><?xml version="1.0" encoding="utf-8"?>
<ds:datastoreItem xmlns:ds="http://schemas.openxmlformats.org/officeDocument/2006/customXml" ds:itemID="{ED89253F-B28A-49A4-9A97-7AF1447DBAF3}">
  <ds:schemaRefs>
    <ds:schemaRef ds:uri="http://schemas.microsoft.com/office/2006/documentManagement/types"/>
    <ds:schemaRef ds:uri="http://schemas.microsoft.com/office/2006/metadata/properties"/>
    <ds:schemaRef ds:uri="http://schemas.openxmlformats.org/package/2006/metadata/core-properties"/>
    <ds:schemaRef ds:uri="http://purl.org/dc/elements/1.1/"/>
    <ds:schemaRef ds:uri="http://purl.org/dc/dcmitype/"/>
    <ds:schemaRef ds:uri="50e13c11-405e-4a8e-8652-d220e0fa51ce"/>
    <ds:schemaRef ds:uri="http://www.w3.org/XML/1998/namespace"/>
    <ds:schemaRef ds:uri="http://schemas.microsoft.com/office/infopath/2007/PartnerControls"/>
    <ds:schemaRef ds:uri="1dd26536-b335-48d9-97ae-50a8dfab001f"/>
    <ds:schemaRef ds:uri="http://purl.org/dc/terms/"/>
  </ds:schemaRefs>
</ds:datastoreItem>
</file>

<file path=customXml/itemProps3.xml><?xml version="1.0" encoding="utf-8"?>
<ds:datastoreItem xmlns:ds="http://schemas.openxmlformats.org/officeDocument/2006/customXml" ds:itemID="{7984EC25-7A37-4D56-AA27-62FC29355CE8}">
  <ds:schemaRefs>
    <ds:schemaRef ds:uri="1dd26536-b335-48d9-97ae-50a8dfab001f"/>
    <ds:schemaRef ds:uri="50e13c11-405e-4a8e-8652-d220e0fa51ce"/>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emplate>EQS Group_PPT Master_2024_v07</Template>
  <TotalTime>0</TotalTime>
  <Words>1020</Words>
  <Application>Microsoft Office PowerPoint</Application>
  <PresentationFormat>Widescreen</PresentationFormat>
  <Paragraphs>113</Paragraphs>
  <Slides>20</Slides>
  <Notes>8</Notes>
  <HiddenSlides>0</HiddenSlides>
  <MMClips>0</MMClips>
  <ScaleCrop>false</ScaleCrop>
  <HeadingPairs>
    <vt:vector size="4" baseType="variant">
      <vt:variant>
        <vt:lpstr>Theme</vt:lpstr>
      </vt:variant>
      <vt:variant>
        <vt:i4>1</vt:i4>
      </vt:variant>
      <vt:variant>
        <vt:lpstr>Slide Titles</vt:lpstr>
      </vt:variant>
      <vt:variant>
        <vt:i4>20</vt:i4>
      </vt:variant>
    </vt:vector>
  </HeadingPairs>
  <TitlesOfParts>
    <vt:vector size="21" baseType="lpstr">
      <vt:lpstr>EQS Group_PPT-Master_16zu9</vt:lpstr>
      <vt:lpstr>Reporting Party</vt:lpstr>
      <vt:lpstr>Contents</vt:lpstr>
      <vt:lpstr>01</vt:lpstr>
      <vt:lpstr>Making a Report </vt:lpstr>
      <vt:lpstr>Making a Report</vt:lpstr>
      <vt:lpstr>Making a Report</vt:lpstr>
      <vt:lpstr>Making a Report</vt:lpstr>
      <vt:lpstr>Making a Report</vt:lpstr>
      <vt:lpstr>Making a Report</vt:lpstr>
      <vt:lpstr>02</vt:lpstr>
      <vt:lpstr>Creating a Password</vt:lpstr>
      <vt:lpstr>Password Creation Details</vt:lpstr>
      <vt:lpstr>03</vt:lpstr>
      <vt:lpstr>Obtaining the Case ID</vt:lpstr>
      <vt:lpstr>04</vt:lpstr>
      <vt:lpstr>Accessing a Case</vt:lpstr>
      <vt:lpstr>Accessing the Case</vt:lpstr>
      <vt:lpstr>Accessing the Case</vt:lpstr>
      <vt:lpstr>05</vt:lpstr>
      <vt:lpstr>Call Us</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Amar Qureshi</dc:creator>
  <cp:lastModifiedBy>Annie Ziolek</cp:lastModifiedBy>
  <cp:revision>196</cp:revision>
  <cp:lastPrinted>2017-03-10T15:17:38Z</cp:lastPrinted>
  <dcterms:created xsi:type="dcterms:W3CDTF">2025-04-01T04:12:28Z</dcterms:created>
  <dcterms:modified xsi:type="dcterms:W3CDTF">2025-06-04T02:42:2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676F8332F7EC3047AEED30EEF58C5F70</vt:lpwstr>
  </property>
  <property fmtid="{D5CDD505-2E9C-101B-9397-08002B2CF9AE}" pid="3" name="MediaServiceImageTags">
    <vt:lpwstr/>
  </property>
  <property fmtid="{D5CDD505-2E9C-101B-9397-08002B2CF9AE}" pid="4" name="Order">
    <vt:lpwstr>7066900.00000000</vt:lpwstr>
  </property>
  <property fmtid="{D5CDD505-2E9C-101B-9397-08002B2CF9AE}" pid="5" name="xd_ProgID">
    <vt:lpwstr/>
  </property>
  <property fmtid="{D5CDD505-2E9C-101B-9397-08002B2CF9AE}" pid="6" name="ComplianceAssetId">
    <vt:lpwstr/>
  </property>
  <property fmtid="{D5CDD505-2E9C-101B-9397-08002B2CF9AE}" pid="7" name="TemplateUrl">
    <vt:lpwstr/>
  </property>
  <property fmtid="{D5CDD505-2E9C-101B-9397-08002B2CF9AE}" pid="8" name="_ExtendedDescription">
    <vt:lpwstr/>
  </property>
  <property fmtid="{D5CDD505-2E9C-101B-9397-08002B2CF9AE}" pid="9" name="TriggerFlowInfo">
    <vt:lpwstr/>
  </property>
  <property fmtid="{D5CDD505-2E9C-101B-9397-08002B2CF9AE}" pid="10" name="xd_Signature">
    <vt:lpwstr/>
  </property>
</Properties>
</file>